
<file path=[Content_Types].xml><?xml version="1.0" encoding="utf-8"?>
<Types xmlns="http://schemas.openxmlformats.org/package/2006/content-types">
  <Default Extension="jpeg" ContentType="image/jpeg"/>
  <Default Extension="JPG" ContentType="image/.jpg"/>
  <Default Extension="xlsx" ContentType="application/vnd.openxmlformats-officedocument.spreadsheetml.sheet"/>
  <Default Extension="png" ContentType="image/pn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0"/>
  </p:notesMasterIdLst>
  <p:handoutMasterIdLst>
    <p:handoutMasterId r:id="rId31"/>
  </p:handoutMasterIdLst>
  <p:sldIdLst>
    <p:sldId id="432" r:id="rId3"/>
    <p:sldId id="433" r:id="rId4"/>
    <p:sldId id="434" r:id="rId5"/>
    <p:sldId id="292" r:id="rId6"/>
    <p:sldId id="286" r:id="rId7"/>
    <p:sldId id="304" r:id="rId8"/>
    <p:sldId id="426" r:id="rId9"/>
    <p:sldId id="425" r:id="rId10"/>
    <p:sldId id="435" r:id="rId11"/>
    <p:sldId id="415" r:id="rId12"/>
    <p:sldId id="417" r:id="rId13"/>
    <p:sldId id="419" r:id="rId14"/>
    <p:sldId id="422" r:id="rId15"/>
    <p:sldId id="421" r:id="rId16"/>
    <p:sldId id="436" r:id="rId17"/>
    <p:sldId id="328" r:id="rId18"/>
    <p:sldId id="270" r:id="rId19"/>
    <p:sldId id="339" r:id="rId20"/>
    <p:sldId id="343" r:id="rId21"/>
    <p:sldId id="354" r:id="rId22"/>
    <p:sldId id="350" r:id="rId23"/>
    <p:sldId id="437" r:id="rId24"/>
    <p:sldId id="351" r:id="rId25"/>
    <p:sldId id="356" r:id="rId26"/>
    <p:sldId id="359" r:id="rId27"/>
    <p:sldId id="395" r:id="rId28"/>
    <p:sldId id="438" r:id="rId29"/>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48235"/>
    <a:srgbClr val="345020"/>
    <a:srgbClr val="9ADCDC"/>
    <a:srgbClr val="FF6E66"/>
    <a:srgbClr val="FFD929"/>
    <a:srgbClr val="DF97AB"/>
    <a:srgbClr val="333A42"/>
    <a:srgbClr val="6B7278"/>
    <a:srgbClr val="BBC0C3"/>
    <a:srgbClr val="002E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97" autoAdjust="0"/>
    <p:restoredTop sz="94660"/>
  </p:normalViewPr>
  <p:slideViewPr>
    <p:cSldViewPr snapToGrid="0">
      <p:cViewPr varScale="1">
        <p:scale>
          <a:sx n="91" d="100"/>
          <a:sy n="91" d="100"/>
        </p:scale>
        <p:origin x="-776" y="-60"/>
      </p:cViewPr>
      <p:guideLst>
        <p:guide orient="horz" pos="1647"/>
        <p:guide orient="horz" pos="1663"/>
        <p:guide orient="horz" pos="1767"/>
        <p:guide pos="2873"/>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6" d="100"/>
          <a:sy n="86" d="100"/>
        </p:scale>
        <p:origin x="2568" y="78"/>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4" Type="http://schemas.openxmlformats.org/officeDocument/2006/relationships/tableStyles" Target="tableStyles.xml"/><Relationship Id="rId33" Type="http://schemas.openxmlformats.org/officeDocument/2006/relationships/viewProps" Target="viewProps.xml"/><Relationship Id="rId32" Type="http://schemas.openxmlformats.org/officeDocument/2006/relationships/presProps" Target="presProps.xml"/><Relationship Id="rId31" Type="http://schemas.openxmlformats.org/officeDocument/2006/relationships/handoutMaster" Target="handoutMasters/handoutMaster1.xml"/><Relationship Id="rId30" Type="http://schemas.openxmlformats.org/officeDocument/2006/relationships/notesMaster" Target="notesMasters/notesMaster1.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772417541391212"/>
          <c:y val="0.0363296590187143"/>
          <c:w val="0.922758245860879"/>
          <c:h val="0.791992718631206"/>
        </c:manualLayout>
      </c:layout>
      <c:areaChart>
        <c:grouping val="standard"/>
        <c:varyColors val="0"/>
        <c:ser>
          <c:idx val="0"/>
          <c:order val="0"/>
          <c:tx>
            <c:strRef>
              <c:f>Sheet1!$B$1</c:f>
              <c:strCache>
                <c:ptCount val="1"/>
                <c:pt idx="0">
                  <c:v>Phase 1</c:v>
                </c:pt>
              </c:strCache>
            </c:strRef>
          </c:tx>
          <c:spPr>
            <a:solidFill>
              <a:schemeClr val="tx1">
                <a:lumMod val="85000"/>
                <a:lumOff val="15000"/>
              </a:schemeClr>
            </a:solidFill>
          </c:spPr>
          <c:dLbls>
            <c:delete val="1"/>
          </c:dLbls>
          <c:cat>
            <c:strRef>
              <c:f>Sheet1!$A$2:$A$8</c:f>
              <c:strCache>
                <c:ptCount val="7"/>
                <c:pt idx="0">
                  <c:v>A</c:v>
                </c:pt>
                <c:pt idx="1">
                  <c:v>B</c:v>
                </c:pt>
                <c:pt idx="2">
                  <c:v>C</c:v>
                </c:pt>
                <c:pt idx="3">
                  <c:v>D</c:v>
                </c:pt>
                <c:pt idx="4">
                  <c:v>E</c:v>
                </c:pt>
                <c:pt idx="5">
                  <c:v>F</c:v>
                </c:pt>
                <c:pt idx="6">
                  <c:v>G</c:v>
                </c:pt>
              </c:strCache>
            </c:strRef>
          </c:cat>
          <c:val>
            <c:numRef>
              <c:f>Sheet1!$B$2:$B$8</c:f>
              <c:numCache>
                <c:formatCode>General</c:formatCode>
                <c:ptCount val="7"/>
                <c:pt idx="0">
                  <c:v>32</c:v>
                </c:pt>
                <c:pt idx="1">
                  <c:v>32</c:v>
                </c:pt>
                <c:pt idx="2">
                  <c:v>28</c:v>
                </c:pt>
                <c:pt idx="3">
                  <c:v>12</c:v>
                </c:pt>
                <c:pt idx="4">
                  <c:v>15</c:v>
                </c:pt>
                <c:pt idx="5">
                  <c:v>12</c:v>
                </c:pt>
                <c:pt idx="6">
                  <c:v>11</c:v>
                </c:pt>
              </c:numCache>
            </c:numRef>
          </c:val>
        </c:ser>
        <c:ser>
          <c:idx val="1"/>
          <c:order val="1"/>
          <c:tx>
            <c:strRef>
              <c:f>Sheet1!$C$1</c:f>
              <c:strCache>
                <c:ptCount val="1"/>
                <c:pt idx="0">
                  <c:v>Phase 2</c:v>
                </c:pt>
              </c:strCache>
            </c:strRef>
          </c:tx>
          <c:spPr>
            <a:solidFill>
              <a:srgbClr val="548235"/>
            </a:solidFill>
          </c:spPr>
          <c:dLbls>
            <c:delete val="1"/>
          </c:dLbls>
          <c:cat>
            <c:strRef>
              <c:f>Sheet1!$A$2:$A$8</c:f>
              <c:strCache>
                <c:ptCount val="7"/>
                <c:pt idx="0">
                  <c:v>A</c:v>
                </c:pt>
                <c:pt idx="1">
                  <c:v>B</c:v>
                </c:pt>
                <c:pt idx="2">
                  <c:v>C</c:v>
                </c:pt>
                <c:pt idx="3">
                  <c:v>D</c:v>
                </c:pt>
                <c:pt idx="4">
                  <c:v>E</c:v>
                </c:pt>
                <c:pt idx="5">
                  <c:v>F</c:v>
                </c:pt>
                <c:pt idx="6">
                  <c:v>G</c:v>
                </c:pt>
              </c:strCache>
            </c:strRef>
          </c:cat>
          <c:val>
            <c:numRef>
              <c:f>Sheet1!$C$2:$C$8</c:f>
              <c:numCache>
                <c:formatCode>General</c:formatCode>
                <c:ptCount val="7"/>
                <c:pt idx="0">
                  <c:v>12</c:v>
                </c:pt>
                <c:pt idx="1">
                  <c:v>12</c:v>
                </c:pt>
                <c:pt idx="2">
                  <c:v>12</c:v>
                </c:pt>
                <c:pt idx="3">
                  <c:v>21</c:v>
                </c:pt>
                <c:pt idx="4">
                  <c:v>28</c:v>
                </c:pt>
                <c:pt idx="5">
                  <c:v>34</c:v>
                </c:pt>
                <c:pt idx="6">
                  <c:v>21</c:v>
                </c:pt>
              </c:numCache>
            </c:numRef>
          </c:val>
        </c:ser>
        <c:dLbls>
          <c:showLegendKey val="0"/>
          <c:showVal val="0"/>
          <c:showCatName val="0"/>
          <c:showSerName val="0"/>
          <c:showPercent val="0"/>
          <c:showBubbleSize val="0"/>
        </c:dLbls>
        <c:axId val="357303424"/>
        <c:axId val="357304960"/>
      </c:areaChart>
      <c:catAx>
        <c:axId val="357303424"/>
        <c:scaling>
          <c:orientation val="minMax"/>
        </c:scaling>
        <c:delete val="1"/>
        <c:axPos val="b"/>
        <c:numFmt formatCode="@" sourceLinked="0"/>
        <c:majorTickMark val="none"/>
        <c:minorTickMark val="none"/>
        <c:tickLblPos val="nextTo"/>
        <c:txPr>
          <a:bodyPr rot="-60000000" spcFirstLastPara="0" vertOverflow="ellipsis" vert="horz" wrap="square" anchor="ctr" anchorCtr="1"/>
          <a:lstStyle/>
          <a:p>
            <a:pPr>
              <a:defRPr lang="zh-CN" sz="800" b="0" i="0" u="none" strike="noStrike" kern="1200" baseline="0">
                <a:solidFill>
                  <a:schemeClr val="tx1"/>
                </a:solidFill>
                <a:latin typeface="Open Sans" panose="020B0606030504020204"/>
                <a:ea typeface="+mn-ea"/>
                <a:cs typeface="Open Sans" panose="020B0606030504020204"/>
              </a:defRPr>
            </a:pPr>
          </a:p>
        </c:txPr>
        <c:crossAx val="357304960"/>
        <c:crosses val="autoZero"/>
        <c:auto val="1"/>
        <c:lblAlgn val="ctr"/>
        <c:lblOffset val="100"/>
        <c:noMultiLvlLbl val="0"/>
      </c:catAx>
      <c:valAx>
        <c:axId val="357304960"/>
        <c:scaling>
          <c:orientation val="minMax"/>
        </c:scaling>
        <c:delete val="0"/>
        <c:axPos val="l"/>
        <c:majorGridlines>
          <c:spPr>
            <a:ln w="6350" cap="flat" cmpd="sng" algn="ctr">
              <a:solidFill>
                <a:schemeClr val="tx1">
                  <a:alpha val="50000"/>
                </a:schemeClr>
              </a:solidFill>
              <a:prstDash val="sysDot"/>
              <a:round/>
            </a:ln>
          </c:spPr>
        </c:majorGridlines>
        <c:numFmt formatCode="General" sourceLinked="1"/>
        <c:majorTickMark val="none"/>
        <c:minorTickMark val="none"/>
        <c:tickLblPos val="nextTo"/>
        <c:txPr>
          <a:bodyPr rot="-60000000" spcFirstLastPara="0" vertOverflow="ellipsis" vert="horz" wrap="square" anchor="ctr" anchorCtr="1"/>
          <a:lstStyle/>
          <a:p>
            <a:pPr>
              <a:defRPr lang="zh-CN" sz="800" b="0" i="0" u="none" strike="noStrike" kern="1200" baseline="0">
                <a:solidFill>
                  <a:schemeClr val="tx1"/>
                </a:solidFill>
                <a:latin typeface="Open Sans" panose="020B0606030504020204"/>
                <a:ea typeface="+mn-ea"/>
                <a:cs typeface="Open Sans" panose="020B0606030504020204"/>
              </a:defRPr>
            </a:pPr>
          </a:p>
        </c:txPr>
        <c:crossAx val="357303424"/>
        <c:crosses val="autoZero"/>
        <c:crossBetween val="midCat"/>
      </c:valAx>
      <c:spPr>
        <a:ln w="12700" cmpd="sng">
          <a:noFill/>
          <a:prstDash val="solid"/>
        </a:ln>
      </c:spPr>
    </c:plotArea>
    <c:legend>
      <c:legendPos val="b"/>
      <c:layout/>
      <c:overlay val="0"/>
      <c:txPr>
        <a:bodyPr rot="0" spcFirstLastPara="0" vertOverflow="ellipsis" vert="horz" wrap="square" anchor="ctr" anchorCtr="1"/>
        <a:lstStyle/>
        <a:p>
          <a:pPr>
            <a:defRPr lang="zh-CN" sz="1050" b="0" i="0" u="none" strike="noStrike" kern="1200" baseline="0">
              <a:solidFill>
                <a:schemeClr val="tx1"/>
              </a:solidFill>
              <a:latin typeface="+mj-lt"/>
              <a:ea typeface="+mn-ea"/>
              <a:cs typeface="Open Sans" panose="020B0606030504020204"/>
            </a:defRPr>
          </a:pPr>
        </a:p>
      </c:txPr>
    </c:legend>
    <c:plotVisOnly val="1"/>
    <c:dispBlanksAs val="gap"/>
    <c:showDLblsOverMax val="0"/>
  </c:chart>
  <c:txPr>
    <a:bodyPr/>
    <a:lstStyle/>
    <a:p>
      <a:pPr>
        <a:defRPr lang="zh-CN" sz="800" b="0">
          <a:latin typeface="Open Sans" panose="020B0606030504020204"/>
          <a:cs typeface="Open Sans" panose="020B0606030504020204"/>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548235"/>
            </a:solidFill>
            <a:ln>
              <a:noFill/>
            </a:ln>
            <a:effectLst>
              <a:outerShdw blurRad="50800" dist="38100" dir="5400000" algn="t" rotWithShape="0">
                <a:prstClr val="black">
                  <a:alpha val="40000"/>
                </a:prstClr>
              </a:outerShdw>
            </a:effectLst>
          </c:spPr>
          <c:invertIfNegative val="0"/>
          <c:dLbls>
            <c:spPr>
              <a:noFill/>
              <a:ln>
                <a:noFill/>
              </a:ln>
              <a:effectLst/>
            </c:spPr>
            <c:txPr>
              <a:bodyPr rot="0" spcFirstLastPara="1" vertOverflow="ellipsis" vert="horz" wrap="square" lIns="38100" tIns="19050" rIns="38100" bIns="19050" anchor="ctr" anchorCtr="1"/>
              <a:lstStyle/>
              <a:p>
                <a:pPr>
                  <a:defRPr lang="zh-CN" sz="7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1</c:v>
                </c:pt>
                <c:pt idx="1">
                  <c:v>2</c:v>
                </c:pt>
                <c:pt idx="2">
                  <c:v>3</c:v>
                </c:pt>
                <c:pt idx="3">
                  <c:v>4</c:v>
                </c:pt>
                <c:pt idx="4">
                  <c:v>5</c:v>
                </c:pt>
                <c:pt idx="5">
                  <c:v>6</c:v>
                </c:pt>
                <c:pt idx="6">
                  <c:v>7</c:v>
                </c:pt>
                <c:pt idx="7">
                  <c:v>8</c:v>
                </c:pt>
                <c:pt idx="8">
                  <c:v>9</c:v>
                </c:pt>
              </c:numCache>
            </c:numRef>
          </c:cat>
          <c:val>
            <c:numRef>
              <c:f>Sheet1!$B$2:$B$10</c:f>
              <c:numCache>
                <c:formatCode>General</c:formatCode>
                <c:ptCount val="9"/>
                <c:pt idx="0">
                  <c:v>4.3</c:v>
                </c:pt>
                <c:pt idx="1">
                  <c:v>2.5</c:v>
                </c:pt>
                <c:pt idx="2">
                  <c:v>3.5</c:v>
                </c:pt>
                <c:pt idx="3">
                  <c:v>4.5</c:v>
                </c:pt>
                <c:pt idx="4">
                  <c:v>5</c:v>
                </c:pt>
                <c:pt idx="5">
                  <c:v>6</c:v>
                </c:pt>
                <c:pt idx="6">
                  <c:v>5</c:v>
                </c:pt>
                <c:pt idx="7">
                  <c:v>2</c:v>
                </c:pt>
                <c:pt idx="8">
                  <c:v>8</c:v>
                </c:pt>
              </c:numCache>
            </c:numRef>
          </c:val>
        </c:ser>
        <c:dLbls>
          <c:showLegendKey val="0"/>
          <c:showVal val="0"/>
          <c:showCatName val="0"/>
          <c:showSerName val="0"/>
          <c:showPercent val="0"/>
          <c:showBubbleSize val="0"/>
        </c:dLbls>
        <c:gapWidth val="150"/>
        <c:axId val="378444800"/>
        <c:axId val="378458880"/>
      </c:barChart>
      <c:catAx>
        <c:axId val="378444800"/>
        <c:scaling>
          <c:orientation val="minMax"/>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700" b="0" i="0" u="none" strike="noStrike" kern="1200" baseline="0">
                <a:solidFill>
                  <a:schemeClr val="tx1"/>
                </a:solidFill>
                <a:latin typeface="+mn-lt"/>
                <a:ea typeface="+mn-ea"/>
                <a:cs typeface="+mn-cs"/>
              </a:defRPr>
            </a:pPr>
          </a:p>
        </c:txPr>
        <c:crossAx val="378458880"/>
        <c:crosses val="autoZero"/>
        <c:auto val="1"/>
        <c:lblAlgn val="ctr"/>
        <c:lblOffset val="100"/>
        <c:noMultiLvlLbl val="0"/>
      </c:catAx>
      <c:valAx>
        <c:axId val="378458880"/>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txPr>
          <a:bodyPr rot="-60000000" spcFirstLastPara="0" vertOverflow="ellipsis" vert="horz" wrap="square" anchor="ctr" anchorCtr="1"/>
          <a:lstStyle/>
          <a:p>
            <a:pPr>
              <a:defRPr lang="zh-CN" sz="700" b="0" i="0" u="none" strike="noStrike" kern="1200" baseline="0">
                <a:solidFill>
                  <a:schemeClr val="tx1"/>
                </a:solidFill>
                <a:latin typeface="+mn-lt"/>
                <a:ea typeface="+mn-ea"/>
                <a:cs typeface="+mn-cs"/>
              </a:defRPr>
            </a:pPr>
          </a:p>
        </c:txPr>
        <c:crossAx val="378444800"/>
        <c:crosses val="autoZero"/>
        <c:crossBetween val="between"/>
      </c:valAx>
      <c:spPr>
        <a:noFill/>
        <a:ln>
          <a:noFill/>
        </a:ln>
        <a:effectLst/>
      </c:spPr>
    </c:plotArea>
    <c:plotVisOnly val="1"/>
    <c:dispBlanksAs val="gap"/>
    <c:showDLblsOverMax val="0"/>
  </c:chart>
  <c:spPr>
    <a:noFill/>
    <a:ln>
      <a:noFill/>
    </a:ln>
    <a:effectLst/>
  </c:spPr>
  <c:txPr>
    <a:bodyPr/>
    <a:lstStyle/>
    <a:p>
      <a:pPr>
        <a:defRPr lang="zh-CN" sz="700">
          <a:solidFill>
            <a:schemeClr val="tx1"/>
          </a:solidFill>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bg1"/>
            </a:solidFill>
            <a:ln>
              <a:noFill/>
            </a:ln>
            <a:effectLst/>
          </c:spPr>
          <c:invertIfNegative val="0"/>
          <c:dPt>
            <c:idx val="2"/>
            <c:invertIfNegative val="0"/>
            <c:bubble3D val="0"/>
          </c:dPt>
          <c:dPt>
            <c:idx val="7"/>
            <c:invertIfNegative val="0"/>
            <c:bubble3D val="0"/>
          </c:dPt>
          <c:dPt>
            <c:idx val="11"/>
            <c:invertIfNegative val="0"/>
            <c:bubble3D val="0"/>
          </c:dPt>
          <c:dLbls>
            <c:spPr>
              <a:noFill/>
              <a:ln>
                <a:noFill/>
              </a:ln>
              <a:effectLst/>
            </c:spPr>
            <c:txPr>
              <a:bodyPr rot="0" spcFirstLastPara="1" vertOverflow="ellipsis" vert="horz" wrap="square" lIns="38100" tIns="19050" rIns="38100" bIns="19050" anchor="ctr" anchorCtr="1"/>
              <a:lstStyle/>
              <a:p>
                <a:pPr>
                  <a:defRPr lang="zh-CN" sz="1050"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JP</c:v>
                </c:pt>
                <c:pt idx="1">
                  <c:v>KJ</c:v>
                </c:pt>
                <c:pt idx="2">
                  <c:v>LJ</c:v>
                </c:pt>
                <c:pt idx="3">
                  <c:v>OH</c:v>
                </c:pt>
                <c:pt idx="4">
                  <c:v>ST</c:v>
                </c:pt>
                <c:pt idx="5">
                  <c:v>MN</c:v>
                </c:pt>
                <c:pt idx="6">
                  <c:v>LD</c:v>
                </c:pt>
                <c:pt idx="7">
                  <c:v>IP</c:v>
                </c:pt>
                <c:pt idx="8">
                  <c:v>UT</c:v>
                </c:pt>
                <c:pt idx="9">
                  <c:v>ON</c:v>
                </c:pt>
                <c:pt idx="10">
                  <c:v>LF</c:v>
                </c:pt>
                <c:pt idx="11">
                  <c:v>PS</c:v>
                </c:pt>
              </c:strCache>
            </c:strRef>
          </c:cat>
          <c:val>
            <c:numRef>
              <c:f>Sheet1!$B$2:$B$13</c:f>
              <c:numCache>
                <c:formatCode>General</c:formatCode>
                <c:ptCount val="12"/>
                <c:pt idx="0">
                  <c:v>1</c:v>
                </c:pt>
                <c:pt idx="1">
                  <c:v>2</c:v>
                </c:pt>
                <c:pt idx="2">
                  <c:v>3</c:v>
                </c:pt>
                <c:pt idx="3">
                  <c:v>1</c:v>
                </c:pt>
                <c:pt idx="4">
                  <c:v>1.5</c:v>
                </c:pt>
                <c:pt idx="5">
                  <c:v>2.5</c:v>
                </c:pt>
                <c:pt idx="6">
                  <c:v>1.2</c:v>
                </c:pt>
                <c:pt idx="7">
                  <c:v>4</c:v>
                </c:pt>
                <c:pt idx="8">
                  <c:v>2.5</c:v>
                </c:pt>
                <c:pt idx="9">
                  <c:v>1.8</c:v>
                </c:pt>
                <c:pt idx="10">
                  <c:v>1</c:v>
                </c:pt>
                <c:pt idx="11">
                  <c:v>0.5</c:v>
                </c:pt>
              </c:numCache>
            </c:numRef>
          </c:val>
        </c:ser>
        <c:dLbls>
          <c:showLegendKey val="0"/>
          <c:showVal val="1"/>
          <c:showCatName val="0"/>
          <c:showSerName val="0"/>
          <c:showPercent val="0"/>
          <c:showBubbleSize val="0"/>
        </c:dLbls>
        <c:gapWidth val="116"/>
        <c:overlap val="7"/>
        <c:axId val="378560896"/>
        <c:axId val="378564992"/>
      </c:barChart>
      <c:catAx>
        <c:axId val="378560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50" b="0" i="0" u="none" strike="noStrike" kern="1200" baseline="0">
                <a:solidFill>
                  <a:schemeClr val="bg1"/>
                </a:solidFill>
                <a:latin typeface="+mn-lt"/>
                <a:ea typeface="+mn-ea"/>
                <a:cs typeface="+mn-cs"/>
              </a:defRPr>
            </a:pPr>
          </a:p>
        </c:txPr>
        <c:crossAx val="378564992"/>
        <c:crosses val="autoZero"/>
        <c:auto val="1"/>
        <c:lblAlgn val="ctr"/>
        <c:lblOffset val="100"/>
        <c:noMultiLvlLbl val="0"/>
      </c:catAx>
      <c:valAx>
        <c:axId val="378564992"/>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txPr>
          <a:bodyPr rot="-60000000" spcFirstLastPara="0" vertOverflow="ellipsis" vert="horz" wrap="square" anchor="ctr" anchorCtr="1"/>
          <a:lstStyle/>
          <a:p>
            <a:pPr>
              <a:defRPr lang="zh-CN" sz="1050" b="0" i="0" u="none" strike="noStrike" kern="1200" baseline="0">
                <a:solidFill>
                  <a:schemeClr val="bg1"/>
                </a:solidFill>
                <a:latin typeface="+mn-lt"/>
                <a:ea typeface="+mn-ea"/>
                <a:cs typeface="+mn-cs"/>
              </a:defRPr>
            </a:pPr>
          </a:p>
        </c:txPr>
        <c:crossAx val="378560896"/>
        <c:crosses val="autoZero"/>
        <c:crossBetween val="between"/>
      </c:valAx>
      <c:spPr>
        <a:noFill/>
        <a:ln w="25400">
          <a:noFill/>
        </a:ln>
        <a:effectLst/>
      </c:spPr>
    </c:plotArea>
    <c:plotVisOnly val="1"/>
    <c:dispBlanksAs val="gap"/>
    <c:showDLblsOverMax val="0"/>
  </c:chart>
  <c:spPr>
    <a:noFill/>
    <a:ln>
      <a:noFill/>
    </a:ln>
    <a:effectLst/>
  </c:spPr>
  <c:txPr>
    <a:bodyPr/>
    <a:lstStyle/>
    <a:p>
      <a:pPr>
        <a:defRPr lang="zh-CN" sz="1050">
          <a:solidFill>
            <a:schemeClr val="bg1"/>
          </a:solidFill>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5EB4870-8F90-4AA0-9414-16DEC4C985C3}" type="datetimeFigureOut">
              <a:rPr lang="en-US" smtClean="0"/>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50B10D1-23DF-4AC2-A6D0-264D07ED3AD9}" type="slidenum">
              <a:rPr lang="en-US" smtClean="0"/>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FDFC74-0D0F-4AA9-A777-5C72654FD32A}" type="datetimeFigureOut">
              <a:rPr lang="en-US" smtClean="0"/>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225BD8-D0CB-42B9-82E3-EDF795CCDB83}"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4" Type="http://schemas.microsoft.com/office/2007/relationships/hdphoto" Target="../media/image3.wdp"/><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4" Type="http://schemas.openxmlformats.org/officeDocument/2006/relationships/image" Target="../media/image4.png"/><Relationship Id="rId3" Type="http://schemas.microsoft.com/office/2007/relationships/hdphoto" Target="../media/image7.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fld>
            <a:endParaRPr lang="en-US" dirty="0"/>
          </a:p>
        </p:txBody>
      </p:sp>
      <p:sp>
        <p:nvSpPr>
          <p:cNvPr id="5" name="Footer Placeholder 4"/>
          <p:cNvSpPr>
            <a:spLocks noGrp="1"/>
          </p:cNvSpPr>
          <p:nvPr>
            <p:ph type="ftr" sz="quarter" idx="11"/>
          </p:nvPr>
        </p:nvSpPr>
        <p:spPr/>
        <p:txBody>
          <a:bodyPr/>
          <a:lstStyle/>
          <a:p>
            <a:endParaRPr lang="en-US" dirty="0"/>
          </a:p>
        </p:txBody>
      </p:sp>
    </p:spTree>
  </p:cSld>
  <p:clrMapOvr>
    <a:masterClrMapping/>
  </p:clrMapOvr>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pPr algn="ctr"/>
            <a:fld id="{75F62417-4A12-46BB-B530-A96D3E44AFD3}" type="slidenum">
              <a:rPr lang="en-US" smtClean="0"/>
            </a:fld>
            <a:endParaRPr lang="en-US" dirty="0"/>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pPr algn="ctr"/>
            <a:fld id="{75F62417-4A12-46BB-B530-A96D3E44AFD3}" type="slidenum">
              <a:rPr lang="en-US" smtClean="0"/>
            </a:fld>
            <a:endParaRPr lang="en-US" dirty="0"/>
          </a:p>
        </p:txBody>
      </p:sp>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5_Blank">
    <p:spTree>
      <p:nvGrpSpPr>
        <p:cNvPr id="1" name=""/>
        <p:cNvGrpSpPr/>
        <p:nvPr/>
      </p:nvGrpSpPr>
      <p:grpSpPr>
        <a:xfrm>
          <a:off x="0" y="0"/>
          <a:ext cx="0" cy="0"/>
          <a:chOff x="0" y="0"/>
          <a:chExt cx="0" cy="0"/>
        </a:xfrm>
      </p:grpSpPr>
      <p:sp>
        <p:nvSpPr>
          <p:cNvPr id="5" name="Content Placeholder 2"/>
          <p:cNvSpPr>
            <a:spLocks noGrp="1"/>
          </p:cNvSpPr>
          <p:nvPr>
            <p:ph idx="1"/>
          </p:nvPr>
        </p:nvSpPr>
        <p:spPr>
          <a:xfrm>
            <a:off x="1766944" y="0"/>
            <a:ext cx="7377056" cy="514350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6_Blank">
    <p:spTree>
      <p:nvGrpSpPr>
        <p:cNvPr id="1" name=""/>
        <p:cNvGrpSpPr/>
        <p:nvPr/>
      </p:nvGrpSpPr>
      <p:grpSpPr>
        <a:xfrm>
          <a:off x="0" y="0"/>
          <a:ext cx="0" cy="0"/>
          <a:chOff x="0" y="0"/>
          <a:chExt cx="0" cy="0"/>
        </a:xfrm>
      </p:grpSpPr>
      <p:sp>
        <p:nvSpPr>
          <p:cNvPr id="5" name="Content Placeholder 2"/>
          <p:cNvSpPr>
            <a:spLocks noGrp="1"/>
          </p:cNvSpPr>
          <p:nvPr>
            <p:ph idx="1"/>
          </p:nvPr>
        </p:nvSpPr>
        <p:spPr>
          <a:xfrm>
            <a:off x="1" y="1055914"/>
            <a:ext cx="9143999" cy="4087586"/>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5_Blank">
    <p:spTree>
      <p:nvGrpSpPr>
        <p:cNvPr id="1" name=""/>
        <p:cNvGrpSpPr/>
        <p:nvPr/>
      </p:nvGrpSpPr>
      <p:grpSpPr>
        <a:xfrm>
          <a:off x="0" y="0"/>
          <a:ext cx="0" cy="0"/>
          <a:chOff x="0" y="0"/>
          <a:chExt cx="0" cy="0"/>
        </a:xfrm>
      </p:grpSpPr>
      <p:sp>
        <p:nvSpPr>
          <p:cNvPr id="3" name="Rectangle 2"/>
          <p:cNvSpPr/>
          <p:nvPr userDrawn="1"/>
        </p:nvSpPr>
        <p:spPr>
          <a:xfrm>
            <a:off x="0" y="3286126"/>
            <a:ext cx="9144000" cy="18573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5" name="Rectangle 4"/>
          <p:cNvSpPr/>
          <p:nvPr userDrawn="1"/>
        </p:nvSpPr>
        <p:spPr>
          <a:xfrm>
            <a:off x="415637" y="678152"/>
            <a:ext cx="8312727" cy="3787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8" name="Picture Placeholder 5"/>
          <p:cNvSpPr>
            <a:spLocks noGrp="1"/>
          </p:cNvSpPr>
          <p:nvPr>
            <p:ph type="pic" sz="quarter" idx="13"/>
          </p:nvPr>
        </p:nvSpPr>
        <p:spPr>
          <a:xfrm>
            <a:off x="415636" y="678152"/>
            <a:ext cx="4203505" cy="3787198"/>
          </a:xfrm>
        </p:spPr>
        <p:txBody>
          <a:bodyPr>
            <a:normAutofit/>
          </a:bodyPr>
          <a:lstStyle>
            <a:lvl1pPr marL="0" indent="0">
              <a:buNone/>
              <a:defRPr sz="1500">
                <a:solidFill>
                  <a:schemeClr val="bg1">
                    <a:lumMod val="65000"/>
                  </a:schemeClr>
                </a:solidFill>
              </a:defRPr>
            </a:lvl1pPr>
          </a:lstStyle>
          <a:p>
            <a:endParaRPr lang="en-US"/>
          </a:p>
        </p:txBody>
      </p:sp>
      <p:sp>
        <p:nvSpPr>
          <p:cNvPr id="9" name="Picture Placeholder 5"/>
          <p:cNvSpPr>
            <a:spLocks noGrp="1"/>
          </p:cNvSpPr>
          <p:nvPr>
            <p:ph type="pic" sz="quarter" idx="14"/>
          </p:nvPr>
        </p:nvSpPr>
        <p:spPr>
          <a:xfrm>
            <a:off x="4619141" y="1862818"/>
            <a:ext cx="4109223" cy="1280432"/>
          </a:xfrm>
        </p:spPr>
        <p:txBody>
          <a:bodyPr>
            <a:normAutofit/>
          </a:bodyPr>
          <a:lstStyle>
            <a:lvl1pPr marL="0" indent="0">
              <a:buNone/>
              <a:defRPr sz="1500">
                <a:solidFill>
                  <a:schemeClr val="bg1">
                    <a:lumMod val="65000"/>
                  </a:schemeClr>
                </a:solidFill>
              </a:defRPr>
            </a:lvl1p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2645228"/>
            <a:ext cx="9144000" cy="2498272"/>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55_Title Only">
    <p:spTree>
      <p:nvGrpSpPr>
        <p:cNvPr id="1" name=""/>
        <p:cNvGrpSpPr/>
        <p:nvPr/>
      </p:nvGrpSpPr>
      <p:grpSpPr>
        <a:xfrm>
          <a:off x="0" y="0"/>
          <a:ext cx="0" cy="0"/>
          <a:chOff x="0" y="0"/>
          <a:chExt cx="0" cy="0"/>
        </a:xfrm>
      </p:grpSpPr>
      <p:sp>
        <p:nvSpPr>
          <p:cNvPr id="20" name="Picture Placeholder 5"/>
          <p:cNvSpPr>
            <a:spLocks noGrp="1"/>
          </p:cNvSpPr>
          <p:nvPr>
            <p:ph type="pic" sz="quarter" idx="15"/>
          </p:nvPr>
        </p:nvSpPr>
        <p:spPr>
          <a:xfrm>
            <a:off x="1184857" y="3037419"/>
            <a:ext cx="2101366" cy="1365182"/>
          </a:xfrm>
        </p:spPr>
        <p:txBody>
          <a:bodyPr>
            <a:normAutofit/>
          </a:bodyPr>
          <a:lstStyle>
            <a:lvl1pPr marL="0" indent="0">
              <a:buNone/>
              <a:defRPr sz="1500">
                <a:solidFill>
                  <a:schemeClr val="bg1">
                    <a:lumMod val="65000"/>
                  </a:schemeClr>
                </a:solidFill>
              </a:defRPr>
            </a:lvl1pPr>
          </a:lstStyle>
          <a:p>
            <a:endParaRPr lang="en-US"/>
          </a:p>
        </p:txBody>
      </p:sp>
      <p:sp>
        <p:nvSpPr>
          <p:cNvPr id="22" name="Picture Placeholder 5"/>
          <p:cNvSpPr>
            <a:spLocks noGrp="1"/>
          </p:cNvSpPr>
          <p:nvPr>
            <p:ph type="pic" sz="quarter" idx="16"/>
          </p:nvPr>
        </p:nvSpPr>
        <p:spPr>
          <a:xfrm>
            <a:off x="3548826" y="3037419"/>
            <a:ext cx="2101366" cy="1365182"/>
          </a:xfrm>
        </p:spPr>
        <p:txBody>
          <a:bodyPr>
            <a:normAutofit/>
          </a:bodyPr>
          <a:lstStyle>
            <a:lvl1pPr marL="0" indent="0">
              <a:buNone/>
              <a:defRPr sz="1500">
                <a:solidFill>
                  <a:schemeClr val="bg1">
                    <a:lumMod val="65000"/>
                  </a:schemeClr>
                </a:solidFill>
              </a:defRPr>
            </a:lvl1pPr>
          </a:lstStyle>
          <a:p>
            <a:endParaRPr lang="en-US"/>
          </a:p>
        </p:txBody>
      </p:sp>
      <p:sp>
        <p:nvSpPr>
          <p:cNvPr id="23" name="Picture Placeholder 5"/>
          <p:cNvSpPr>
            <a:spLocks noGrp="1"/>
          </p:cNvSpPr>
          <p:nvPr>
            <p:ph type="pic" sz="quarter" idx="17"/>
          </p:nvPr>
        </p:nvSpPr>
        <p:spPr>
          <a:xfrm>
            <a:off x="5901559" y="3037419"/>
            <a:ext cx="2101366" cy="1365182"/>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a:t>Click to edit Master title style</a:t>
            </a:r>
            <a:endParaRPr lang="en-US"/>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3_Title Only">
    <p:spTree>
      <p:nvGrpSpPr>
        <p:cNvPr id="1" name=""/>
        <p:cNvGrpSpPr/>
        <p:nvPr/>
      </p:nvGrpSpPr>
      <p:grpSpPr>
        <a:xfrm>
          <a:off x="0" y="0"/>
          <a:ext cx="0" cy="0"/>
          <a:chOff x="0" y="0"/>
          <a:chExt cx="0" cy="0"/>
        </a:xfrm>
      </p:grpSpPr>
      <p:sp>
        <p:nvSpPr>
          <p:cNvPr id="7" name="Picture Placeholder 6"/>
          <p:cNvSpPr>
            <a:spLocks noGrp="1"/>
          </p:cNvSpPr>
          <p:nvPr>
            <p:ph type="pic" sz="quarter" idx="23"/>
          </p:nvPr>
        </p:nvSpPr>
        <p:spPr>
          <a:xfrm>
            <a:off x="1" y="0"/>
            <a:ext cx="6121907" cy="5170712"/>
          </a:xfrm>
          <a:custGeom>
            <a:avLst/>
            <a:gdLst>
              <a:gd name="connsiteX0" fmla="*/ 0 w 8162543"/>
              <a:gd name="connsiteY0" fmla="*/ 0 h 6894282"/>
              <a:gd name="connsiteX1" fmla="*/ 8162543 w 8162543"/>
              <a:gd name="connsiteY1" fmla="*/ 0 h 6894282"/>
              <a:gd name="connsiteX2" fmla="*/ 4053656 w 8162543"/>
              <a:gd name="connsiteY2" fmla="*/ 5464520 h 6894282"/>
              <a:gd name="connsiteX3" fmla="*/ 5121817 w 8162543"/>
              <a:gd name="connsiteY3" fmla="*/ 6885096 h 6894282"/>
              <a:gd name="connsiteX4" fmla="*/ 2982630 w 8162543"/>
              <a:gd name="connsiteY4" fmla="*/ 6888906 h 6894282"/>
              <a:gd name="connsiteX5" fmla="*/ 2978587 w 8162543"/>
              <a:gd name="connsiteY5" fmla="*/ 6894282 h 6894282"/>
              <a:gd name="connsiteX6" fmla="*/ 2624686 w 8162543"/>
              <a:gd name="connsiteY6" fmla="*/ 6889543 h 6894282"/>
              <a:gd name="connsiteX7" fmla="*/ 0 w 8162543"/>
              <a:gd name="connsiteY7" fmla="*/ 6894218 h 689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62543" h="6894282">
                <a:moveTo>
                  <a:pt x="0" y="0"/>
                </a:moveTo>
                <a:lnTo>
                  <a:pt x="8162543" y="0"/>
                </a:lnTo>
                <a:lnTo>
                  <a:pt x="4053656" y="5464520"/>
                </a:lnTo>
                <a:lnTo>
                  <a:pt x="5121817" y="6885096"/>
                </a:lnTo>
                <a:lnTo>
                  <a:pt x="2982630" y="6888906"/>
                </a:lnTo>
                <a:lnTo>
                  <a:pt x="2978587" y="6894282"/>
                </a:lnTo>
                <a:lnTo>
                  <a:pt x="2624686" y="6889543"/>
                </a:lnTo>
                <a:lnTo>
                  <a:pt x="0" y="6894218"/>
                </a:lnTo>
                <a:close/>
              </a:path>
            </a:pathLst>
          </a:custGeom>
        </p:spPr>
        <p:txBody>
          <a:bodyPr wrap="square">
            <a:no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1_Title Only">
    <p:spTree>
      <p:nvGrpSpPr>
        <p:cNvPr id="1" name=""/>
        <p:cNvGrpSpPr/>
        <p:nvPr/>
      </p:nvGrpSpPr>
      <p:grpSpPr>
        <a:xfrm>
          <a:off x="0" y="0"/>
          <a:ext cx="0" cy="0"/>
          <a:chOff x="0" y="0"/>
          <a:chExt cx="0" cy="0"/>
        </a:xfrm>
      </p:grpSpPr>
      <p:sp>
        <p:nvSpPr>
          <p:cNvPr id="7" name="Picture Placeholder 5"/>
          <p:cNvSpPr>
            <a:spLocks noGrp="1"/>
          </p:cNvSpPr>
          <p:nvPr>
            <p:ph type="pic" sz="quarter" idx="23"/>
          </p:nvPr>
        </p:nvSpPr>
        <p:spPr>
          <a:xfrm>
            <a:off x="5569538" y="1151566"/>
            <a:ext cx="2742875" cy="2734484"/>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
        <p:nvSpPr>
          <p:cNvPr id="6" name="Rectangle 5"/>
          <p:cNvSpPr/>
          <p:nvPr userDrawn="1"/>
        </p:nvSpPr>
        <p:spPr>
          <a:xfrm>
            <a:off x="5299950" y="886146"/>
            <a:ext cx="3263015" cy="3326626"/>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0_Title Only">
    <p:spTree>
      <p:nvGrpSpPr>
        <p:cNvPr id="1" name=""/>
        <p:cNvGrpSpPr/>
        <p:nvPr/>
      </p:nvGrpSpPr>
      <p:grpSpPr>
        <a:xfrm>
          <a:off x="0" y="0"/>
          <a:ext cx="0" cy="0"/>
          <a:chOff x="0" y="0"/>
          <a:chExt cx="0" cy="0"/>
        </a:xfrm>
      </p:grpSpPr>
      <p:sp>
        <p:nvSpPr>
          <p:cNvPr id="8" name="Picture Placeholder 5"/>
          <p:cNvSpPr>
            <a:spLocks noGrp="1"/>
          </p:cNvSpPr>
          <p:nvPr>
            <p:ph type="pic" sz="quarter" idx="22"/>
          </p:nvPr>
        </p:nvSpPr>
        <p:spPr>
          <a:xfrm>
            <a:off x="3651316" y="0"/>
            <a:ext cx="2533261" cy="1715762"/>
          </a:xfrm>
        </p:spPr>
        <p:txBody>
          <a:bodyPr>
            <a:normAutofit/>
          </a:bodyPr>
          <a:lstStyle>
            <a:lvl1pPr marL="0" indent="0">
              <a:buNone/>
              <a:defRPr sz="1500">
                <a:solidFill>
                  <a:schemeClr val="bg1">
                    <a:lumMod val="65000"/>
                  </a:schemeClr>
                </a:solidFill>
              </a:defRPr>
            </a:lvl1pPr>
          </a:lstStyle>
          <a:p>
            <a:endParaRPr lang="en-US" dirty="0"/>
          </a:p>
        </p:txBody>
      </p:sp>
      <p:sp>
        <p:nvSpPr>
          <p:cNvPr id="9" name="Picture Placeholder 5"/>
          <p:cNvSpPr>
            <a:spLocks noGrp="1"/>
          </p:cNvSpPr>
          <p:nvPr>
            <p:ph type="pic" sz="quarter" idx="23"/>
          </p:nvPr>
        </p:nvSpPr>
        <p:spPr>
          <a:xfrm>
            <a:off x="3651316" y="1716757"/>
            <a:ext cx="2533261" cy="1715762"/>
          </a:xfrm>
        </p:spPr>
        <p:txBody>
          <a:bodyPr>
            <a:normAutofit/>
          </a:bodyPr>
          <a:lstStyle>
            <a:lvl1pPr marL="0" indent="0">
              <a:buNone/>
              <a:defRPr sz="1500">
                <a:solidFill>
                  <a:schemeClr val="bg1">
                    <a:lumMod val="65000"/>
                  </a:schemeClr>
                </a:solidFill>
              </a:defRPr>
            </a:lvl1pPr>
          </a:lstStyle>
          <a:p>
            <a:endParaRPr lang="en-US" dirty="0"/>
          </a:p>
        </p:txBody>
      </p:sp>
      <p:sp>
        <p:nvSpPr>
          <p:cNvPr id="10" name="Picture Placeholder 5"/>
          <p:cNvSpPr>
            <a:spLocks noGrp="1"/>
          </p:cNvSpPr>
          <p:nvPr>
            <p:ph type="pic" sz="quarter" idx="24"/>
          </p:nvPr>
        </p:nvSpPr>
        <p:spPr>
          <a:xfrm>
            <a:off x="3651316" y="3432518"/>
            <a:ext cx="2533261" cy="1710982"/>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pPr algn="ctr"/>
            <a:endParaRPr lang="en-US" dirty="0"/>
          </a:p>
        </p:txBody>
      </p:sp>
    </p:spTree>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9_Title Only">
    <p:spTree>
      <p:nvGrpSpPr>
        <p:cNvPr id="1" name=""/>
        <p:cNvGrpSpPr/>
        <p:nvPr/>
      </p:nvGrpSpPr>
      <p:grpSpPr>
        <a:xfrm>
          <a:off x="0" y="0"/>
          <a:ext cx="0" cy="0"/>
          <a:chOff x="0" y="0"/>
          <a:chExt cx="0" cy="0"/>
        </a:xfrm>
      </p:grpSpPr>
      <p:sp>
        <p:nvSpPr>
          <p:cNvPr id="7" name="Picture Placeholder 5"/>
          <p:cNvSpPr>
            <a:spLocks noGrp="1"/>
          </p:cNvSpPr>
          <p:nvPr>
            <p:ph type="pic" sz="quarter" idx="22"/>
          </p:nvPr>
        </p:nvSpPr>
        <p:spPr>
          <a:xfrm>
            <a:off x="0" y="0"/>
            <a:ext cx="2571750" cy="5143500"/>
          </a:xfrm>
        </p:spPr>
        <p:txBody>
          <a:bodyPr>
            <a:normAutofit/>
          </a:bodyPr>
          <a:lstStyle>
            <a:lvl1pPr marL="0" indent="0">
              <a:buNone/>
              <a:defRPr sz="1500">
                <a:solidFill>
                  <a:schemeClr val="bg1">
                    <a:lumMod val="65000"/>
                  </a:schemeClr>
                </a:solidFill>
              </a:defRPr>
            </a:lvl1pPr>
          </a:lstStyle>
          <a:p>
            <a:endParaRPr lang="en-US" dirty="0"/>
          </a:p>
        </p:txBody>
      </p:sp>
      <p:sp>
        <p:nvSpPr>
          <p:cNvPr id="8" name="Picture Placeholder 5"/>
          <p:cNvSpPr>
            <a:spLocks noGrp="1"/>
          </p:cNvSpPr>
          <p:nvPr>
            <p:ph type="pic" sz="quarter" idx="23"/>
          </p:nvPr>
        </p:nvSpPr>
        <p:spPr>
          <a:xfrm>
            <a:off x="2571750" y="0"/>
            <a:ext cx="6572250" cy="2771775"/>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5_Title Only">
    <p:spTree>
      <p:nvGrpSpPr>
        <p:cNvPr id="1" name=""/>
        <p:cNvGrpSpPr/>
        <p:nvPr/>
      </p:nvGrpSpPr>
      <p:grpSpPr>
        <a:xfrm>
          <a:off x="0" y="0"/>
          <a:ext cx="0" cy="0"/>
          <a:chOff x="0" y="0"/>
          <a:chExt cx="0" cy="0"/>
        </a:xfrm>
      </p:grpSpPr>
      <p:sp>
        <p:nvSpPr>
          <p:cNvPr id="4" name="Rectangle 3"/>
          <p:cNvSpPr/>
          <p:nvPr userDrawn="1"/>
        </p:nvSpPr>
        <p:spPr>
          <a:xfrm flipH="1">
            <a:off x="811435" y="1403578"/>
            <a:ext cx="3049184" cy="3341912"/>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6" name="Rectangle 5"/>
          <p:cNvSpPr/>
          <p:nvPr userDrawn="1"/>
        </p:nvSpPr>
        <p:spPr>
          <a:xfrm>
            <a:off x="3837664" y="1403578"/>
            <a:ext cx="1545772" cy="1707695"/>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8" name="Picture Placeholder 5"/>
          <p:cNvSpPr>
            <a:spLocks noGrp="1"/>
          </p:cNvSpPr>
          <p:nvPr>
            <p:ph type="pic" sz="quarter" idx="14"/>
          </p:nvPr>
        </p:nvSpPr>
        <p:spPr>
          <a:xfrm>
            <a:off x="885430" y="1484676"/>
            <a:ext cx="2901194" cy="3179715"/>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2_Blank">
    <p:spTree>
      <p:nvGrpSpPr>
        <p:cNvPr id="1" name=""/>
        <p:cNvGrpSpPr/>
        <p:nvPr/>
      </p:nvGrpSpPr>
      <p:grpSpPr>
        <a:xfrm>
          <a:off x="0" y="0"/>
          <a:ext cx="0" cy="0"/>
          <a:chOff x="0" y="0"/>
          <a:chExt cx="0" cy="0"/>
        </a:xfrm>
      </p:grpSpPr>
      <p:sp>
        <p:nvSpPr>
          <p:cNvPr id="5" name="Picture Placeholder 5"/>
          <p:cNvSpPr>
            <a:spLocks noGrp="1"/>
          </p:cNvSpPr>
          <p:nvPr>
            <p:ph type="pic" sz="quarter" idx="13"/>
          </p:nvPr>
        </p:nvSpPr>
        <p:spPr>
          <a:xfrm>
            <a:off x="183356" y="233734"/>
            <a:ext cx="8777287" cy="4676033"/>
          </a:xfrm>
        </p:spPr>
        <p:txBody>
          <a:bodyPr>
            <a:normAutofit/>
          </a:bodyPr>
          <a:lstStyle>
            <a:lvl1pPr marL="0" indent="0">
              <a:buNone/>
              <a:defRPr sz="1500">
                <a:solidFill>
                  <a:schemeClr val="bg1">
                    <a:lumMod val="65000"/>
                  </a:schemeClr>
                </a:solidFill>
              </a:defRPr>
            </a:lvl1p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4_Title Only">
    <p:spTree>
      <p:nvGrpSpPr>
        <p:cNvPr id="1" name=""/>
        <p:cNvGrpSpPr/>
        <p:nvPr/>
      </p:nvGrpSpPr>
      <p:grpSpPr>
        <a:xfrm>
          <a:off x="0" y="0"/>
          <a:ext cx="0" cy="0"/>
          <a:chOff x="0" y="0"/>
          <a:chExt cx="0" cy="0"/>
        </a:xfrm>
      </p:grpSpPr>
      <p:sp>
        <p:nvSpPr>
          <p:cNvPr id="7" name="Picture Placeholder 5"/>
          <p:cNvSpPr>
            <a:spLocks noGrp="1"/>
          </p:cNvSpPr>
          <p:nvPr>
            <p:ph type="pic" sz="quarter" idx="14"/>
          </p:nvPr>
        </p:nvSpPr>
        <p:spPr>
          <a:xfrm>
            <a:off x="0" y="0"/>
            <a:ext cx="9144000" cy="2876550"/>
          </a:xfrm>
        </p:spPr>
        <p:txBody>
          <a:bodyPr>
            <a:normAutofit/>
          </a:bodyPr>
          <a:lstStyle>
            <a:lvl1pPr marL="0" indent="0">
              <a:buNone/>
              <a:defRPr sz="1500">
                <a:solidFill>
                  <a:schemeClr val="bg1">
                    <a:lumMod val="65000"/>
                  </a:schemeClr>
                </a:solidFill>
              </a:defRPr>
            </a:lvl1pPr>
          </a:lstStyle>
          <a:p>
            <a:endParaRPr lang="en-US" dirty="0"/>
          </a:p>
        </p:txBody>
      </p:sp>
      <p:sp>
        <p:nvSpPr>
          <p:cNvPr id="8" name="Picture Placeholder 5"/>
          <p:cNvSpPr>
            <a:spLocks noGrp="1"/>
          </p:cNvSpPr>
          <p:nvPr>
            <p:ph type="pic" sz="quarter" idx="15"/>
          </p:nvPr>
        </p:nvSpPr>
        <p:spPr>
          <a:xfrm>
            <a:off x="794654" y="1727917"/>
            <a:ext cx="1901559" cy="1863747"/>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a:t>Click to edit Master title style</a:t>
            </a:r>
            <a:endParaRPr lang="en-US"/>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8_Title Only">
    <p:spTree>
      <p:nvGrpSpPr>
        <p:cNvPr id="1" name=""/>
        <p:cNvGrpSpPr/>
        <p:nvPr/>
      </p:nvGrpSpPr>
      <p:grpSpPr>
        <a:xfrm>
          <a:off x="0" y="0"/>
          <a:ext cx="0" cy="0"/>
          <a:chOff x="0" y="0"/>
          <a:chExt cx="0" cy="0"/>
        </a:xfrm>
      </p:grpSpPr>
      <p:sp>
        <p:nvSpPr>
          <p:cNvPr id="7" name="Picture Placeholder 6"/>
          <p:cNvSpPr>
            <a:spLocks noGrp="1"/>
          </p:cNvSpPr>
          <p:nvPr>
            <p:ph type="pic" sz="quarter" idx="23"/>
          </p:nvPr>
        </p:nvSpPr>
        <p:spPr>
          <a:xfrm>
            <a:off x="0" y="1701499"/>
            <a:ext cx="9144000" cy="2862035"/>
          </a:xfrm>
          <a:custGeom>
            <a:avLst/>
            <a:gdLst>
              <a:gd name="connsiteX0" fmla="*/ 12192000 w 12192000"/>
              <a:gd name="connsiteY0" fmla="*/ 0 h 3816047"/>
              <a:gd name="connsiteX1" fmla="*/ 12192000 w 12192000"/>
              <a:gd name="connsiteY1" fmla="*/ 3816047 h 3816047"/>
              <a:gd name="connsiteX2" fmla="*/ 0 w 12192000"/>
              <a:gd name="connsiteY2" fmla="*/ 3816047 h 3816047"/>
              <a:gd name="connsiteX3" fmla="*/ 0 w 12192000"/>
              <a:gd name="connsiteY3" fmla="*/ 1904351 h 3816047"/>
              <a:gd name="connsiteX4" fmla="*/ 1569155 w 12192000"/>
              <a:gd name="connsiteY4" fmla="*/ 1192948 h 3816047"/>
              <a:gd name="connsiteX5" fmla="*/ 3646311 w 12192000"/>
              <a:gd name="connsiteY5" fmla="*/ 1196751 h 3816047"/>
              <a:gd name="connsiteX6" fmla="*/ 5926667 w 12192000"/>
              <a:gd name="connsiteY6" fmla="*/ 654222 h 3816047"/>
              <a:gd name="connsiteX7" fmla="*/ 8229600 w 12192000"/>
              <a:gd name="connsiteY7" fmla="*/ 948396 h 3816047"/>
              <a:gd name="connsiteX8" fmla="*/ 10103556 w 12192000"/>
              <a:gd name="connsiteY8" fmla="*/ 732501 h 381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816047">
                <a:moveTo>
                  <a:pt x="12192000" y="0"/>
                </a:moveTo>
                <a:lnTo>
                  <a:pt x="12192000" y="3816047"/>
                </a:lnTo>
                <a:lnTo>
                  <a:pt x="0" y="3816047"/>
                </a:lnTo>
                <a:lnTo>
                  <a:pt x="0" y="1904351"/>
                </a:lnTo>
                <a:lnTo>
                  <a:pt x="1569155" y="1192948"/>
                </a:lnTo>
                <a:lnTo>
                  <a:pt x="3646311" y="1196751"/>
                </a:lnTo>
                <a:lnTo>
                  <a:pt x="5926667" y="654222"/>
                </a:lnTo>
                <a:lnTo>
                  <a:pt x="8229600" y="948396"/>
                </a:lnTo>
                <a:lnTo>
                  <a:pt x="10103556" y="732501"/>
                </a:lnTo>
                <a:close/>
              </a:path>
            </a:pathLst>
          </a:custGeom>
        </p:spPr>
        <p:txBody>
          <a:bodyPr wrap="square">
            <a:no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Picture Placeholder 8"/>
          <p:cNvSpPr>
            <a:spLocks noGrp="1"/>
          </p:cNvSpPr>
          <p:nvPr>
            <p:ph type="pic" sz="quarter" idx="23"/>
          </p:nvPr>
        </p:nvSpPr>
        <p:spPr>
          <a:xfrm>
            <a:off x="5017334" y="968000"/>
            <a:ext cx="3531376" cy="3191588"/>
          </a:xfrm>
          <a:custGeom>
            <a:avLst/>
            <a:gdLst>
              <a:gd name="connsiteX0" fmla="*/ 4708501 w 4708501"/>
              <a:gd name="connsiteY0" fmla="*/ 0 h 4255450"/>
              <a:gd name="connsiteX1" fmla="*/ 1553320 w 4708501"/>
              <a:gd name="connsiteY1" fmla="*/ 4255450 h 4255450"/>
              <a:gd name="connsiteX2" fmla="*/ 0 w 4708501"/>
              <a:gd name="connsiteY2" fmla="*/ 3608233 h 4255450"/>
              <a:gd name="connsiteX3" fmla="*/ 2621227 w 4708501"/>
              <a:gd name="connsiteY3" fmla="*/ 97083 h 4255450"/>
            </a:gdLst>
            <a:ahLst/>
            <a:cxnLst>
              <a:cxn ang="0">
                <a:pos x="connsiteX0" y="connsiteY0"/>
              </a:cxn>
              <a:cxn ang="0">
                <a:pos x="connsiteX1" y="connsiteY1"/>
              </a:cxn>
              <a:cxn ang="0">
                <a:pos x="connsiteX2" y="connsiteY2"/>
              </a:cxn>
              <a:cxn ang="0">
                <a:pos x="connsiteX3" y="connsiteY3"/>
              </a:cxn>
            </a:cxnLst>
            <a:rect l="l" t="t" r="r" b="b"/>
            <a:pathLst>
              <a:path w="4708501" h="4255450">
                <a:moveTo>
                  <a:pt x="4708501" y="0"/>
                </a:moveTo>
                <a:lnTo>
                  <a:pt x="1553320" y="4255450"/>
                </a:lnTo>
                <a:lnTo>
                  <a:pt x="0" y="3608233"/>
                </a:lnTo>
                <a:lnTo>
                  <a:pt x="2621227" y="97083"/>
                </a:lnTo>
                <a:close/>
              </a:path>
            </a:pathLst>
          </a:custGeom>
        </p:spPr>
        <p:txBody>
          <a:bodyPr wrap="square">
            <a:no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Picture Placeholder 5"/>
          <p:cNvSpPr>
            <a:spLocks noGrp="1"/>
          </p:cNvSpPr>
          <p:nvPr>
            <p:ph type="pic" sz="quarter" idx="23"/>
          </p:nvPr>
        </p:nvSpPr>
        <p:spPr>
          <a:xfrm>
            <a:off x="0" y="0"/>
            <a:ext cx="9144000" cy="3419319"/>
          </a:xfrm>
        </p:spPr>
        <p:txBody>
          <a:bodyPr>
            <a:normAutofit/>
          </a:bodyPr>
          <a:lstStyle>
            <a:lvl1pPr marL="0" indent="0">
              <a:buNone/>
              <a:defRPr sz="1500">
                <a:solidFill>
                  <a:schemeClr val="bg1">
                    <a:lumMod val="65000"/>
                  </a:schemeClr>
                </a:solidFill>
              </a:defRPr>
            </a:lvl1pPr>
          </a:lstStyle>
          <a:p>
            <a:endParaRPr lang="en-US" dirty="0"/>
          </a:p>
        </p:txBody>
      </p:sp>
      <p:sp>
        <p:nvSpPr>
          <p:cNvPr id="10" name="Picture Placeholder 9"/>
          <p:cNvSpPr>
            <a:spLocks noGrp="1"/>
          </p:cNvSpPr>
          <p:nvPr>
            <p:ph type="pic" sz="quarter" idx="24"/>
          </p:nvPr>
        </p:nvSpPr>
        <p:spPr>
          <a:xfrm>
            <a:off x="4199449" y="495407"/>
            <a:ext cx="3429330" cy="2686309"/>
          </a:xfrm>
          <a:custGeom>
            <a:avLst/>
            <a:gdLst>
              <a:gd name="connsiteX0" fmla="*/ 4572440 w 4572440"/>
              <a:gd name="connsiteY0" fmla="*/ 0 h 3581745"/>
              <a:gd name="connsiteX1" fmla="*/ 4369221 w 4572440"/>
              <a:gd name="connsiteY1" fmla="*/ 3175306 h 3581745"/>
              <a:gd name="connsiteX2" fmla="*/ 0 w 4572440"/>
              <a:gd name="connsiteY2" fmla="*/ 3581745 h 3581745"/>
              <a:gd name="connsiteX3" fmla="*/ 292128 w 4572440"/>
              <a:gd name="connsiteY3" fmla="*/ 1054202 h 3581745"/>
            </a:gdLst>
            <a:ahLst/>
            <a:cxnLst>
              <a:cxn ang="0">
                <a:pos x="connsiteX0" y="connsiteY0"/>
              </a:cxn>
              <a:cxn ang="0">
                <a:pos x="connsiteX1" y="connsiteY1"/>
              </a:cxn>
              <a:cxn ang="0">
                <a:pos x="connsiteX2" y="connsiteY2"/>
              </a:cxn>
              <a:cxn ang="0">
                <a:pos x="connsiteX3" y="connsiteY3"/>
              </a:cxn>
            </a:cxnLst>
            <a:rect l="l" t="t" r="r" b="b"/>
            <a:pathLst>
              <a:path w="4572440" h="3581745">
                <a:moveTo>
                  <a:pt x="4572440" y="0"/>
                </a:moveTo>
                <a:lnTo>
                  <a:pt x="4369221" y="3175306"/>
                </a:lnTo>
                <a:lnTo>
                  <a:pt x="0" y="3581745"/>
                </a:lnTo>
                <a:lnTo>
                  <a:pt x="292128" y="1054202"/>
                </a:lnTo>
                <a:close/>
              </a:path>
            </a:pathLst>
          </a:custGeom>
          <a:solidFill>
            <a:schemeClr val="bg1">
              <a:lumMod val="95000"/>
            </a:schemeClr>
          </a:solidFill>
        </p:spPr>
        <p:txBody>
          <a:bodyPr wrap="square">
            <a:no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5_Title Only">
    <p:spTree>
      <p:nvGrpSpPr>
        <p:cNvPr id="1" name=""/>
        <p:cNvGrpSpPr/>
        <p:nvPr/>
      </p:nvGrpSpPr>
      <p:grpSpPr>
        <a:xfrm>
          <a:off x="0" y="0"/>
          <a:ext cx="0" cy="0"/>
          <a:chOff x="0" y="0"/>
          <a:chExt cx="0" cy="0"/>
        </a:xfrm>
      </p:grpSpPr>
      <p:sp>
        <p:nvSpPr>
          <p:cNvPr id="6" name="Picture Placeholder 5"/>
          <p:cNvSpPr>
            <a:spLocks noGrp="1"/>
          </p:cNvSpPr>
          <p:nvPr>
            <p:ph type="pic" sz="quarter" idx="23"/>
          </p:nvPr>
        </p:nvSpPr>
        <p:spPr>
          <a:xfrm>
            <a:off x="678677" y="1452748"/>
            <a:ext cx="8234705" cy="1924445"/>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4_Title Only">
    <p:spTree>
      <p:nvGrpSpPr>
        <p:cNvPr id="1" name=""/>
        <p:cNvGrpSpPr/>
        <p:nvPr/>
      </p:nvGrpSpPr>
      <p:grpSpPr>
        <a:xfrm>
          <a:off x="0" y="0"/>
          <a:ext cx="0" cy="0"/>
          <a:chOff x="0" y="0"/>
          <a:chExt cx="0" cy="0"/>
        </a:xfrm>
      </p:grpSpPr>
      <p:sp>
        <p:nvSpPr>
          <p:cNvPr id="19" name="Picture Placeholder 18"/>
          <p:cNvSpPr>
            <a:spLocks noGrp="1"/>
          </p:cNvSpPr>
          <p:nvPr>
            <p:ph type="pic" sz="quarter" idx="27"/>
          </p:nvPr>
        </p:nvSpPr>
        <p:spPr>
          <a:xfrm>
            <a:off x="3820555" y="0"/>
            <a:ext cx="5323445" cy="5175306"/>
          </a:xfrm>
          <a:custGeom>
            <a:avLst/>
            <a:gdLst>
              <a:gd name="connsiteX0" fmla="*/ 4633040 w 7097926"/>
              <a:gd name="connsiteY0" fmla="*/ 0 h 6900408"/>
              <a:gd name="connsiteX1" fmla="*/ 7097926 w 7097926"/>
              <a:gd name="connsiteY1" fmla="*/ 0 h 6900408"/>
              <a:gd name="connsiteX2" fmla="*/ 2462586 w 7097926"/>
              <a:gd name="connsiteY2" fmla="*/ 6900408 h 6900408"/>
              <a:gd name="connsiteX3" fmla="*/ 0 w 7097926"/>
              <a:gd name="connsiteY3" fmla="*/ 6900408 h 6900408"/>
            </a:gdLst>
            <a:ahLst/>
            <a:cxnLst>
              <a:cxn ang="0">
                <a:pos x="connsiteX0" y="connsiteY0"/>
              </a:cxn>
              <a:cxn ang="0">
                <a:pos x="connsiteX1" y="connsiteY1"/>
              </a:cxn>
              <a:cxn ang="0">
                <a:pos x="connsiteX2" y="connsiteY2"/>
              </a:cxn>
              <a:cxn ang="0">
                <a:pos x="connsiteX3" y="connsiteY3"/>
              </a:cxn>
            </a:cxnLst>
            <a:rect l="l" t="t" r="r" b="b"/>
            <a:pathLst>
              <a:path w="7097926" h="6900408">
                <a:moveTo>
                  <a:pt x="4633040" y="0"/>
                </a:moveTo>
                <a:lnTo>
                  <a:pt x="7097926" y="0"/>
                </a:lnTo>
                <a:lnTo>
                  <a:pt x="2462586" y="6900408"/>
                </a:lnTo>
                <a:lnTo>
                  <a:pt x="0" y="6900408"/>
                </a:lnTo>
                <a:close/>
              </a:path>
            </a:pathLst>
          </a:custGeom>
          <a:solidFill>
            <a:schemeClr val="bg1">
              <a:lumMod val="85000"/>
            </a:schemeClr>
          </a:solidFill>
        </p:spPr>
        <p:txBody>
          <a:bodyPr wrap="square">
            <a:noAutofit/>
          </a:bodyPr>
          <a:lstStyle>
            <a:lvl1pPr marL="0" indent="0">
              <a:buNone/>
              <a:defRPr sz="1500">
                <a:solidFill>
                  <a:schemeClr val="bg1">
                    <a:lumMod val="65000"/>
                  </a:schemeClr>
                </a:solidFill>
              </a:defRPr>
            </a:lvl1pPr>
          </a:lstStyle>
          <a:p>
            <a:endParaRPr lang="en-US" dirty="0"/>
          </a:p>
        </p:txBody>
      </p:sp>
      <p:sp>
        <p:nvSpPr>
          <p:cNvPr id="11" name="Picture Placeholder 5"/>
          <p:cNvSpPr>
            <a:spLocks noGrp="1"/>
          </p:cNvSpPr>
          <p:nvPr>
            <p:ph type="pic" sz="quarter" idx="23"/>
          </p:nvPr>
        </p:nvSpPr>
        <p:spPr>
          <a:xfrm>
            <a:off x="0" y="0"/>
            <a:ext cx="9144000" cy="5143500"/>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
        <p:nvSpPr>
          <p:cNvPr id="10" name="AutoShape 13"/>
          <p:cNvSpPr/>
          <p:nvPr userDrawn="1"/>
        </p:nvSpPr>
        <p:spPr bwMode="auto">
          <a:xfrm>
            <a:off x="3283551" y="2827782"/>
            <a:ext cx="2069167" cy="1345795"/>
          </a:xfrm>
          <a:custGeom>
            <a:avLst/>
            <a:gdLst/>
            <a:ahLst/>
            <a:cxnLst/>
            <a:rect l="0" t="0" r="r" b="b"/>
            <a:pathLst>
              <a:path w="21600" h="21600">
                <a:moveTo>
                  <a:pt x="9416" y="0"/>
                </a:moveTo>
                <a:lnTo>
                  <a:pt x="21600" y="0"/>
                </a:lnTo>
                <a:lnTo>
                  <a:pt x="12177" y="21600"/>
                </a:lnTo>
                <a:lnTo>
                  <a:pt x="0" y="21600"/>
                </a:lnTo>
                <a:lnTo>
                  <a:pt x="9416" y="0"/>
                </a:lnTo>
                <a:close/>
                <a:moveTo>
                  <a:pt x="9416" y="0"/>
                </a:moveTo>
              </a:path>
            </a:pathLst>
          </a:custGeom>
          <a:solidFill>
            <a:srgbClr val="548235"/>
          </a:solidFill>
          <a:ln>
            <a:noFill/>
          </a:ln>
        </p:spPr>
        <p:txBody>
          <a:bodyPr lIns="0" tIns="0" rIns="0" bIns="0"/>
          <a:lstStyle/>
          <a:p>
            <a:endParaRPr lang="en-US" sz="1015"/>
          </a:p>
        </p:txBody>
      </p:sp>
      <p:sp>
        <p:nvSpPr>
          <p:cNvPr id="13" name="Picture Placeholder 12"/>
          <p:cNvSpPr>
            <a:spLocks noGrp="1"/>
          </p:cNvSpPr>
          <p:nvPr>
            <p:ph type="pic" sz="quarter" idx="24"/>
          </p:nvPr>
        </p:nvSpPr>
        <p:spPr>
          <a:xfrm>
            <a:off x="2776415" y="1505283"/>
            <a:ext cx="2251354" cy="1839791"/>
          </a:xfrm>
          <a:custGeom>
            <a:avLst/>
            <a:gdLst>
              <a:gd name="connsiteX0" fmla="*/ 1649325 w 3001805"/>
              <a:gd name="connsiteY0" fmla="*/ 0 h 2453054"/>
              <a:gd name="connsiteX1" fmla="*/ 3001805 w 3001805"/>
              <a:gd name="connsiteY1" fmla="*/ 0 h 2453054"/>
              <a:gd name="connsiteX2" fmla="*/ 1351785 w 3001805"/>
              <a:gd name="connsiteY2" fmla="*/ 2453054 h 2453054"/>
              <a:gd name="connsiteX3" fmla="*/ 0 w 3001805"/>
              <a:gd name="connsiteY3" fmla="*/ 2453054 h 2453054"/>
            </a:gdLst>
            <a:ahLst/>
            <a:cxnLst>
              <a:cxn ang="0">
                <a:pos x="connsiteX0" y="connsiteY0"/>
              </a:cxn>
              <a:cxn ang="0">
                <a:pos x="connsiteX1" y="connsiteY1"/>
              </a:cxn>
              <a:cxn ang="0">
                <a:pos x="connsiteX2" y="connsiteY2"/>
              </a:cxn>
              <a:cxn ang="0">
                <a:pos x="connsiteX3" y="connsiteY3"/>
              </a:cxn>
            </a:cxnLst>
            <a:rect l="l" t="t" r="r" b="b"/>
            <a:pathLst>
              <a:path w="3001805" h="2453054">
                <a:moveTo>
                  <a:pt x="1649325" y="0"/>
                </a:moveTo>
                <a:lnTo>
                  <a:pt x="3001805" y="0"/>
                </a:lnTo>
                <a:lnTo>
                  <a:pt x="1351785" y="2453054"/>
                </a:lnTo>
                <a:lnTo>
                  <a:pt x="0" y="2453054"/>
                </a:lnTo>
                <a:close/>
              </a:path>
            </a:pathLst>
          </a:custGeom>
          <a:solidFill>
            <a:schemeClr val="bg1">
              <a:lumMod val="85000"/>
            </a:schemeClr>
          </a:solidFill>
        </p:spPr>
        <p:txBody>
          <a:bodyPr wrap="square">
            <a:noAutofit/>
          </a:bodyPr>
          <a:lstStyle>
            <a:lvl1pPr marL="0" indent="0">
              <a:buNone/>
              <a:defRPr sz="1500">
                <a:solidFill>
                  <a:schemeClr val="bg1">
                    <a:lumMod val="65000"/>
                  </a:schemeClr>
                </a:solidFill>
              </a:defRPr>
            </a:lvl1pPr>
          </a:lstStyle>
          <a:p>
            <a:endParaRPr lang="en-US" dirty="0"/>
          </a:p>
        </p:txBody>
      </p:sp>
      <p:sp>
        <p:nvSpPr>
          <p:cNvPr id="15" name="Picture Placeholder 14"/>
          <p:cNvSpPr>
            <a:spLocks noGrp="1"/>
          </p:cNvSpPr>
          <p:nvPr>
            <p:ph type="pic" sz="quarter" idx="25"/>
          </p:nvPr>
        </p:nvSpPr>
        <p:spPr>
          <a:xfrm>
            <a:off x="4207628" y="678573"/>
            <a:ext cx="2590043" cy="2116954"/>
          </a:xfrm>
          <a:custGeom>
            <a:avLst/>
            <a:gdLst>
              <a:gd name="connsiteX0" fmla="*/ 1897446 w 3453390"/>
              <a:gd name="connsiteY0" fmla="*/ 0 h 2822605"/>
              <a:gd name="connsiteX1" fmla="*/ 3453390 w 3453390"/>
              <a:gd name="connsiteY1" fmla="*/ 0 h 2822605"/>
              <a:gd name="connsiteX2" fmla="*/ 1555145 w 3453390"/>
              <a:gd name="connsiteY2" fmla="*/ 2822605 h 2822605"/>
              <a:gd name="connsiteX3" fmla="*/ 0 w 3453390"/>
              <a:gd name="connsiteY3" fmla="*/ 2822605 h 2822605"/>
            </a:gdLst>
            <a:ahLst/>
            <a:cxnLst>
              <a:cxn ang="0">
                <a:pos x="connsiteX0" y="connsiteY0"/>
              </a:cxn>
              <a:cxn ang="0">
                <a:pos x="connsiteX1" y="connsiteY1"/>
              </a:cxn>
              <a:cxn ang="0">
                <a:pos x="connsiteX2" y="connsiteY2"/>
              </a:cxn>
              <a:cxn ang="0">
                <a:pos x="connsiteX3" y="connsiteY3"/>
              </a:cxn>
            </a:cxnLst>
            <a:rect l="l" t="t" r="r" b="b"/>
            <a:pathLst>
              <a:path w="3453390" h="2822605">
                <a:moveTo>
                  <a:pt x="1897446" y="0"/>
                </a:moveTo>
                <a:lnTo>
                  <a:pt x="3453390" y="0"/>
                </a:lnTo>
                <a:lnTo>
                  <a:pt x="1555145" y="2822605"/>
                </a:lnTo>
                <a:lnTo>
                  <a:pt x="0" y="2822605"/>
                </a:lnTo>
                <a:close/>
              </a:path>
            </a:pathLst>
          </a:custGeom>
          <a:solidFill>
            <a:schemeClr val="bg1">
              <a:lumMod val="85000"/>
            </a:schemeClr>
          </a:solidFill>
        </p:spPr>
        <p:txBody>
          <a:bodyPr wrap="square">
            <a:noAutofit/>
          </a:bodyPr>
          <a:lstStyle>
            <a:lvl1pPr marL="0" indent="0">
              <a:buNone/>
              <a:defRPr sz="1500">
                <a:solidFill>
                  <a:schemeClr val="bg1">
                    <a:lumMod val="65000"/>
                  </a:schemeClr>
                </a:solidFill>
              </a:defRPr>
            </a:lvl1pPr>
          </a:lstStyle>
          <a:p>
            <a:endParaRPr lang="en-US" dirty="0"/>
          </a:p>
        </p:txBody>
      </p:sp>
      <p:sp>
        <p:nvSpPr>
          <p:cNvPr id="17" name="Picture Placeholder 16"/>
          <p:cNvSpPr>
            <a:spLocks noGrp="1"/>
          </p:cNvSpPr>
          <p:nvPr>
            <p:ph type="pic" sz="quarter" idx="26"/>
          </p:nvPr>
        </p:nvSpPr>
        <p:spPr>
          <a:xfrm>
            <a:off x="5712911" y="2456239"/>
            <a:ext cx="3321180" cy="2719067"/>
          </a:xfrm>
          <a:custGeom>
            <a:avLst/>
            <a:gdLst>
              <a:gd name="connsiteX0" fmla="*/ 2433072 w 4428240"/>
              <a:gd name="connsiteY0" fmla="*/ 0 h 3625422"/>
              <a:gd name="connsiteX1" fmla="*/ 4428240 w 4428240"/>
              <a:gd name="connsiteY1" fmla="*/ 0 h 3625422"/>
              <a:gd name="connsiteX2" fmla="*/ 1994143 w 4428240"/>
              <a:gd name="connsiteY2" fmla="*/ 3625422 h 3625422"/>
              <a:gd name="connsiteX3" fmla="*/ 0 w 4428240"/>
              <a:gd name="connsiteY3" fmla="*/ 3625422 h 3625422"/>
            </a:gdLst>
            <a:ahLst/>
            <a:cxnLst>
              <a:cxn ang="0">
                <a:pos x="connsiteX0" y="connsiteY0"/>
              </a:cxn>
              <a:cxn ang="0">
                <a:pos x="connsiteX1" y="connsiteY1"/>
              </a:cxn>
              <a:cxn ang="0">
                <a:pos x="connsiteX2" y="connsiteY2"/>
              </a:cxn>
              <a:cxn ang="0">
                <a:pos x="connsiteX3" y="connsiteY3"/>
              </a:cxn>
            </a:cxnLst>
            <a:rect l="l" t="t" r="r" b="b"/>
            <a:pathLst>
              <a:path w="4428240" h="3625422">
                <a:moveTo>
                  <a:pt x="2433072" y="0"/>
                </a:moveTo>
                <a:lnTo>
                  <a:pt x="4428240" y="0"/>
                </a:lnTo>
                <a:lnTo>
                  <a:pt x="1994143" y="3625422"/>
                </a:lnTo>
                <a:lnTo>
                  <a:pt x="0" y="3625422"/>
                </a:lnTo>
                <a:close/>
              </a:path>
            </a:pathLst>
          </a:custGeom>
          <a:solidFill>
            <a:schemeClr val="bg1">
              <a:lumMod val="85000"/>
            </a:schemeClr>
          </a:solidFill>
        </p:spPr>
        <p:txBody>
          <a:bodyPr wrap="square">
            <a:noAutofit/>
          </a:bodyPr>
          <a:lstStyle>
            <a:lvl1pPr marL="0" indent="0">
              <a:buNone/>
              <a:defRPr sz="1500">
                <a:solidFill>
                  <a:schemeClr val="bg1">
                    <a:lumMod val="65000"/>
                  </a:schemeClr>
                </a:solidFill>
              </a:defRPr>
            </a:lvl1pPr>
          </a:lstStyle>
          <a:p>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endParaRPr lang="zh-CN" altLang="en-US" smtClean="0"/>
          </a:p>
        </p:txBody>
      </p:sp>
      <p:sp>
        <p:nvSpPr>
          <p:cNvPr id="4" name="Date Placeholder 3"/>
          <p:cNvSpPr>
            <a:spLocks noGrp="1"/>
          </p:cNvSpPr>
          <p:nvPr>
            <p:ph type="dt" sz="half" idx="10"/>
          </p:nvPr>
        </p:nvSpPr>
        <p:spPr/>
        <p:txBody>
          <a:bodyPr/>
          <a:lstStyle/>
          <a:p>
            <a:fld id="{C764DE79-268F-4C1A-8933-263129D2AF90}" type="datetimeFigureOut">
              <a:rPr lang="en-US" dirty="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pPr algn="ctr"/>
            <a:fld id="{75F62417-4A12-46BB-B530-A96D3E44AFD3}" type="slidenum">
              <a:rPr lang="en-US" smtClean="0"/>
            </a:fld>
            <a:endParaRPr lang="en-US" dirty="0"/>
          </a:p>
        </p:txBody>
      </p:sp>
    </p:spTree>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3_Title Only">
    <p:spTree>
      <p:nvGrpSpPr>
        <p:cNvPr id="1" name=""/>
        <p:cNvGrpSpPr/>
        <p:nvPr/>
      </p:nvGrpSpPr>
      <p:grpSpPr>
        <a:xfrm>
          <a:off x="0" y="0"/>
          <a:ext cx="0" cy="0"/>
          <a:chOff x="0" y="0"/>
          <a:chExt cx="0" cy="0"/>
        </a:xfrm>
      </p:grpSpPr>
      <p:sp>
        <p:nvSpPr>
          <p:cNvPr id="7" name="Picture Placeholder 5"/>
          <p:cNvSpPr>
            <a:spLocks noGrp="1"/>
          </p:cNvSpPr>
          <p:nvPr>
            <p:ph type="pic" sz="quarter" idx="23"/>
          </p:nvPr>
        </p:nvSpPr>
        <p:spPr>
          <a:xfrm>
            <a:off x="719019" y="1278578"/>
            <a:ext cx="5527384" cy="1932708"/>
          </a:xfrm>
        </p:spPr>
        <p:txBody>
          <a:bodyPr>
            <a:normAutofit/>
          </a:bodyPr>
          <a:lstStyle>
            <a:lvl1pPr marL="0" indent="0">
              <a:buNone/>
              <a:defRPr sz="1500">
                <a:solidFill>
                  <a:schemeClr val="bg1">
                    <a:lumMod val="65000"/>
                  </a:schemeClr>
                </a:solidFill>
              </a:defRPr>
            </a:lvl1pPr>
          </a:lstStyle>
          <a:p>
            <a:endParaRPr lang="en-US" dirty="0"/>
          </a:p>
        </p:txBody>
      </p:sp>
      <p:sp>
        <p:nvSpPr>
          <p:cNvPr id="8" name="Picture Placeholder 5"/>
          <p:cNvSpPr>
            <a:spLocks noGrp="1"/>
          </p:cNvSpPr>
          <p:nvPr>
            <p:ph type="pic" sz="quarter" idx="24"/>
          </p:nvPr>
        </p:nvSpPr>
        <p:spPr>
          <a:xfrm>
            <a:off x="6312607" y="1278578"/>
            <a:ext cx="2646336" cy="1932708"/>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1_Title Only">
    <p:spTree>
      <p:nvGrpSpPr>
        <p:cNvPr id="1" name=""/>
        <p:cNvGrpSpPr/>
        <p:nvPr/>
      </p:nvGrpSpPr>
      <p:grpSpPr>
        <a:xfrm>
          <a:off x="0" y="0"/>
          <a:ext cx="0" cy="0"/>
          <a:chOff x="0" y="0"/>
          <a:chExt cx="0" cy="0"/>
        </a:xfrm>
      </p:grpSpPr>
      <p:sp>
        <p:nvSpPr>
          <p:cNvPr id="4" name="Rectangle 3"/>
          <p:cNvSpPr/>
          <p:nvPr userDrawn="1"/>
        </p:nvSpPr>
        <p:spPr>
          <a:xfrm>
            <a:off x="717309" y="1351188"/>
            <a:ext cx="1656059" cy="1656058"/>
          </a:xfrm>
          <a:prstGeom prst="rect">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lang="en-US" sz="1015" dirty="0"/>
          </a:p>
        </p:txBody>
      </p:sp>
      <p:sp>
        <p:nvSpPr>
          <p:cNvPr id="7" name="Picture Placeholder 5"/>
          <p:cNvSpPr>
            <a:spLocks noGrp="1"/>
          </p:cNvSpPr>
          <p:nvPr>
            <p:ph type="pic" sz="quarter" idx="23"/>
          </p:nvPr>
        </p:nvSpPr>
        <p:spPr>
          <a:xfrm>
            <a:off x="801231" y="1435109"/>
            <a:ext cx="1488217" cy="1488216"/>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9_Title Only">
    <p:spTree>
      <p:nvGrpSpPr>
        <p:cNvPr id="1" name=""/>
        <p:cNvGrpSpPr/>
        <p:nvPr/>
      </p:nvGrpSpPr>
      <p:grpSpPr>
        <a:xfrm>
          <a:off x="0" y="0"/>
          <a:ext cx="0" cy="0"/>
          <a:chOff x="0" y="0"/>
          <a:chExt cx="0" cy="0"/>
        </a:xfrm>
      </p:grpSpPr>
      <p:sp>
        <p:nvSpPr>
          <p:cNvPr id="8" name="Picture Placeholder 5"/>
          <p:cNvSpPr>
            <a:spLocks noGrp="1"/>
          </p:cNvSpPr>
          <p:nvPr>
            <p:ph type="pic" sz="quarter" idx="23"/>
          </p:nvPr>
        </p:nvSpPr>
        <p:spPr>
          <a:xfrm>
            <a:off x="1" y="0"/>
            <a:ext cx="2415146" cy="2857500"/>
          </a:xfrm>
        </p:spPr>
        <p:txBody>
          <a:bodyPr>
            <a:normAutofit/>
          </a:bodyPr>
          <a:lstStyle>
            <a:lvl1pPr marL="0" indent="0">
              <a:buNone/>
              <a:defRPr sz="1500">
                <a:solidFill>
                  <a:schemeClr val="bg1">
                    <a:lumMod val="65000"/>
                  </a:schemeClr>
                </a:solidFill>
              </a:defRPr>
            </a:lvl1pPr>
          </a:lstStyle>
          <a:p>
            <a:endParaRPr lang="en-US" dirty="0"/>
          </a:p>
        </p:txBody>
      </p:sp>
      <p:sp>
        <p:nvSpPr>
          <p:cNvPr id="9" name="Picture Placeholder 5"/>
          <p:cNvSpPr>
            <a:spLocks noGrp="1"/>
          </p:cNvSpPr>
          <p:nvPr>
            <p:ph type="pic" sz="quarter" idx="24"/>
          </p:nvPr>
        </p:nvSpPr>
        <p:spPr>
          <a:xfrm>
            <a:off x="2415147" y="0"/>
            <a:ext cx="6728854" cy="2857500"/>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a:xfrm>
            <a:off x="2535508" y="2933410"/>
            <a:ext cx="5985557" cy="994172"/>
          </a:xfrm>
        </p:spPr>
        <p:txBody>
          <a:body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
        <p:nvSpPr>
          <p:cNvPr id="4" name="Rectangle 3"/>
          <p:cNvSpPr/>
          <p:nvPr userDrawn="1"/>
        </p:nvSpPr>
        <p:spPr>
          <a:xfrm>
            <a:off x="1" y="2857501"/>
            <a:ext cx="2415146" cy="2285999"/>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
        <p:nvSpPr>
          <p:cNvPr id="9" name="Picture Placeholder 5"/>
          <p:cNvSpPr>
            <a:spLocks noGrp="1"/>
          </p:cNvSpPr>
          <p:nvPr>
            <p:ph type="pic" sz="quarter" idx="23"/>
          </p:nvPr>
        </p:nvSpPr>
        <p:spPr>
          <a:xfrm>
            <a:off x="0" y="1289787"/>
            <a:ext cx="3048001" cy="1590351"/>
          </a:xfrm>
        </p:spPr>
        <p:txBody>
          <a:bodyPr>
            <a:normAutofit/>
          </a:bodyPr>
          <a:lstStyle>
            <a:lvl1pPr marL="0" indent="0">
              <a:buNone/>
              <a:defRPr sz="1500">
                <a:solidFill>
                  <a:schemeClr val="bg1">
                    <a:lumMod val="65000"/>
                  </a:schemeClr>
                </a:solidFill>
              </a:defRPr>
            </a:lvl1pPr>
          </a:lstStyle>
          <a:p>
            <a:endParaRPr lang="en-US" dirty="0"/>
          </a:p>
        </p:txBody>
      </p:sp>
      <p:sp>
        <p:nvSpPr>
          <p:cNvPr id="10" name="Picture Placeholder 5"/>
          <p:cNvSpPr>
            <a:spLocks noGrp="1"/>
          </p:cNvSpPr>
          <p:nvPr>
            <p:ph type="pic" sz="quarter" idx="24"/>
          </p:nvPr>
        </p:nvSpPr>
        <p:spPr>
          <a:xfrm>
            <a:off x="6096000" y="2932191"/>
            <a:ext cx="3048001" cy="1590351"/>
          </a:xfrm>
        </p:spPr>
        <p:txBody>
          <a:bodyPr>
            <a:normAutofit/>
          </a:bodyPr>
          <a:lstStyle>
            <a:lvl1pPr marL="0" indent="0">
              <a:buNone/>
              <a:defRPr sz="1500">
                <a:solidFill>
                  <a:schemeClr val="bg1">
                    <a:lumMod val="65000"/>
                  </a:schemeClr>
                </a:solidFill>
              </a:defRPr>
            </a:lvl1pPr>
          </a:lstStyle>
          <a:p>
            <a:endParaRPr lang="en-US" dirty="0"/>
          </a:p>
        </p:txBody>
      </p:sp>
      <p:grpSp>
        <p:nvGrpSpPr>
          <p:cNvPr id="3" name="Group 2"/>
          <p:cNvGrpSpPr/>
          <p:nvPr userDrawn="1"/>
        </p:nvGrpSpPr>
        <p:grpSpPr>
          <a:xfrm>
            <a:off x="0" y="1289463"/>
            <a:ext cx="9144000" cy="3233079"/>
            <a:chOff x="0" y="1719284"/>
            <a:chExt cx="12192000" cy="4310772"/>
          </a:xfrm>
        </p:grpSpPr>
        <p:sp>
          <p:nvSpPr>
            <p:cNvPr id="4" name="Rectangle 3"/>
            <p:cNvSpPr/>
            <p:nvPr userDrawn="1"/>
          </p:nvSpPr>
          <p:spPr>
            <a:xfrm>
              <a:off x="4137166" y="1719284"/>
              <a:ext cx="8054834" cy="2120900"/>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8" name="Rectangle 7"/>
            <p:cNvSpPr/>
            <p:nvPr userDrawn="1"/>
          </p:nvSpPr>
          <p:spPr>
            <a:xfrm>
              <a:off x="0" y="3909156"/>
              <a:ext cx="8054834" cy="21209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gr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6_Title Only">
    <p:spTree>
      <p:nvGrpSpPr>
        <p:cNvPr id="1" name=""/>
        <p:cNvGrpSpPr/>
        <p:nvPr/>
      </p:nvGrpSpPr>
      <p:grpSpPr>
        <a:xfrm>
          <a:off x="0" y="0"/>
          <a:ext cx="0" cy="0"/>
          <a:chOff x="0" y="0"/>
          <a:chExt cx="0" cy="0"/>
        </a:xfrm>
      </p:grpSpPr>
      <p:sp>
        <p:nvSpPr>
          <p:cNvPr id="8" name="Picture Placeholder 5"/>
          <p:cNvSpPr>
            <a:spLocks noGrp="1"/>
          </p:cNvSpPr>
          <p:nvPr>
            <p:ph type="pic" sz="quarter" idx="23"/>
          </p:nvPr>
        </p:nvSpPr>
        <p:spPr>
          <a:xfrm>
            <a:off x="2741055" y="2150532"/>
            <a:ext cx="2114551" cy="2992968"/>
          </a:xfrm>
        </p:spPr>
        <p:txBody>
          <a:bodyPr>
            <a:normAutofit/>
          </a:bodyPr>
          <a:lstStyle>
            <a:lvl1pPr marL="0" indent="0">
              <a:buNone/>
              <a:defRPr sz="1500">
                <a:solidFill>
                  <a:schemeClr val="bg1">
                    <a:lumMod val="65000"/>
                  </a:schemeClr>
                </a:solidFill>
              </a:defRPr>
            </a:lvl1pPr>
          </a:lstStyle>
          <a:p>
            <a:endParaRPr lang="en-US" dirty="0"/>
          </a:p>
        </p:txBody>
      </p:sp>
      <p:sp>
        <p:nvSpPr>
          <p:cNvPr id="9" name="Picture Placeholder 5"/>
          <p:cNvSpPr>
            <a:spLocks noGrp="1"/>
          </p:cNvSpPr>
          <p:nvPr>
            <p:ph type="pic" sz="quarter" idx="24"/>
          </p:nvPr>
        </p:nvSpPr>
        <p:spPr>
          <a:xfrm>
            <a:off x="7029450" y="2371725"/>
            <a:ext cx="2114551" cy="2771775"/>
          </a:xfrm>
        </p:spPr>
        <p:txBody>
          <a:bodyPr>
            <a:normAutofit/>
          </a:bodyPr>
          <a:lstStyle>
            <a:lvl1pPr marL="0" indent="0">
              <a:buNone/>
              <a:defRPr sz="1500">
                <a:solidFill>
                  <a:schemeClr val="bg1">
                    <a:lumMod val="65000"/>
                  </a:schemeClr>
                </a:solidFill>
              </a:defRPr>
            </a:lvl1pPr>
          </a:lstStyle>
          <a:p>
            <a:endParaRPr lang="en-US" dirty="0"/>
          </a:p>
        </p:txBody>
      </p:sp>
      <p:sp>
        <p:nvSpPr>
          <p:cNvPr id="10" name="Picture Placeholder 5"/>
          <p:cNvSpPr>
            <a:spLocks noGrp="1"/>
          </p:cNvSpPr>
          <p:nvPr>
            <p:ph type="pic" sz="quarter" idx="25"/>
          </p:nvPr>
        </p:nvSpPr>
        <p:spPr>
          <a:xfrm>
            <a:off x="4855605" y="0"/>
            <a:ext cx="2173844" cy="5143500"/>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430702"/>
            <a:ext cx="7886700" cy="994172"/>
          </a:xfrm>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
        <p:nvSpPr>
          <p:cNvPr id="17" name="Picture Placeholder 5"/>
          <p:cNvSpPr>
            <a:spLocks noGrp="1"/>
          </p:cNvSpPr>
          <p:nvPr>
            <p:ph type="pic" sz="quarter" idx="23"/>
          </p:nvPr>
        </p:nvSpPr>
        <p:spPr>
          <a:xfrm>
            <a:off x="0" y="0"/>
            <a:ext cx="1523802" cy="1652585"/>
          </a:xfrm>
        </p:spPr>
        <p:txBody>
          <a:bodyPr>
            <a:normAutofit/>
          </a:bodyPr>
          <a:lstStyle>
            <a:lvl1pPr marL="0" indent="0">
              <a:buNone/>
              <a:defRPr sz="1500">
                <a:solidFill>
                  <a:schemeClr val="bg1">
                    <a:lumMod val="65000"/>
                  </a:schemeClr>
                </a:solidFill>
              </a:defRPr>
            </a:lvl1pPr>
          </a:lstStyle>
          <a:p>
            <a:endParaRPr lang="en-US" dirty="0"/>
          </a:p>
        </p:txBody>
      </p:sp>
      <p:sp>
        <p:nvSpPr>
          <p:cNvPr id="18" name="Picture Placeholder 5"/>
          <p:cNvSpPr>
            <a:spLocks noGrp="1"/>
          </p:cNvSpPr>
          <p:nvPr>
            <p:ph type="pic" sz="quarter" idx="24"/>
          </p:nvPr>
        </p:nvSpPr>
        <p:spPr>
          <a:xfrm>
            <a:off x="3048198" y="0"/>
            <a:ext cx="1523802" cy="1652585"/>
          </a:xfrm>
        </p:spPr>
        <p:txBody>
          <a:bodyPr>
            <a:normAutofit/>
          </a:bodyPr>
          <a:lstStyle>
            <a:lvl1pPr marL="0" indent="0">
              <a:buNone/>
              <a:defRPr sz="1500">
                <a:solidFill>
                  <a:schemeClr val="bg1">
                    <a:lumMod val="65000"/>
                  </a:schemeClr>
                </a:solidFill>
              </a:defRPr>
            </a:lvl1pPr>
          </a:lstStyle>
          <a:p>
            <a:endParaRPr lang="en-US" dirty="0"/>
          </a:p>
        </p:txBody>
      </p:sp>
      <p:sp>
        <p:nvSpPr>
          <p:cNvPr id="19" name="Picture Placeholder 5"/>
          <p:cNvSpPr>
            <a:spLocks noGrp="1"/>
          </p:cNvSpPr>
          <p:nvPr>
            <p:ph type="pic" sz="quarter" idx="25"/>
          </p:nvPr>
        </p:nvSpPr>
        <p:spPr>
          <a:xfrm>
            <a:off x="6096393" y="0"/>
            <a:ext cx="1523802" cy="1652585"/>
          </a:xfrm>
        </p:spPr>
        <p:txBody>
          <a:bodyPr>
            <a:normAutofit/>
          </a:bodyPr>
          <a:lstStyle>
            <a:lvl1pPr marL="0" indent="0">
              <a:buNone/>
              <a:defRPr sz="1500">
                <a:solidFill>
                  <a:schemeClr val="bg1">
                    <a:lumMod val="65000"/>
                  </a:schemeClr>
                </a:solidFill>
              </a:defRPr>
            </a:lvl1pPr>
          </a:lstStyle>
          <a:p>
            <a:endParaRPr lang="en-US" dirty="0"/>
          </a:p>
        </p:txBody>
      </p:sp>
      <p:sp>
        <p:nvSpPr>
          <p:cNvPr id="20" name="Picture Placeholder 5"/>
          <p:cNvSpPr>
            <a:spLocks noGrp="1"/>
          </p:cNvSpPr>
          <p:nvPr>
            <p:ph type="pic" sz="quarter" idx="26"/>
          </p:nvPr>
        </p:nvSpPr>
        <p:spPr>
          <a:xfrm>
            <a:off x="1524393" y="1652586"/>
            <a:ext cx="1523802" cy="1652585"/>
          </a:xfrm>
        </p:spPr>
        <p:txBody>
          <a:bodyPr>
            <a:normAutofit/>
          </a:bodyPr>
          <a:lstStyle>
            <a:lvl1pPr marL="0" indent="0">
              <a:buNone/>
              <a:defRPr sz="1500">
                <a:solidFill>
                  <a:schemeClr val="bg1">
                    <a:lumMod val="65000"/>
                  </a:schemeClr>
                </a:solidFill>
              </a:defRPr>
            </a:lvl1pPr>
          </a:lstStyle>
          <a:p>
            <a:endParaRPr lang="en-US" dirty="0"/>
          </a:p>
        </p:txBody>
      </p:sp>
      <p:sp>
        <p:nvSpPr>
          <p:cNvPr id="21" name="Picture Placeholder 5"/>
          <p:cNvSpPr>
            <a:spLocks noGrp="1"/>
          </p:cNvSpPr>
          <p:nvPr>
            <p:ph type="pic" sz="quarter" idx="27"/>
          </p:nvPr>
        </p:nvSpPr>
        <p:spPr>
          <a:xfrm>
            <a:off x="4561782" y="1652586"/>
            <a:ext cx="1523802" cy="1652585"/>
          </a:xfrm>
        </p:spPr>
        <p:txBody>
          <a:bodyPr>
            <a:normAutofit/>
          </a:bodyPr>
          <a:lstStyle>
            <a:lvl1pPr marL="0" indent="0">
              <a:buNone/>
              <a:defRPr sz="1500">
                <a:solidFill>
                  <a:schemeClr val="bg1">
                    <a:lumMod val="65000"/>
                  </a:schemeClr>
                </a:solidFill>
              </a:defRPr>
            </a:lvl1pPr>
          </a:lstStyle>
          <a:p>
            <a:endParaRPr lang="en-US" dirty="0"/>
          </a:p>
        </p:txBody>
      </p:sp>
      <p:sp>
        <p:nvSpPr>
          <p:cNvPr id="22" name="Picture Placeholder 5"/>
          <p:cNvSpPr>
            <a:spLocks noGrp="1"/>
          </p:cNvSpPr>
          <p:nvPr>
            <p:ph type="pic" sz="quarter" idx="28"/>
          </p:nvPr>
        </p:nvSpPr>
        <p:spPr>
          <a:xfrm>
            <a:off x="7620198" y="1652586"/>
            <a:ext cx="1523802" cy="1652585"/>
          </a:xfrm>
        </p:spPr>
        <p:txBody>
          <a:bodyPr>
            <a:normAutofit/>
          </a:bodyPr>
          <a:lstStyle>
            <a:lvl1pPr marL="0" indent="0">
              <a:buNone/>
              <a:defRPr sz="1500">
                <a:solidFill>
                  <a:schemeClr val="bg1">
                    <a:lumMod val="65000"/>
                  </a:schemeClr>
                </a:solidFill>
              </a:defRPr>
            </a:lvl1pPr>
          </a:lstStyle>
          <a:p>
            <a:endParaRPr lang="en-US" dirty="0"/>
          </a:p>
        </p:txBody>
      </p:sp>
      <p:grpSp>
        <p:nvGrpSpPr>
          <p:cNvPr id="3" name="Group 2"/>
          <p:cNvGrpSpPr/>
          <p:nvPr userDrawn="1"/>
        </p:nvGrpSpPr>
        <p:grpSpPr>
          <a:xfrm>
            <a:off x="-2998" y="0"/>
            <a:ext cx="9160802" cy="3305175"/>
            <a:chOff x="-3997" y="0"/>
            <a:chExt cx="12214402" cy="4406900"/>
          </a:xfrm>
        </p:grpSpPr>
        <p:sp>
          <p:nvSpPr>
            <p:cNvPr id="6" name="Rectangle 5"/>
            <p:cNvSpPr/>
            <p:nvPr userDrawn="1"/>
          </p:nvSpPr>
          <p:spPr>
            <a:xfrm>
              <a:off x="2031740" y="0"/>
              <a:ext cx="2035733" cy="2203451"/>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8" name="Rectangle 7"/>
            <p:cNvSpPr/>
            <p:nvPr userDrawn="1"/>
          </p:nvSpPr>
          <p:spPr>
            <a:xfrm>
              <a:off x="6103206" y="0"/>
              <a:ext cx="2035733" cy="2203451"/>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9" name="Rectangle 8"/>
            <p:cNvSpPr/>
            <p:nvPr userDrawn="1"/>
          </p:nvSpPr>
          <p:spPr>
            <a:xfrm>
              <a:off x="-3997" y="2203448"/>
              <a:ext cx="2035733" cy="220345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1" name="Rectangle 10"/>
            <p:cNvSpPr/>
            <p:nvPr userDrawn="1"/>
          </p:nvSpPr>
          <p:spPr>
            <a:xfrm>
              <a:off x="4067473" y="2203449"/>
              <a:ext cx="2035733" cy="220345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3"/>
            <p:cNvSpPr/>
            <p:nvPr userDrawn="1"/>
          </p:nvSpPr>
          <p:spPr>
            <a:xfrm>
              <a:off x="8138939" y="2203449"/>
              <a:ext cx="2035733" cy="220345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5" name="Rectangle 14"/>
            <p:cNvSpPr/>
            <p:nvPr userDrawn="1"/>
          </p:nvSpPr>
          <p:spPr>
            <a:xfrm>
              <a:off x="10174672" y="0"/>
              <a:ext cx="2035733" cy="2203451"/>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gr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2_Title Only">
    <p:spTree>
      <p:nvGrpSpPr>
        <p:cNvPr id="1" name=""/>
        <p:cNvGrpSpPr/>
        <p:nvPr/>
      </p:nvGrpSpPr>
      <p:grpSpPr>
        <a:xfrm>
          <a:off x="0" y="0"/>
          <a:ext cx="0" cy="0"/>
          <a:chOff x="0" y="0"/>
          <a:chExt cx="0" cy="0"/>
        </a:xfrm>
      </p:grpSpPr>
      <p:sp>
        <p:nvSpPr>
          <p:cNvPr id="6" name="Picture Placeholder 5"/>
          <p:cNvSpPr>
            <a:spLocks noGrp="1"/>
          </p:cNvSpPr>
          <p:nvPr>
            <p:ph type="pic" sz="quarter" idx="23"/>
          </p:nvPr>
        </p:nvSpPr>
        <p:spPr>
          <a:xfrm>
            <a:off x="0" y="0"/>
            <a:ext cx="9144000" cy="2819636"/>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_Title Only">
    <p:spTree>
      <p:nvGrpSpPr>
        <p:cNvPr id="1" name=""/>
        <p:cNvGrpSpPr/>
        <p:nvPr/>
      </p:nvGrpSpPr>
      <p:grpSpPr>
        <a:xfrm>
          <a:off x="0" y="0"/>
          <a:ext cx="0" cy="0"/>
          <a:chOff x="0" y="0"/>
          <a:chExt cx="0" cy="0"/>
        </a:xfrm>
      </p:grpSpPr>
      <p:sp>
        <p:nvSpPr>
          <p:cNvPr id="6" name="Picture Placeholder 5"/>
          <p:cNvSpPr>
            <a:spLocks noGrp="1"/>
          </p:cNvSpPr>
          <p:nvPr>
            <p:ph type="pic" sz="quarter" idx="23"/>
          </p:nvPr>
        </p:nvSpPr>
        <p:spPr>
          <a:xfrm>
            <a:off x="3877732" y="1287814"/>
            <a:ext cx="5266268" cy="1701140"/>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8_Title Only">
    <p:spTree>
      <p:nvGrpSpPr>
        <p:cNvPr id="1" name=""/>
        <p:cNvGrpSpPr/>
        <p:nvPr/>
      </p:nvGrpSpPr>
      <p:grpSpPr>
        <a:xfrm>
          <a:off x="0" y="0"/>
          <a:ext cx="0" cy="0"/>
          <a:chOff x="0" y="0"/>
          <a:chExt cx="0" cy="0"/>
        </a:xfrm>
      </p:grpSpPr>
      <p:sp>
        <p:nvSpPr>
          <p:cNvPr id="6" name="Picture Placeholder 5"/>
          <p:cNvSpPr>
            <a:spLocks noGrp="1"/>
          </p:cNvSpPr>
          <p:nvPr>
            <p:ph type="pic" sz="quarter" idx="23"/>
          </p:nvPr>
        </p:nvSpPr>
        <p:spPr>
          <a:xfrm>
            <a:off x="3600744" y="0"/>
            <a:ext cx="5543257" cy="5143500"/>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7_Title Only">
    <p:spTree>
      <p:nvGrpSpPr>
        <p:cNvPr id="1" name=""/>
        <p:cNvGrpSpPr/>
        <p:nvPr/>
      </p:nvGrpSpPr>
      <p:grpSpPr>
        <a:xfrm>
          <a:off x="0" y="0"/>
          <a:ext cx="0" cy="0"/>
          <a:chOff x="0" y="0"/>
          <a:chExt cx="0" cy="0"/>
        </a:xfrm>
      </p:grpSpPr>
      <p:sp>
        <p:nvSpPr>
          <p:cNvPr id="42" name="Picture Placeholder 5"/>
          <p:cNvSpPr>
            <a:spLocks noGrp="1"/>
          </p:cNvSpPr>
          <p:nvPr>
            <p:ph type="pic" sz="quarter" idx="23"/>
          </p:nvPr>
        </p:nvSpPr>
        <p:spPr>
          <a:xfrm>
            <a:off x="6236934" y="1298111"/>
            <a:ext cx="1605262" cy="1687956"/>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pPr algn="ctr"/>
            <a:fld id="{75F62417-4A12-46BB-B530-A96D3E44AFD3}" type="slidenum">
              <a:rPr lang="en-US" smtClean="0"/>
            </a:fld>
            <a:endParaRPr lang="en-US" dirty="0"/>
          </a:p>
        </p:txBody>
      </p:sp>
    </p:spTree>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6_Title Only">
    <p:spTree>
      <p:nvGrpSpPr>
        <p:cNvPr id="1" name=""/>
        <p:cNvGrpSpPr/>
        <p:nvPr/>
      </p:nvGrpSpPr>
      <p:grpSpPr>
        <a:xfrm>
          <a:off x="0" y="0"/>
          <a:ext cx="0" cy="0"/>
          <a:chOff x="0" y="0"/>
          <a:chExt cx="0" cy="0"/>
        </a:xfrm>
      </p:grpSpPr>
      <p:sp>
        <p:nvSpPr>
          <p:cNvPr id="6" name="Picture Placeholder 5"/>
          <p:cNvSpPr>
            <a:spLocks noGrp="1"/>
          </p:cNvSpPr>
          <p:nvPr>
            <p:ph type="pic" sz="quarter" idx="23"/>
          </p:nvPr>
        </p:nvSpPr>
        <p:spPr>
          <a:xfrm>
            <a:off x="1165993" y="1547241"/>
            <a:ext cx="1439150" cy="1513286"/>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5_Title Only">
    <p:spTree>
      <p:nvGrpSpPr>
        <p:cNvPr id="1" name=""/>
        <p:cNvGrpSpPr/>
        <p:nvPr/>
      </p:nvGrpSpPr>
      <p:grpSpPr>
        <a:xfrm>
          <a:off x="0" y="0"/>
          <a:ext cx="0" cy="0"/>
          <a:chOff x="0" y="0"/>
          <a:chExt cx="0" cy="0"/>
        </a:xfrm>
      </p:grpSpPr>
      <p:sp>
        <p:nvSpPr>
          <p:cNvPr id="7" name="Picture Placeholder 6"/>
          <p:cNvSpPr>
            <a:spLocks noGrp="1"/>
          </p:cNvSpPr>
          <p:nvPr>
            <p:ph type="pic" sz="quarter" idx="24"/>
          </p:nvPr>
        </p:nvSpPr>
        <p:spPr>
          <a:xfrm>
            <a:off x="6640072" y="769109"/>
            <a:ext cx="1680959" cy="3574327"/>
          </a:xfrm>
          <a:custGeom>
            <a:avLst/>
            <a:gdLst>
              <a:gd name="connsiteX0" fmla="*/ 217068 w 2241279"/>
              <a:gd name="connsiteY0" fmla="*/ 0 h 4765769"/>
              <a:gd name="connsiteX1" fmla="*/ 2024211 w 2241279"/>
              <a:gd name="connsiteY1" fmla="*/ 0 h 4765769"/>
              <a:gd name="connsiteX2" fmla="*/ 2241279 w 2241279"/>
              <a:gd name="connsiteY2" fmla="*/ 217068 h 4765769"/>
              <a:gd name="connsiteX3" fmla="*/ 2241279 w 2241279"/>
              <a:gd name="connsiteY3" fmla="*/ 4548701 h 4765769"/>
              <a:gd name="connsiteX4" fmla="*/ 2024211 w 2241279"/>
              <a:gd name="connsiteY4" fmla="*/ 4765769 h 4765769"/>
              <a:gd name="connsiteX5" fmla="*/ 217068 w 2241279"/>
              <a:gd name="connsiteY5" fmla="*/ 4765769 h 4765769"/>
              <a:gd name="connsiteX6" fmla="*/ 0 w 2241279"/>
              <a:gd name="connsiteY6" fmla="*/ 4548701 h 4765769"/>
              <a:gd name="connsiteX7" fmla="*/ 0 w 2241279"/>
              <a:gd name="connsiteY7" fmla="*/ 217068 h 4765769"/>
              <a:gd name="connsiteX8" fmla="*/ 217068 w 2241279"/>
              <a:gd name="connsiteY8" fmla="*/ 0 h 476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1279" h="4765769">
                <a:moveTo>
                  <a:pt x="217068" y="0"/>
                </a:moveTo>
                <a:lnTo>
                  <a:pt x="2024211" y="0"/>
                </a:lnTo>
                <a:cubicBezTo>
                  <a:pt x="2144094" y="0"/>
                  <a:pt x="2241279" y="97185"/>
                  <a:pt x="2241279" y="217068"/>
                </a:cubicBezTo>
                <a:lnTo>
                  <a:pt x="2241279" y="4548701"/>
                </a:lnTo>
                <a:cubicBezTo>
                  <a:pt x="2241279" y="4668584"/>
                  <a:pt x="2144094" y="4765769"/>
                  <a:pt x="2024211" y="4765769"/>
                </a:cubicBezTo>
                <a:lnTo>
                  <a:pt x="217068" y="4765769"/>
                </a:lnTo>
                <a:cubicBezTo>
                  <a:pt x="97185" y="4765769"/>
                  <a:pt x="0" y="4668584"/>
                  <a:pt x="0" y="4548701"/>
                </a:cubicBezTo>
                <a:lnTo>
                  <a:pt x="0" y="217068"/>
                </a:lnTo>
                <a:cubicBezTo>
                  <a:pt x="0" y="97185"/>
                  <a:pt x="97185" y="0"/>
                  <a:pt x="217068" y="0"/>
                </a:cubicBezTo>
                <a:close/>
              </a:path>
            </a:pathLst>
          </a:custGeom>
        </p:spPr>
        <p:txBody>
          <a:bodyPr wrap="square">
            <a:no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4_Title Only">
    <p:spTree>
      <p:nvGrpSpPr>
        <p:cNvPr id="1" name=""/>
        <p:cNvGrpSpPr/>
        <p:nvPr/>
      </p:nvGrpSpPr>
      <p:grpSpPr>
        <a:xfrm>
          <a:off x="0" y="0"/>
          <a:ext cx="0" cy="0"/>
          <a:chOff x="0" y="0"/>
          <a:chExt cx="0" cy="0"/>
        </a:xfrm>
      </p:grpSpPr>
      <p:sp>
        <p:nvSpPr>
          <p:cNvPr id="6" name="Picture Placeholder 5"/>
          <p:cNvSpPr>
            <a:spLocks noGrp="1"/>
          </p:cNvSpPr>
          <p:nvPr>
            <p:ph type="pic" sz="quarter" idx="23"/>
          </p:nvPr>
        </p:nvSpPr>
        <p:spPr>
          <a:xfrm>
            <a:off x="0" y="2234991"/>
            <a:ext cx="9144000" cy="2329945"/>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Title Only">
    <p:spTree>
      <p:nvGrpSpPr>
        <p:cNvPr id="1" name=""/>
        <p:cNvGrpSpPr/>
        <p:nvPr/>
      </p:nvGrpSpPr>
      <p:grpSpPr>
        <a:xfrm>
          <a:off x="0" y="0"/>
          <a:ext cx="0" cy="0"/>
          <a:chOff x="0" y="0"/>
          <a:chExt cx="0" cy="0"/>
        </a:xfrm>
      </p:grpSpPr>
      <p:sp>
        <p:nvSpPr>
          <p:cNvPr id="7" name="Picture Placeholder 5"/>
          <p:cNvSpPr>
            <a:spLocks noGrp="1"/>
          </p:cNvSpPr>
          <p:nvPr>
            <p:ph type="pic" sz="quarter" idx="23"/>
          </p:nvPr>
        </p:nvSpPr>
        <p:spPr>
          <a:xfrm>
            <a:off x="719019" y="1268016"/>
            <a:ext cx="5482400" cy="2008585"/>
          </a:xfrm>
        </p:spPr>
        <p:txBody>
          <a:bodyPr>
            <a:normAutofit/>
          </a:bodyPr>
          <a:lstStyle>
            <a:lvl1pPr marL="0" indent="0">
              <a:buNone/>
              <a:defRPr sz="1500">
                <a:solidFill>
                  <a:schemeClr val="bg1">
                    <a:lumMod val="65000"/>
                  </a:schemeClr>
                </a:solidFill>
              </a:defRPr>
            </a:lvl1pPr>
          </a:lstStyle>
          <a:p>
            <a:endParaRPr lang="en-US" dirty="0"/>
          </a:p>
        </p:txBody>
      </p:sp>
      <p:sp>
        <p:nvSpPr>
          <p:cNvPr id="8" name="Picture Placeholder 5"/>
          <p:cNvSpPr>
            <a:spLocks noGrp="1"/>
          </p:cNvSpPr>
          <p:nvPr>
            <p:ph type="pic" sz="quarter" idx="24"/>
          </p:nvPr>
        </p:nvSpPr>
        <p:spPr>
          <a:xfrm>
            <a:off x="6238455" y="1268016"/>
            <a:ext cx="2785800" cy="2008585"/>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
        <p:nvSpPr>
          <p:cNvPr id="13" name="Picture Placeholder 5"/>
          <p:cNvSpPr>
            <a:spLocks noGrp="1"/>
          </p:cNvSpPr>
          <p:nvPr>
            <p:ph type="pic" sz="quarter" idx="22"/>
          </p:nvPr>
        </p:nvSpPr>
        <p:spPr>
          <a:xfrm>
            <a:off x="2286001" y="1301512"/>
            <a:ext cx="2285999" cy="1610861"/>
          </a:xfrm>
        </p:spPr>
        <p:txBody>
          <a:bodyPr>
            <a:normAutofit/>
          </a:bodyPr>
          <a:lstStyle>
            <a:lvl1pPr marL="0" indent="0">
              <a:buNone/>
              <a:defRPr sz="1500">
                <a:solidFill>
                  <a:schemeClr val="bg1">
                    <a:lumMod val="65000"/>
                  </a:schemeClr>
                </a:solidFill>
              </a:defRPr>
            </a:lvl1pPr>
          </a:lstStyle>
          <a:p>
            <a:endParaRPr lang="en-US" dirty="0"/>
          </a:p>
        </p:txBody>
      </p:sp>
      <p:sp>
        <p:nvSpPr>
          <p:cNvPr id="14" name="Picture Placeholder 5"/>
          <p:cNvSpPr>
            <a:spLocks noGrp="1"/>
          </p:cNvSpPr>
          <p:nvPr>
            <p:ph type="pic" sz="quarter" idx="23"/>
          </p:nvPr>
        </p:nvSpPr>
        <p:spPr>
          <a:xfrm>
            <a:off x="6857999" y="1301512"/>
            <a:ext cx="2285999" cy="1610861"/>
          </a:xfrm>
        </p:spPr>
        <p:txBody>
          <a:bodyPr>
            <a:normAutofit/>
          </a:bodyPr>
          <a:lstStyle>
            <a:lvl1pPr marL="0" indent="0">
              <a:buNone/>
              <a:defRPr sz="1500">
                <a:solidFill>
                  <a:schemeClr val="bg1">
                    <a:lumMod val="65000"/>
                  </a:schemeClr>
                </a:solidFill>
              </a:defRPr>
            </a:lvl1pPr>
          </a:lstStyle>
          <a:p>
            <a:endParaRPr lang="en-US" dirty="0"/>
          </a:p>
        </p:txBody>
      </p:sp>
      <p:sp>
        <p:nvSpPr>
          <p:cNvPr id="15" name="Picture Placeholder 5"/>
          <p:cNvSpPr>
            <a:spLocks noGrp="1"/>
          </p:cNvSpPr>
          <p:nvPr>
            <p:ph type="pic" sz="quarter" idx="24"/>
          </p:nvPr>
        </p:nvSpPr>
        <p:spPr>
          <a:xfrm>
            <a:off x="0" y="2926819"/>
            <a:ext cx="2285999" cy="1610861"/>
          </a:xfrm>
        </p:spPr>
        <p:txBody>
          <a:bodyPr>
            <a:normAutofit/>
          </a:bodyPr>
          <a:lstStyle>
            <a:lvl1pPr marL="0" indent="0">
              <a:buNone/>
              <a:defRPr sz="1500">
                <a:solidFill>
                  <a:schemeClr val="bg1">
                    <a:lumMod val="65000"/>
                  </a:schemeClr>
                </a:solidFill>
              </a:defRPr>
            </a:lvl1pPr>
          </a:lstStyle>
          <a:p>
            <a:endParaRPr lang="en-US" dirty="0"/>
          </a:p>
        </p:txBody>
      </p:sp>
      <p:sp>
        <p:nvSpPr>
          <p:cNvPr id="16" name="Picture Placeholder 5"/>
          <p:cNvSpPr>
            <a:spLocks noGrp="1"/>
          </p:cNvSpPr>
          <p:nvPr>
            <p:ph type="pic" sz="quarter" idx="25"/>
          </p:nvPr>
        </p:nvSpPr>
        <p:spPr>
          <a:xfrm>
            <a:off x="4572001" y="2926819"/>
            <a:ext cx="2285999" cy="1610861"/>
          </a:xfrm>
        </p:spPr>
        <p:txBody>
          <a:bodyPr>
            <a:normAutofit/>
          </a:bodyPr>
          <a:lstStyle>
            <a:lvl1pPr marL="0" indent="0">
              <a:buNone/>
              <a:defRPr sz="1500">
                <a:solidFill>
                  <a:schemeClr val="bg1">
                    <a:lumMod val="65000"/>
                  </a:schemeClr>
                </a:solidFill>
              </a:defRPr>
            </a:lvl1pPr>
          </a:lstStyle>
          <a:p>
            <a:endParaRPr lang="en-US" dirty="0"/>
          </a:p>
        </p:txBody>
      </p:sp>
      <p:grpSp>
        <p:nvGrpSpPr>
          <p:cNvPr id="3" name="Group 2"/>
          <p:cNvGrpSpPr/>
          <p:nvPr userDrawn="1"/>
        </p:nvGrpSpPr>
        <p:grpSpPr>
          <a:xfrm>
            <a:off x="1" y="1301512"/>
            <a:ext cx="9144000" cy="3221723"/>
            <a:chOff x="1" y="1735349"/>
            <a:chExt cx="12192000" cy="4295630"/>
          </a:xfrm>
        </p:grpSpPr>
        <p:sp>
          <p:nvSpPr>
            <p:cNvPr id="4" name="Rectangle 3"/>
            <p:cNvSpPr/>
            <p:nvPr userDrawn="1"/>
          </p:nvSpPr>
          <p:spPr>
            <a:xfrm>
              <a:off x="6096000" y="1735349"/>
              <a:ext cx="3048000" cy="21478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8" name="Rectangle 7"/>
            <p:cNvSpPr/>
            <p:nvPr userDrawn="1"/>
          </p:nvSpPr>
          <p:spPr>
            <a:xfrm>
              <a:off x="9144001" y="3883164"/>
              <a:ext cx="3048000" cy="21478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0" name="Rectangle 9"/>
            <p:cNvSpPr/>
            <p:nvPr userDrawn="1"/>
          </p:nvSpPr>
          <p:spPr>
            <a:xfrm>
              <a:off x="3048001" y="3883164"/>
              <a:ext cx="3048000" cy="21478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1" name="Rectangle 10"/>
            <p:cNvSpPr/>
            <p:nvPr userDrawn="1"/>
          </p:nvSpPr>
          <p:spPr>
            <a:xfrm>
              <a:off x="1" y="1735349"/>
              <a:ext cx="3048000" cy="21478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gr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4" name="Picture Placeholder 5"/>
          <p:cNvSpPr>
            <a:spLocks noGrp="1"/>
          </p:cNvSpPr>
          <p:nvPr>
            <p:ph type="pic" sz="quarter" idx="22"/>
          </p:nvPr>
        </p:nvSpPr>
        <p:spPr>
          <a:xfrm>
            <a:off x="211653" y="1390660"/>
            <a:ext cx="2095438" cy="982886"/>
          </a:xfrm>
        </p:spPr>
        <p:txBody>
          <a:bodyPr>
            <a:normAutofit/>
          </a:bodyPr>
          <a:lstStyle>
            <a:lvl1pPr marL="0" indent="0">
              <a:buNone/>
              <a:defRPr sz="1500">
                <a:solidFill>
                  <a:schemeClr val="bg1">
                    <a:lumMod val="65000"/>
                  </a:schemeClr>
                </a:solidFill>
              </a:defRPr>
            </a:lvl1pPr>
          </a:lstStyle>
          <a:p>
            <a:endParaRPr lang="en-US" dirty="0"/>
          </a:p>
        </p:txBody>
      </p:sp>
      <p:sp>
        <p:nvSpPr>
          <p:cNvPr id="25" name="Picture Placeholder 5"/>
          <p:cNvSpPr>
            <a:spLocks noGrp="1"/>
          </p:cNvSpPr>
          <p:nvPr>
            <p:ph type="pic" sz="quarter" idx="23"/>
          </p:nvPr>
        </p:nvSpPr>
        <p:spPr>
          <a:xfrm>
            <a:off x="2422371" y="1390660"/>
            <a:ext cx="2095438" cy="982886"/>
          </a:xfrm>
        </p:spPr>
        <p:txBody>
          <a:bodyPr>
            <a:normAutofit/>
          </a:bodyPr>
          <a:lstStyle>
            <a:lvl1pPr marL="0" indent="0">
              <a:buNone/>
              <a:defRPr sz="1500">
                <a:solidFill>
                  <a:schemeClr val="bg1">
                    <a:lumMod val="65000"/>
                  </a:schemeClr>
                </a:solidFill>
              </a:defRPr>
            </a:lvl1pPr>
          </a:lstStyle>
          <a:p>
            <a:endParaRPr lang="en-US" dirty="0"/>
          </a:p>
        </p:txBody>
      </p:sp>
      <p:sp>
        <p:nvSpPr>
          <p:cNvPr id="4" name="Rectangle 3"/>
          <p:cNvSpPr/>
          <p:nvPr userDrawn="1"/>
        </p:nvSpPr>
        <p:spPr>
          <a:xfrm>
            <a:off x="212819" y="2467570"/>
            <a:ext cx="6500628" cy="98288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211652" y="2461927"/>
            <a:ext cx="7886700" cy="994172"/>
          </a:xfrm>
        </p:spPr>
        <p:txBody>
          <a:bodyPr/>
          <a:lstStyle>
            <a:lvl1pPr>
              <a:defRPr>
                <a:solidFill>
                  <a:schemeClr val="bg1"/>
                </a:solidFill>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
        <p:nvSpPr>
          <p:cNvPr id="16" name="Picture Placeholder 5"/>
          <p:cNvSpPr>
            <a:spLocks noGrp="1"/>
          </p:cNvSpPr>
          <p:nvPr>
            <p:ph type="pic" sz="quarter" idx="14"/>
          </p:nvPr>
        </p:nvSpPr>
        <p:spPr>
          <a:xfrm>
            <a:off x="211653" y="294871"/>
            <a:ext cx="2095438" cy="982886"/>
          </a:xfrm>
        </p:spPr>
        <p:txBody>
          <a:bodyPr>
            <a:normAutofit/>
          </a:bodyPr>
          <a:lstStyle>
            <a:lvl1pPr marL="0" indent="0">
              <a:buNone/>
              <a:defRPr sz="1500">
                <a:solidFill>
                  <a:schemeClr val="bg1">
                    <a:lumMod val="65000"/>
                  </a:schemeClr>
                </a:solidFill>
              </a:defRPr>
            </a:lvl1pPr>
          </a:lstStyle>
          <a:p>
            <a:endParaRPr lang="en-US" dirty="0"/>
          </a:p>
        </p:txBody>
      </p:sp>
      <p:sp>
        <p:nvSpPr>
          <p:cNvPr id="17" name="Picture Placeholder 5"/>
          <p:cNvSpPr>
            <a:spLocks noGrp="1"/>
          </p:cNvSpPr>
          <p:nvPr>
            <p:ph type="pic" sz="quarter" idx="15"/>
          </p:nvPr>
        </p:nvSpPr>
        <p:spPr>
          <a:xfrm>
            <a:off x="2422371" y="294871"/>
            <a:ext cx="2095438" cy="982886"/>
          </a:xfrm>
        </p:spPr>
        <p:txBody>
          <a:bodyPr>
            <a:normAutofit/>
          </a:bodyPr>
          <a:lstStyle>
            <a:lvl1pPr marL="0" indent="0">
              <a:buNone/>
              <a:defRPr sz="1500">
                <a:solidFill>
                  <a:schemeClr val="bg1">
                    <a:lumMod val="65000"/>
                  </a:schemeClr>
                </a:solidFill>
              </a:defRPr>
            </a:lvl1pPr>
          </a:lstStyle>
          <a:p>
            <a:endParaRPr lang="en-US" dirty="0"/>
          </a:p>
        </p:txBody>
      </p:sp>
      <p:sp>
        <p:nvSpPr>
          <p:cNvPr id="18" name="Picture Placeholder 5"/>
          <p:cNvSpPr>
            <a:spLocks noGrp="1"/>
          </p:cNvSpPr>
          <p:nvPr>
            <p:ph type="pic" sz="quarter" idx="16"/>
          </p:nvPr>
        </p:nvSpPr>
        <p:spPr>
          <a:xfrm>
            <a:off x="4595958" y="294871"/>
            <a:ext cx="2095438" cy="982886"/>
          </a:xfrm>
        </p:spPr>
        <p:txBody>
          <a:bodyPr>
            <a:normAutofit/>
          </a:bodyPr>
          <a:lstStyle>
            <a:lvl1pPr marL="0" indent="0">
              <a:buNone/>
              <a:defRPr sz="1500">
                <a:solidFill>
                  <a:schemeClr val="bg1">
                    <a:lumMod val="65000"/>
                  </a:schemeClr>
                </a:solidFill>
              </a:defRPr>
            </a:lvl1pPr>
          </a:lstStyle>
          <a:p>
            <a:endParaRPr lang="en-US" dirty="0"/>
          </a:p>
        </p:txBody>
      </p:sp>
      <p:sp>
        <p:nvSpPr>
          <p:cNvPr id="19" name="Picture Placeholder 5"/>
          <p:cNvSpPr>
            <a:spLocks noGrp="1"/>
          </p:cNvSpPr>
          <p:nvPr>
            <p:ph type="pic" sz="quarter" idx="17"/>
          </p:nvPr>
        </p:nvSpPr>
        <p:spPr>
          <a:xfrm>
            <a:off x="6806676" y="294871"/>
            <a:ext cx="2095438" cy="982886"/>
          </a:xfrm>
        </p:spPr>
        <p:txBody>
          <a:bodyPr>
            <a:normAutofit/>
          </a:bodyPr>
          <a:lstStyle>
            <a:lvl1pPr marL="0" indent="0">
              <a:buNone/>
              <a:defRPr sz="1500">
                <a:solidFill>
                  <a:schemeClr val="bg1">
                    <a:lumMod val="65000"/>
                  </a:schemeClr>
                </a:solidFill>
              </a:defRPr>
            </a:lvl1pPr>
          </a:lstStyle>
          <a:p>
            <a:endParaRPr lang="en-US" dirty="0"/>
          </a:p>
        </p:txBody>
      </p:sp>
      <p:sp>
        <p:nvSpPr>
          <p:cNvPr id="20" name="Picture Placeholder 5"/>
          <p:cNvSpPr>
            <a:spLocks noGrp="1"/>
          </p:cNvSpPr>
          <p:nvPr>
            <p:ph type="pic" sz="quarter" idx="18"/>
          </p:nvPr>
        </p:nvSpPr>
        <p:spPr>
          <a:xfrm>
            <a:off x="211653" y="3551616"/>
            <a:ext cx="2095438" cy="982886"/>
          </a:xfrm>
        </p:spPr>
        <p:txBody>
          <a:bodyPr>
            <a:normAutofit/>
          </a:bodyPr>
          <a:lstStyle>
            <a:lvl1pPr marL="0" indent="0">
              <a:buNone/>
              <a:defRPr sz="1500">
                <a:solidFill>
                  <a:schemeClr val="bg1">
                    <a:lumMod val="65000"/>
                  </a:schemeClr>
                </a:solidFill>
              </a:defRPr>
            </a:lvl1pPr>
          </a:lstStyle>
          <a:p>
            <a:endParaRPr lang="en-US" dirty="0"/>
          </a:p>
        </p:txBody>
      </p:sp>
      <p:sp>
        <p:nvSpPr>
          <p:cNvPr id="21" name="Picture Placeholder 5"/>
          <p:cNvSpPr>
            <a:spLocks noGrp="1"/>
          </p:cNvSpPr>
          <p:nvPr>
            <p:ph type="pic" sz="quarter" idx="19"/>
          </p:nvPr>
        </p:nvSpPr>
        <p:spPr>
          <a:xfrm>
            <a:off x="2422371" y="3551616"/>
            <a:ext cx="2095438" cy="982886"/>
          </a:xfrm>
        </p:spPr>
        <p:txBody>
          <a:bodyPr>
            <a:normAutofit/>
          </a:bodyPr>
          <a:lstStyle>
            <a:lvl1pPr marL="0" indent="0">
              <a:buNone/>
              <a:defRPr sz="1500">
                <a:solidFill>
                  <a:schemeClr val="bg1">
                    <a:lumMod val="65000"/>
                  </a:schemeClr>
                </a:solidFill>
              </a:defRPr>
            </a:lvl1pPr>
          </a:lstStyle>
          <a:p>
            <a:endParaRPr lang="en-US" dirty="0"/>
          </a:p>
        </p:txBody>
      </p:sp>
      <p:sp>
        <p:nvSpPr>
          <p:cNvPr id="22" name="Picture Placeholder 5"/>
          <p:cNvSpPr>
            <a:spLocks noGrp="1"/>
          </p:cNvSpPr>
          <p:nvPr>
            <p:ph type="pic" sz="quarter" idx="20"/>
          </p:nvPr>
        </p:nvSpPr>
        <p:spPr>
          <a:xfrm>
            <a:off x="4595958" y="3551616"/>
            <a:ext cx="2095438" cy="982886"/>
          </a:xfrm>
        </p:spPr>
        <p:txBody>
          <a:bodyPr>
            <a:normAutofit/>
          </a:bodyPr>
          <a:lstStyle>
            <a:lvl1pPr marL="0" indent="0">
              <a:buNone/>
              <a:defRPr sz="1500">
                <a:solidFill>
                  <a:schemeClr val="bg1">
                    <a:lumMod val="65000"/>
                  </a:schemeClr>
                </a:solidFill>
              </a:defRPr>
            </a:lvl1pPr>
          </a:lstStyle>
          <a:p>
            <a:endParaRPr lang="en-US" dirty="0"/>
          </a:p>
        </p:txBody>
      </p:sp>
      <p:sp>
        <p:nvSpPr>
          <p:cNvPr id="23" name="Picture Placeholder 5"/>
          <p:cNvSpPr>
            <a:spLocks noGrp="1"/>
          </p:cNvSpPr>
          <p:nvPr>
            <p:ph type="pic" sz="quarter" idx="21"/>
          </p:nvPr>
        </p:nvSpPr>
        <p:spPr>
          <a:xfrm>
            <a:off x="6806676" y="3551616"/>
            <a:ext cx="2095438" cy="982886"/>
          </a:xfrm>
        </p:spPr>
        <p:txBody>
          <a:bodyPr>
            <a:normAutofit/>
          </a:bodyPr>
          <a:lstStyle>
            <a:lvl1pPr marL="0" indent="0">
              <a:buNone/>
              <a:defRPr sz="1500">
                <a:solidFill>
                  <a:schemeClr val="bg1">
                    <a:lumMod val="65000"/>
                  </a:schemeClr>
                </a:solidFill>
              </a:defRPr>
            </a:lvl1pPr>
          </a:lstStyle>
          <a:p>
            <a:endParaRPr 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6_Title Only">
    <p:spTree>
      <p:nvGrpSpPr>
        <p:cNvPr id="1" name=""/>
        <p:cNvGrpSpPr/>
        <p:nvPr/>
      </p:nvGrpSpPr>
      <p:grpSpPr>
        <a:xfrm>
          <a:off x="0" y="0"/>
          <a:ext cx="0" cy="0"/>
          <a:chOff x="0" y="0"/>
          <a:chExt cx="0" cy="0"/>
        </a:xfrm>
      </p:grpSpPr>
      <p:sp>
        <p:nvSpPr>
          <p:cNvPr id="9" name="Picture Placeholder 5"/>
          <p:cNvSpPr>
            <a:spLocks noGrp="1"/>
          </p:cNvSpPr>
          <p:nvPr>
            <p:ph type="pic" sz="quarter" idx="14"/>
          </p:nvPr>
        </p:nvSpPr>
        <p:spPr>
          <a:xfrm>
            <a:off x="0" y="1441059"/>
            <a:ext cx="3026228" cy="1549565"/>
          </a:xfrm>
        </p:spPr>
        <p:txBody>
          <a:bodyPr>
            <a:normAutofit/>
          </a:bodyPr>
          <a:lstStyle>
            <a:lvl1pPr marL="0" indent="0">
              <a:buNone/>
              <a:defRPr sz="1500">
                <a:solidFill>
                  <a:schemeClr val="bg1">
                    <a:lumMod val="65000"/>
                  </a:schemeClr>
                </a:solidFill>
              </a:defRPr>
            </a:lvl1pPr>
          </a:lstStyle>
          <a:p>
            <a:endParaRPr lang="en-US" dirty="0"/>
          </a:p>
        </p:txBody>
      </p:sp>
      <p:sp>
        <p:nvSpPr>
          <p:cNvPr id="10" name="Picture Placeholder 5"/>
          <p:cNvSpPr>
            <a:spLocks noGrp="1"/>
          </p:cNvSpPr>
          <p:nvPr>
            <p:ph type="pic" sz="quarter" idx="15"/>
          </p:nvPr>
        </p:nvSpPr>
        <p:spPr>
          <a:xfrm>
            <a:off x="6117770" y="2990623"/>
            <a:ext cx="3026228" cy="1549565"/>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
        <p:nvSpPr>
          <p:cNvPr id="7" name="Rectangle 6"/>
          <p:cNvSpPr/>
          <p:nvPr userDrawn="1"/>
        </p:nvSpPr>
        <p:spPr>
          <a:xfrm>
            <a:off x="3026229" y="1441058"/>
            <a:ext cx="2374447" cy="15524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8" name="Rectangle 7"/>
          <p:cNvSpPr/>
          <p:nvPr userDrawn="1"/>
        </p:nvSpPr>
        <p:spPr>
          <a:xfrm>
            <a:off x="3943350" y="2990624"/>
            <a:ext cx="2174422" cy="15813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11" name="Picture Placeholder 5"/>
          <p:cNvSpPr>
            <a:spLocks noGrp="1"/>
          </p:cNvSpPr>
          <p:nvPr>
            <p:ph type="pic" sz="quarter" idx="14"/>
          </p:nvPr>
        </p:nvSpPr>
        <p:spPr>
          <a:xfrm>
            <a:off x="3239281" y="1"/>
            <a:ext cx="1900337" cy="2374595"/>
          </a:xfrm>
        </p:spPr>
        <p:txBody>
          <a:bodyPr>
            <a:normAutofit/>
          </a:bodyPr>
          <a:lstStyle>
            <a:lvl1pPr marL="0" indent="0">
              <a:buNone/>
              <a:defRPr sz="1500">
                <a:solidFill>
                  <a:schemeClr val="bg1">
                    <a:lumMod val="65000"/>
                  </a:schemeClr>
                </a:solidFill>
              </a:defRPr>
            </a:lvl1pPr>
          </a:lstStyle>
          <a:p>
            <a:endParaRPr lang="en-US" dirty="0"/>
          </a:p>
        </p:txBody>
      </p:sp>
      <p:sp>
        <p:nvSpPr>
          <p:cNvPr id="12" name="Picture Placeholder 5"/>
          <p:cNvSpPr>
            <a:spLocks noGrp="1"/>
          </p:cNvSpPr>
          <p:nvPr>
            <p:ph type="pic" sz="quarter" idx="15"/>
          </p:nvPr>
        </p:nvSpPr>
        <p:spPr>
          <a:xfrm>
            <a:off x="7092823" y="1"/>
            <a:ext cx="1953206" cy="2374595"/>
          </a:xfrm>
        </p:spPr>
        <p:txBody>
          <a:bodyPr>
            <a:normAutofit/>
          </a:bodyPr>
          <a:lstStyle>
            <a:lvl1pPr marL="0" indent="0">
              <a:buNone/>
              <a:defRPr sz="1500">
                <a:solidFill>
                  <a:schemeClr val="bg1">
                    <a:lumMod val="65000"/>
                  </a:schemeClr>
                </a:solidFill>
              </a:defRPr>
            </a:lvl1pPr>
          </a:lstStyle>
          <a:p>
            <a:endParaRPr lang="en-US" dirty="0"/>
          </a:p>
        </p:txBody>
      </p:sp>
      <p:sp>
        <p:nvSpPr>
          <p:cNvPr id="13" name="Picture Placeholder 5"/>
          <p:cNvSpPr>
            <a:spLocks noGrp="1"/>
          </p:cNvSpPr>
          <p:nvPr>
            <p:ph type="pic" sz="quarter" idx="16"/>
          </p:nvPr>
        </p:nvSpPr>
        <p:spPr>
          <a:xfrm>
            <a:off x="5192486" y="2417188"/>
            <a:ext cx="1900337" cy="1054268"/>
          </a:xfrm>
        </p:spPr>
        <p:txBody>
          <a:bodyPr>
            <a:normAutofit/>
          </a:bodyPr>
          <a:lstStyle>
            <a:lvl1pPr marL="0" indent="0">
              <a:buNone/>
              <a:defRPr sz="1500">
                <a:solidFill>
                  <a:schemeClr val="bg1">
                    <a:lumMod val="65000"/>
                  </a:schemeClr>
                </a:solidFill>
              </a:defRPr>
            </a:lvl1pPr>
          </a:lstStyle>
          <a:p>
            <a:endParaRPr lang="en-US" dirty="0"/>
          </a:p>
        </p:txBody>
      </p:sp>
      <p:sp>
        <p:nvSpPr>
          <p:cNvPr id="14" name="Picture Placeholder 5"/>
          <p:cNvSpPr>
            <a:spLocks noGrp="1"/>
          </p:cNvSpPr>
          <p:nvPr>
            <p:ph type="pic" sz="quarter" idx="17"/>
          </p:nvPr>
        </p:nvSpPr>
        <p:spPr>
          <a:xfrm>
            <a:off x="7152631" y="2417188"/>
            <a:ext cx="1900337" cy="1054268"/>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
        <p:nvSpPr>
          <p:cNvPr id="4" name="Rectangle 3"/>
          <p:cNvSpPr/>
          <p:nvPr userDrawn="1"/>
        </p:nvSpPr>
        <p:spPr>
          <a:xfrm>
            <a:off x="5192486" y="1"/>
            <a:ext cx="1900337" cy="2374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0" name="Rectangle 9"/>
          <p:cNvSpPr/>
          <p:nvPr userDrawn="1"/>
        </p:nvSpPr>
        <p:spPr>
          <a:xfrm>
            <a:off x="3239281" y="2420234"/>
            <a:ext cx="1900337" cy="10542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6" name="Picture Placeholder 5"/>
          <p:cNvSpPr>
            <a:spLocks noGrp="1"/>
          </p:cNvSpPr>
          <p:nvPr>
            <p:ph type="pic" sz="quarter" idx="14"/>
          </p:nvPr>
        </p:nvSpPr>
        <p:spPr>
          <a:xfrm>
            <a:off x="0" y="0"/>
            <a:ext cx="3304439" cy="5143500"/>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7_Title Only">
    <p:spTree>
      <p:nvGrpSpPr>
        <p:cNvPr id="1" name=""/>
        <p:cNvGrpSpPr/>
        <p:nvPr/>
      </p:nvGrpSpPr>
      <p:grpSpPr>
        <a:xfrm>
          <a:off x="0" y="0"/>
          <a:ext cx="0" cy="0"/>
          <a:chOff x="0" y="0"/>
          <a:chExt cx="0" cy="0"/>
        </a:xfrm>
      </p:grpSpPr>
      <p:sp>
        <p:nvSpPr>
          <p:cNvPr id="6" name="Picture Placeholder 5"/>
          <p:cNvSpPr>
            <a:spLocks noGrp="1"/>
          </p:cNvSpPr>
          <p:nvPr>
            <p:ph type="pic" sz="quarter" idx="14"/>
          </p:nvPr>
        </p:nvSpPr>
        <p:spPr>
          <a:xfrm>
            <a:off x="0" y="0"/>
            <a:ext cx="3304439" cy="5143500"/>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endParaRPr lang="zh-CN" altLang="en-US" smtClean="0"/>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endParaRPr lang="zh-CN" altLang="en-US" smtClean="0"/>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a:xfrm>
            <a:off x="6457950" y="4767263"/>
            <a:ext cx="2057400" cy="273844"/>
          </a:xfrm>
          <a:prstGeom prst="rect">
            <a:avLst/>
          </a:prstGeom>
        </p:spPr>
        <p:txBody>
          <a:bodyPr/>
          <a:lstStyle/>
          <a:p>
            <a:pPr algn="ctr"/>
            <a:fld id="{75F62417-4A12-46BB-B530-A96D3E44AFD3}" type="slidenum">
              <a:rPr lang="en-US" smtClean="0"/>
            </a:fld>
            <a:endParaRPr lang="en-US" dirty="0"/>
          </a:p>
        </p:txBody>
      </p:sp>
    </p:spTree>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7" name="Picture Placeholder 5"/>
          <p:cNvSpPr>
            <a:spLocks noGrp="1"/>
          </p:cNvSpPr>
          <p:nvPr>
            <p:ph type="pic" sz="quarter" idx="13"/>
          </p:nvPr>
        </p:nvSpPr>
        <p:spPr>
          <a:xfrm>
            <a:off x="1" y="0"/>
            <a:ext cx="9143999" cy="5143500"/>
          </a:xfrm>
        </p:spPr>
        <p:txBody>
          <a:bodyPr>
            <a:normAutofit/>
          </a:bodyPr>
          <a:lstStyle>
            <a:lvl1pPr marL="0" indent="0">
              <a:buNone/>
              <a:defRPr sz="1500">
                <a:solidFill>
                  <a:schemeClr val="bg1">
                    <a:lumMod val="65000"/>
                  </a:schemeClr>
                </a:solidFill>
              </a:defRPr>
            </a:lvl1pPr>
          </a:lstStyle>
          <a:p>
            <a:endParaRPr lang="en-US" dirty="0"/>
          </a:p>
        </p:txBody>
      </p:sp>
      <p:sp>
        <p:nvSpPr>
          <p:cNvPr id="8" name="Picture Placeholder 5"/>
          <p:cNvSpPr>
            <a:spLocks noGrp="1"/>
          </p:cNvSpPr>
          <p:nvPr>
            <p:ph type="pic" sz="quarter" idx="14"/>
          </p:nvPr>
        </p:nvSpPr>
        <p:spPr>
          <a:xfrm>
            <a:off x="1023002" y="1713216"/>
            <a:ext cx="2112347" cy="2074628"/>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1" y="0"/>
            <a:ext cx="9143999" cy="5143500"/>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2876550" y="2"/>
            <a:ext cx="6267450" cy="4473862"/>
          </a:xfrm>
          <a:custGeom>
            <a:avLst/>
            <a:gdLst>
              <a:gd name="connsiteX0" fmla="*/ 0 w 8356600"/>
              <a:gd name="connsiteY0" fmla="*/ 0 h 5965149"/>
              <a:gd name="connsiteX1" fmla="*/ 8356600 w 8356600"/>
              <a:gd name="connsiteY1" fmla="*/ 0 h 5965149"/>
              <a:gd name="connsiteX2" fmla="*/ 8356600 w 8356600"/>
              <a:gd name="connsiteY2" fmla="*/ 5965149 h 5965149"/>
            </a:gdLst>
            <a:ahLst/>
            <a:cxnLst>
              <a:cxn ang="0">
                <a:pos x="connsiteX0" y="connsiteY0"/>
              </a:cxn>
              <a:cxn ang="0">
                <a:pos x="connsiteX1" y="connsiteY1"/>
              </a:cxn>
              <a:cxn ang="0">
                <a:pos x="connsiteX2" y="connsiteY2"/>
              </a:cxn>
            </a:cxnLst>
            <a:rect l="l" t="t" r="r" b="b"/>
            <a:pathLst>
              <a:path w="8356600" h="5965149">
                <a:moveTo>
                  <a:pt x="0" y="0"/>
                </a:moveTo>
                <a:lnTo>
                  <a:pt x="8356600" y="0"/>
                </a:lnTo>
                <a:lnTo>
                  <a:pt x="8356600" y="5965149"/>
                </a:lnTo>
                <a:close/>
              </a:path>
            </a:pathLst>
          </a:custGeom>
        </p:spPr>
        <p:txBody>
          <a:bodyPr wrap="square">
            <a:no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9144000" cy="2981325"/>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6" name="Picture Placeholder 11"/>
          <p:cNvSpPr>
            <a:spLocks noGrp="1"/>
          </p:cNvSpPr>
          <p:nvPr>
            <p:ph type="pic" sz="quarter" idx="14"/>
          </p:nvPr>
        </p:nvSpPr>
        <p:spPr>
          <a:xfrm>
            <a:off x="2973303" y="1260046"/>
            <a:ext cx="2323508" cy="2346740"/>
          </a:xfrm>
          <a:prstGeom prst="ellipse">
            <a:avLst/>
          </a:prstGeom>
          <a:solidFill>
            <a:schemeClr val="bg1">
              <a:lumMod val="85000"/>
            </a:schemeClr>
          </a:solidFill>
          <a:ln w="38100">
            <a:noFill/>
          </a:ln>
        </p:spPr>
        <p:txBody>
          <a:bodyPr vert="horz" lIns="91440" tIns="45720" rIns="91440" bIns="45720" rtlCol="0">
            <a:normAutofit/>
          </a:bodyPr>
          <a:lstStyle>
            <a:lvl1pPr>
              <a:defRPr lang="en-US" sz="1500">
                <a:solidFill>
                  <a:schemeClr val="bg1">
                    <a:lumMod val="65000"/>
                  </a:schemeClr>
                </a:solidFill>
              </a:defRPr>
            </a:lvl1pPr>
          </a:lstStyle>
          <a:p>
            <a:pPr marL="0" lvl="0" indent="0">
              <a:buNone/>
            </a:pPr>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1" y="1333500"/>
            <a:ext cx="3429000" cy="3810000"/>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6172200" cy="4505325"/>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showMasterSp="0" userDrawn="1">
  <p:cSld name="66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271962" y="0"/>
            <a:ext cx="4241006" cy="5143500"/>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719020" y="3362092"/>
            <a:ext cx="4439588" cy="1015218"/>
          </a:xfrm>
        </p:spPr>
        <p:txBody>
          <a:bodyPr>
            <a:normAutofit/>
          </a:bodyPr>
          <a:lstStyle>
            <a:lvl1pPr marL="0" indent="0">
              <a:buNone/>
              <a:defRPr sz="15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grpSp>
        <p:nvGrpSpPr>
          <p:cNvPr id="4" name="Group 3"/>
          <p:cNvGrpSpPr/>
          <p:nvPr userDrawn="1"/>
        </p:nvGrpSpPr>
        <p:grpSpPr>
          <a:xfrm>
            <a:off x="-1372975" y="-757288"/>
            <a:ext cx="6350498" cy="7512503"/>
            <a:chOff x="-1830634" y="-1009718"/>
            <a:chExt cx="8467331" cy="10016671"/>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0634" y="-1009718"/>
              <a:ext cx="8467331" cy="10016671"/>
            </a:xfrm>
            <a:prstGeom prst="rect">
              <a:avLst/>
            </a:prstGeom>
            <a:effectLst/>
          </p:spPr>
        </p:pic>
        <p:sp>
          <p:nvSpPr>
            <p:cNvPr id="7" name="Rectangle 6"/>
            <p:cNvSpPr/>
            <p:nvPr/>
          </p:nvSpPr>
          <p:spPr>
            <a:xfrm>
              <a:off x="-94085" y="-72303"/>
              <a:ext cx="6116698" cy="81513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4000"/>
                      </a14:imgEffect>
                    </a14:imgLayer>
                  </a14:imgProps>
                </a:ext>
                <a:ext uri="{28A0092B-C50C-407E-A947-70E740481C1C}">
                  <a14:useLocalDpi xmlns:a14="http://schemas.microsoft.com/office/drawing/2010/main" val="0"/>
                </a:ext>
              </a:extLst>
            </a:blip>
            <a:srcRect l="7088" t="9548" r="7843" b="86054"/>
            <a:stretch>
              <a:fillRect/>
            </a:stretch>
          </p:blipFill>
          <p:spPr>
            <a:xfrm>
              <a:off x="-94085" y="-72304"/>
              <a:ext cx="6116698" cy="447290"/>
            </a:xfrm>
            <a:prstGeom prst="rect">
              <a:avLst/>
            </a:prstGeom>
          </p:spPr>
        </p:pic>
      </p:grpSp>
      <p:sp>
        <p:nvSpPr>
          <p:cNvPr id="11" name="Picture Placeholder 5"/>
          <p:cNvSpPr>
            <a:spLocks noGrp="1"/>
          </p:cNvSpPr>
          <p:nvPr>
            <p:ph type="pic" sz="quarter" idx="13"/>
          </p:nvPr>
        </p:nvSpPr>
        <p:spPr>
          <a:xfrm>
            <a:off x="-70564" y="281240"/>
            <a:ext cx="4587524" cy="2108124"/>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a:xfrm>
            <a:off x="4887685" y="273844"/>
            <a:ext cx="3627665" cy="994172"/>
          </a:xfrm>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
        <p:nvSpPr>
          <p:cNvPr id="12" name="Picture Placeholder 11"/>
          <p:cNvSpPr>
            <a:spLocks noGrp="1"/>
          </p:cNvSpPr>
          <p:nvPr>
            <p:ph type="pic" sz="quarter" idx="14"/>
          </p:nvPr>
        </p:nvSpPr>
        <p:spPr>
          <a:xfrm>
            <a:off x="3114601" y="2821888"/>
            <a:ext cx="1165935" cy="1165934"/>
          </a:xfrm>
          <a:prstGeom prst="ellipse">
            <a:avLst/>
          </a:prstGeom>
          <a:solidFill>
            <a:schemeClr val="bg1">
              <a:lumMod val="85000"/>
            </a:schemeClr>
          </a:solidFill>
          <a:ln w="38100">
            <a:solidFill>
              <a:schemeClr val="accent1"/>
            </a:solidFill>
          </a:ln>
        </p:spPr>
        <p:txBody>
          <a:bodyPr vert="horz" lIns="91440" tIns="45720" rIns="91440" bIns="45720" rtlCol="0">
            <a:normAutofit/>
          </a:bodyPr>
          <a:lstStyle>
            <a:lvl1pPr>
              <a:defRPr lang="en-US" sz="1500">
                <a:solidFill>
                  <a:schemeClr val="bg1">
                    <a:lumMod val="65000"/>
                  </a:schemeClr>
                </a:solidFill>
              </a:defRPr>
            </a:lvl1pPr>
          </a:lstStyle>
          <a:p>
            <a:pPr marL="0" lvl="0" indent="0">
              <a:buNone/>
            </a:pP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p>
            <a:pPr algn="ctr"/>
            <a:fld id="{75F62417-4A12-46BB-B530-A96D3E44AFD3}" type="slidenum">
              <a:rPr lang="en-US" smtClean="0"/>
            </a:fld>
            <a:endParaRPr lang="en-US" dirty="0"/>
          </a:p>
        </p:txBody>
      </p:sp>
    </p:spTree>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6" name="Picture Placeholder 5"/>
          <p:cNvSpPr>
            <a:spLocks noGrp="1"/>
          </p:cNvSpPr>
          <p:nvPr>
            <p:ph type="pic" sz="quarter" idx="14"/>
          </p:nvPr>
        </p:nvSpPr>
        <p:spPr>
          <a:xfrm>
            <a:off x="1475845" y="1"/>
            <a:ext cx="7668155" cy="2427515"/>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a:xfrm>
            <a:off x="1475845" y="2427515"/>
            <a:ext cx="7668155" cy="994172"/>
          </a:xfrm>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7" name="Content Placeholder 6"/>
          <p:cNvSpPr>
            <a:spLocks noGrp="1"/>
          </p:cNvSpPr>
          <p:nvPr>
            <p:ph idx="1"/>
          </p:nvPr>
        </p:nvSpPr>
        <p:spPr>
          <a:xfrm>
            <a:off x="2" y="1452748"/>
            <a:ext cx="4800508" cy="3690752"/>
          </a:xfrm>
          <a:custGeom>
            <a:avLst/>
            <a:gdLst>
              <a:gd name="connsiteX0" fmla="*/ 0 w 6400677"/>
              <a:gd name="connsiteY0" fmla="*/ 0 h 4921002"/>
              <a:gd name="connsiteX1" fmla="*/ 2156744 w 6400677"/>
              <a:gd name="connsiteY1" fmla="*/ 0 h 4921002"/>
              <a:gd name="connsiteX2" fmla="*/ 4174195 w 6400677"/>
              <a:gd name="connsiteY2" fmla="*/ 0 h 4921002"/>
              <a:gd name="connsiteX3" fmla="*/ 4500414 w 6400677"/>
              <a:gd name="connsiteY3" fmla="*/ 0 h 4921002"/>
              <a:gd name="connsiteX4" fmla="*/ 6400677 w 6400677"/>
              <a:gd name="connsiteY4" fmla="*/ 4921002 h 4921002"/>
              <a:gd name="connsiteX5" fmla="*/ 4174195 w 6400677"/>
              <a:gd name="connsiteY5" fmla="*/ 4921002 h 4921002"/>
              <a:gd name="connsiteX6" fmla="*/ 4057008 w 6400677"/>
              <a:gd name="connsiteY6" fmla="*/ 4921002 h 4921002"/>
              <a:gd name="connsiteX7" fmla="*/ 0 w 6400677"/>
              <a:gd name="connsiteY7" fmla="*/ 4921002 h 4921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0677" h="4921002">
                <a:moveTo>
                  <a:pt x="0" y="0"/>
                </a:moveTo>
                <a:lnTo>
                  <a:pt x="2156744" y="0"/>
                </a:lnTo>
                <a:lnTo>
                  <a:pt x="4174195" y="0"/>
                </a:lnTo>
                <a:lnTo>
                  <a:pt x="4500414" y="0"/>
                </a:lnTo>
                <a:lnTo>
                  <a:pt x="6400677" y="4921002"/>
                </a:lnTo>
                <a:lnTo>
                  <a:pt x="4174195" y="4921002"/>
                </a:lnTo>
                <a:lnTo>
                  <a:pt x="4057008" y="4921002"/>
                </a:lnTo>
                <a:lnTo>
                  <a:pt x="0" y="4921002"/>
                </a:lnTo>
                <a:close/>
              </a:path>
            </a:pathLst>
          </a:custGeom>
        </p:spPr>
        <p:txBody>
          <a:bodyPr wrap="square">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showMasterSp="0" userDrawn="1">
  <p:cSld name="62_Title Only">
    <p:spTree>
      <p:nvGrpSpPr>
        <p:cNvPr id="1" name=""/>
        <p:cNvGrpSpPr/>
        <p:nvPr/>
      </p:nvGrpSpPr>
      <p:grpSpPr>
        <a:xfrm>
          <a:off x="0" y="0"/>
          <a:ext cx="0" cy="0"/>
          <a:chOff x="0" y="0"/>
          <a:chExt cx="0" cy="0"/>
        </a:xfrm>
      </p:grpSpPr>
      <p:sp>
        <p:nvSpPr>
          <p:cNvPr id="12" name="Picture Placeholder 11"/>
          <p:cNvSpPr>
            <a:spLocks noGrp="1"/>
          </p:cNvSpPr>
          <p:nvPr>
            <p:ph type="pic" sz="quarter" idx="14"/>
          </p:nvPr>
        </p:nvSpPr>
        <p:spPr>
          <a:xfrm>
            <a:off x="323208" y="1068869"/>
            <a:ext cx="3946220" cy="3176336"/>
          </a:xfrm>
          <a:custGeom>
            <a:avLst/>
            <a:gdLst>
              <a:gd name="connsiteX0" fmla="*/ 2630814 w 5261627"/>
              <a:gd name="connsiteY0" fmla="*/ 0 h 4235115"/>
              <a:gd name="connsiteX1" fmla="*/ 5261627 w 5261627"/>
              <a:gd name="connsiteY1" fmla="*/ 4235115 h 4235115"/>
              <a:gd name="connsiteX2" fmla="*/ 0 w 5261627"/>
              <a:gd name="connsiteY2" fmla="*/ 4235115 h 4235115"/>
            </a:gdLst>
            <a:ahLst/>
            <a:cxnLst>
              <a:cxn ang="0">
                <a:pos x="connsiteX0" y="connsiteY0"/>
              </a:cxn>
              <a:cxn ang="0">
                <a:pos x="connsiteX1" y="connsiteY1"/>
              </a:cxn>
              <a:cxn ang="0">
                <a:pos x="connsiteX2" y="connsiteY2"/>
              </a:cxn>
            </a:cxnLst>
            <a:rect l="l" t="t" r="r" b="b"/>
            <a:pathLst>
              <a:path w="5261627" h="4235115">
                <a:moveTo>
                  <a:pt x="2630814" y="0"/>
                </a:moveTo>
                <a:lnTo>
                  <a:pt x="5261627" y="4235115"/>
                </a:lnTo>
                <a:lnTo>
                  <a:pt x="0" y="4235115"/>
                </a:lnTo>
                <a:close/>
              </a:path>
            </a:pathLst>
          </a:custGeom>
          <a:solidFill>
            <a:schemeClr val="bg1"/>
          </a:solidFill>
          <a:ln>
            <a:noFill/>
          </a:ln>
          <a:effectLst>
            <a:outerShdw blurRad="152400" dist="317500" dir="5400000" sx="90000" sy="-19000" rotWithShape="0">
              <a:prstClr val="black">
                <a:alpha val="15000"/>
              </a:prstClr>
            </a:outerShdw>
          </a:effectLst>
        </p:spPr>
        <p:txBody>
          <a:bodyPr lIns="0" tIns="0" rIns="0" bIns="0" anchor="ctr"/>
          <a:lstStyle>
            <a:lvl1pPr marL="0" indent="0" algn="ctr">
              <a:buNone/>
              <a:defRPr lang="en-US" sz="1500">
                <a:solidFill>
                  <a:schemeClr val="tx1">
                    <a:lumMod val="75000"/>
                    <a:lumOff val="25000"/>
                  </a:schemeClr>
                </a:solidFill>
                <a:effectLst/>
                <a:latin typeface="+mn-lt"/>
              </a:defRPr>
            </a:lvl1pPr>
          </a:lstStyle>
          <a:p>
            <a:pPr marL="0" lvl="0" defTabSz="218440"/>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showMasterSp="0" userDrawn="1">
  <p:cSld name="49_Title Only">
    <p:spTree>
      <p:nvGrpSpPr>
        <p:cNvPr id="1" name=""/>
        <p:cNvGrpSpPr/>
        <p:nvPr/>
      </p:nvGrpSpPr>
      <p:grpSpPr>
        <a:xfrm>
          <a:off x="0" y="0"/>
          <a:ext cx="0" cy="0"/>
          <a:chOff x="0" y="0"/>
          <a:chExt cx="0" cy="0"/>
        </a:xfrm>
      </p:grpSpPr>
      <p:sp>
        <p:nvSpPr>
          <p:cNvPr id="9" name="Picture Placeholder 5"/>
          <p:cNvSpPr>
            <a:spLocks noGrp="1"/>
          </p:cNvSpPr>
          <p:nvPr>
            <p:ph type="pic" sz="quarter" idx="14"/>
          </p:nvPr>
        </p:nvSpPr>
        <p:spPr>
          <a:xfrm>
            <a:off x="0" y="0"/>
            <a:ext cx="9144000" cy="4486275"/>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showMasterSp="0" userDrawn="1">
  <p:cSld name="36_Title Onl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4029" y="413038"/>
            <a:ext cx="3711093" cy="2134219"/>
          </a:xfrm>
          <a:prstGeom prst="rect">
            <a:avLst/>
          </a:prstGeom>
        </p:spPr>
      </p:pic>
      <p:sp>
        <p:nvSpPr>
          <p:cNvPr id="10" name="Picture Placeholder 5"/>
          <p:cNvSpPr>
            <a:spLocks noGrp="1"/>
          </p:cNvSpPr>
          <p:nvPr>
            <p:ph type="pic" sz="quarter" idx="14"/>
          </p:nvPr>
        </p:nvSpPr>
        <p:spPr>
          <a:xfrm>
            <a:off x="731074" y="557470"/>
            <a:ext cx="2783651" cy="1739960"/>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a:xfrm>
            <a:off x="3810000" y="273844"/>
            <a:ext cx="4705350" cy="994172"/>
          </a:xfrm>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showMasterSp="0"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sp>
        <p:nvSpPr>
          <p:cNvPr id="8" name="Picture Placeholder 5"/>
          <p:cNvSpPr>
            <a:spLocks noGrp="1"/>
          </p:cNvSpPr>
          <p:nvPr>
            <p:ph type="pic" sz="quarter" idx="13"/>
          </p:nvPr>
        </p:nvSpPr>
        <p:spPr>
          <a:xfrm>
            <a:off x="0" y="0"/>
            <a:ext cx="9144000" cy="5143500"/>
          </a:xfrm>
        </p:spPr>
        <p:txBody>
          <a:bodyPr>
            <a:normAutofit/>
          </a:bodyPr>
          <a:lstStyle>
            <a:lvl1pPr marL="0" indent="0">
              <a:buNone/>
              <a:defRPr sz="1500">
                <a:solidFill>
                  <a:schemeClr val="bg1">
                    <a:lumMod val="65000"/>
                  </a:schemeClr>
                </a:solidFill>
              </a:defRPr>
            </a:lvl1pPr>
          </a:lstStyle>
          <a:p>
            <a:endParaRPr 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showMasterSp="0" userDrawn="1">
  <p:cSld name="8_Title Only">
    <p:spTree>
      <p:nvGrpSpPr>
        <p:cNvPr id="1" name=""/>
        <p:cNvGrpSpPr/>
        <p:nvPr/>
      </p:nvGrpSpPr>
      <p:grpSpPr>
        <a:xfrm>
          <a:off x="0" y="0"/>
          <a:ext cx="0" cy="0"/>
          <a:chOff x="0" y="0"/>
          <a:chExt cx="0" cy="0"/>
        </a:xfrm>
      </p:grpSpPr>
      <p:sp>
        <p:nvSpPr>
          <p:cNvPr id="10" name="Picture Placeholder 5"/>
          <p:cNvSpPr>
            <a:spLocks noGrp="1"/>
          </p:cNvSpPr>
          <p:nvPr>
            <p:ph type="pic" sz="quarter" idx="13"/>
          </p:nvPr>
        </p:nvSpPr>
        <p:spPr>
          <a:xfrm>
            <a:off x="0" y="0"/>
            <a:ext cx="9144000" cy="5143500"/>
          </a:xfrm>
        </p:spPr>
        <p:txBody>
          <a:bodyPr>
            <a:normAutofit/>
          </a:bodyPr>
          <a:lstStyle>
            <a:lvl1pPr marL="0" indent="0">
              <a:buNone/>
              <a:defRPr sz="1500">
                <a:solidFill>
                  <a:schemeClr val="bg1">
                    <a:lumMod val="65000"/>
                  </a:schemeClr>
                </a:solidFill>
              </a:defRPr>
            </a:lvl1pPr>
          </a:lstStyle>
          <a:p>
            <a:endParaRPr lang="en-US"/>
          </a:p>
        </p:txBody>
      </p:sp>
      <p:sp>
        <p:nvSpPr>
          <p:cNvPr id="11" name="Picture Placeholder 5"/>
          <p:cNvSpPr>
            <a:spLocks noGrp="1"/>
          </p:cNvSpPr>
          <p:nvPr>
            <p:ph type="pic" sz="quarter" idx="14"/>
          </p:nvPr>
        </p:nvSpPr>
        <p:spPr>
          <a:xfrm>
            <a:off x="4672220" y="1431538"/>
            <a:ext cx="3753323" cy="1170148"/>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userDrawn="1">
  <p:cSld name="4_Title Only">
    <p:spTree>
      <p:nvGrpSpPr>
        <p:cNvPr id="1" name=""/>
        <p:cNvGrpSpPr/>
        <p:nvPr/>
      </p:nvGrpSpPr>
      <p:grpSpPr>
        <a:xfrm>
          <a:off x="0" y="0"/>
          <a:ext cx="0" cy="0"/>
          <a:chOff x="0" y="0"/>
          <a:chExt cx="0" cy="0"/>
        </a:xfrm>
      </p:grpSpPr>
      <p:sp>
        <p:nvSpPr>
          <p:cNvPr id="9" name="Content Placeholder 2"/>
          <p:cNvSpPr>
            <a:spLocks noGrp="1"/>
          </p:cNvSpPr>
          <p:nvPr>
            <p:ph idx="1"/>
          </p:nvPr>
        </p:nvSpPr>
        <p:spPr>
          <a:xfrm>
            <a:off x="0" y="1120065"/>
            <a:ext cx="9144000" cy="2903371"/>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showMasterSp="0" userDrawn="1">
  <p:cSld name="51_Title Only">
    <p:spTree>
      <p:nvGrpSpPr>
        <p:cNvPr id="1" name=""/>
        <p:cNvGrpSpPr/>
        <p:nvPr/>
      </p:nvGrpSpPr>
      <p:grpSpPr>
        <a:xfrm>
          <a:off x="0" y="0"/>
          <a:ext cx="0" cy="0"/>
          <a:chOff x="0" y="0"/>
          <a:chExt cx="0" cy="0"/>
        </a:xfrm>
      </p:grpSpPr>
      <p:sp>
        <p:nvSpPr>
          <p:cNvPr id="12" name="Picture Placeholder 11"/>
          <p:cNvSpPr>
            <a:spLocks noGrp="1"/>
          </p:cNvSpPr>
          <p:nvPr>
            <p:ph type="pic" sz="quarter" idx="14"/>
          </p:nvPr>
        </p:nvSpPr>
        <p:spPr>
          <a:xfrm>
            <a:off x="0" y="191522"/>
            <a:ext cx="5172343" cy="4889970"/>
          </a:xfrm>
          <a:prstGeom prst="ellipse">
            <a:avLst/>
          </a:prstGeom>
          <a:noFill/>
        </p:spPr>
        <p:txBody>
          <a:bodyPr wrap="square">
            <a:no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grpSp>
        <p:nvGrpSpPr>
          <p:cNvPr id="18" name="Group 17"/>
          <p:cNvGrpSpPr/>
          <p:nvPr userDrawn="1"/>
        </p:nvGrpSpPr>
        <p:grpSpPr>
          <a:xfrm flipH="1">
            <a:off x="8311649" y="-105903"/>
            <a:ext cx="897807" cy="379747"/>
            <a:chOff x="-110315" y="-141204"/>
            <a:chExt cx="1656388" cy="700605"/>
          </a:xfrm>
        </p:grpSpPr>
        <p:sp>
          <p:nvSpPr>
            <p:cNvPr id="19" name="Freeform 18"/>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20" name="Freeform 19"/>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showMasterSp="0" userDrawn="1">
  <p:cSld name="60_Title Only">
    <p:spTree>
      <p:nvGrpSpPr>
        <p:cNvPr id="1" name=""/>
        <p:cNvGrpSpPr/>
        <p:nvPr/>
      </p:nvGrpSpPr>
      <p:grpSpPr>
        <a:xfrm>
          <a:off x="0" y="0"/>
          <a:ext cx="0" cy="0"/>
          <a:chOff x="0" y="0"/>
          <a:chExt cx="0" cy="0"/>
        </a:xfrm>
      </p:grpSpPr>
      <p:sp>
        <p:nvSpPr>
          <p:cNvPr id="19" name="Picture Placeholder 5"/>
          <p:cNvSpPr>
            <a:spLocks noGrp="1"/>
          </p:cNvSpPr>
          <p:nvPr>
            <p:ph type="pic" sz="quarter" idx="15"/>
          </p:nvPr>
        </p:nvSpPr>
        <p:spPr>
          <a:xfrm>
            <a:off x="0" y="0"/>
            <a:ext cx="9144000" cy="5143500"/>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grpSp>
        <p:nvGrpSpPr>
          <p:cNvPr id="17" name="Group 16"/>
          <p:cNvGrpSpPr/>
          <p:nvPr userDrawn="1"/>
        </p:nvGrpSpPr>
        <p:grpSpPr>
          <a:xfrm flipH="1">
            <a:off x="4123097" y="-105903"/>
            <a:ext cx="897807" cy="379747"/>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sp>
        <p:nvSpPr>
          <p:cNvPr id="22" name="Picture Placeholder 21"/>
          <p:cNvSpPr>
            <a:spLocks noGrp="1"/>
          </p:cNvSpPr>
          <p:nvPr>
            <p:ph type="pic" sz="quarter" idx="16"/>
          </p:nvPr>
        </p:nvSpPr>
        <p:spPr>
          <a:xfrm>
            <a:off x="3485687" y="1363210"/>
            <a:ext cx="2172628" cy="2178305"/>
          </a:xfrm>
          <a:custGeom>
            <a:avLst/>
            <a:gdLst>
              <a:gd name="connsiteX0" fmla="*/ 1452040 w 2896837"/>
              <a:gd name="connsiteY0" fmla="*/ 0 h 2904407"/>
              <a:gd name="connsiteX1" fmla="*/ 2476393 w 2896837"/>
              <a:gd name="connsiteY1" fmla="*/ 424366 h 2904407"/>
              <a:gd name="connsiteX2" fmla="*/ 2896837 w 2896837"/>
              <a:gd name="connsiteY2" fmla="*/ 1448977 h 2904407"/>
              <a:gd name="connsiteX3" fmla="*/ 2476393 w 2896837"/>
              <a:gd name="connsiteY3" fmla="*/ 2473049 h 2904407"/>
              <a:gd name="connsiteX4" fmla="*/ 1448821 w 2896837"/>
              <a:gd name="connsiteY4" fmla="*/ 2904407 h 2904407"/>
              <a:gd name="connsiteX5" fmla="*/ 427820 w 2896837"/>
              <a:gd name="connsiteY5" fmla="*/ 2473049 h 2904407"/>
              <a:gd name="connsiteX6" fmla="*/ 0 w 2896837"/>
              <a:gd name="connsiteY6" fmla="*/ 1446556 h 2904407"/>
              <a:gd name="connsiteX7" fmla="*/ 427820 w 2896837"/>
              <a:gd name="connsiteY7" fmla="*/ 424366 h 290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6837" h="2904407">
                <a:moveTo>
                  <a:pt x="1452040" y="0"/>
                </a:moveTo>
                <a:lnTo>
                  <a:pt x="2476393" y="424366"/>
                </a:lnTo>
                <a:lnTo>
                  <a:pt x="2896837" y="1448977"/>
                </a:lnTo>
                <a:lnTo>
                  <a:pt x="2476393" y="2473049"/>
                </a:lnTo>
                <a:lnTo>
                  <a:pt x="1448821" y="2904407"/>
                </a:lnTo>
                <a:lnTo>
                  <a:pt x="427820" y="2473049"/>
                </a:lnTo>
                <a:lnTo>
                  <a:pt x="0" y="1446556"/>
                </a:lnTo>
                <a:lnTo>
                  <a:pt x="427820" y="424366"/>
                </a:lnTo>
                <a:close/>
              </a:path>
            </a:pathLst>
          </a:custGeom>
        </p:spPr>
        <p:txBody>
          <a:bodyPr wrap="square">
            <a:noAutofit/>
          </a:bodyPr>
          <a:lstStyle>
            <a:lvl1pPr marL="0" indent="0">
              <a:buNone/>
              <a:defRPr sz="1500">
                <a:solidFill>
                  <a:schemeClr val="bg1">
                    <a:lumMod val="65000"/>
                  </a:schemeClr>
                </a:solidFill>
              </a:defRPr>
            </a:lvl1pPr>
          </a:lstStyle>
          <a:p>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pPr algn="ctr"/>
            <a:fld id="{75F62417-4A12-46BB-B530-A96D3E44AFD3}" type="slidenum">
              <a:rPr lang="en-US" smtClean="0"/>
            </a:fld>
            <a:endParaRPr lang="en-US" dirty="0"/>
          </a:p>
        </p:txBody>
      </p:sp>
    </p:spTree>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showMasterSp="0" userDrawn="1">
  <p:cSld name="5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grpSp>
        <p:nvGrpSpPr>
          <p:cNvPr id="17" name="Group 16"/>
          <p:cNvGrpSpPr/>
          <p:nvPr userDrawn="1"/>
        </p:nvGrpSpPr>
        <p:grpSpPr>
          <a:xfrm flipH="1">
            <a:off x="4123097" y="-105903"/>
            <a:ext cx="897807" cy="379747"/>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sp>
        <p:nvSpPr>
          <p:cNvPr id="11" name="Oval 10"/>
          <p:cNvSpPr/>
          <p:nvPr userDrawn="1"/>
        </p:nvSpPr>
        <p:spPr>
          <a:xfrm>
            <a:off x="4739288" y="3674389"/>
            <a:ext cx="2478900" cy="550516"/>
          </a:xfrm>
          <a:prstGeom prst="ellipse">
            <a:avLst/>
          </a:prstGeom>
          <a:gradFill flip="none" rotWithShape="1">
            <a:gsLst>
              <a:gs pos="0">
                <a:schemeClr val="tx2">
                  <a:lumMod val="75000"/>
                </a:schemeClr>
              </a:gs>
              <a:gs pos="100000">
                <a:schemeClr val="bg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sz="1015"/>
          </a:p>
        </p:txBody>
      </p:sp>
      <p:sp>
        <p:nvSpPr>
          <p:cNvPr id="12" name="Oval 11"/>
          <p:cNvSpPr/>
          <p:nvPr userDrawn="1"/>
        </p:nvSpPr>
        <p:spPr>
          <a:xfrm>
            <a:off x="2264559" y="3681098"/>
            <a:ext cx="2478900" cy="550516"/>
          </a:xfrm>
          <a:prstGeom prst="ellipse">
            <a:avLst/>
          </a:prstGeom>
          <a:gradFill flip="none" rotWithShape="1">
            <a:gsLst>
              <a:gs pos="0">
                <a:schemeClr val="tx2">
                  <a:lumMod val="75000"/>
                </a:schemeClr>
              </a:gs>
              <a:gs pos="100000">
                <a:schemeClr val="bg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sz="1015"/>
          </a:p>
        </p:txBody>
      </p:sp>
      <p:sp>
        <p:nvSpPr>
          <p:cNvPr id="19" name="Block Arc 18"/>
          <p:cNvSpPr/>
          <p:nvPr userDrawn="1"/>
        </p:nvSpPr>
        <p:spPr>
          <a:xfrm rot="8100000">
            <a:off x="2303472" y="1646710"/>
            <a:ext cx="2329727" cy="2329727"/>
          </a:xfrm>
          <a:prstGeom prst="blockArc">
            <a:avLst>
              <a:gd name="adj1" fmla="val 5306531"/>
              <a:gd name="adj2" fmla="val 21527698"/>
              <a:gd name="adj3" fmla="val 556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solidFill>
                <a:schemeClr val="tx1"/>
              </a:solidFill>
            </a:endParaRPr>
          </a:p>
        </p:txBody>
      </p:sp>
      <p:sp>
        <p:nvSpPr>
          <p:cNvPr id="20" name="Oval 19"/>
          <p:cNvSpPr/>
          <p:nvPr userDrawn="1"/>
        </p:nvSpPr>
        <p:spPr>
          <a:xfrm>
            <a:off x="2403977" y="1727013"/>
            <a:ext cx="2108971" cy="2108971"/>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3" name="Block Arc 22"/>
          <p:cNvSpPr/>
          <p:nvPr userDrawn="1"/>
        </p:nvSpPr>
        <p:spPr>
          <a:xfrm rot="18900000">
            <a:off x="4692294" y="1646710"/>
            <a:ext cx="2329727" cy="2329727"/>
          </a:xfrm>
          <a:prstGeom prst="blockArc">
            <a:avLst>
              <a:gd name="adj1" fmla="val 5306531"/>
              <a:gd name="adj2" fmla="val 21527698"/>
              <a:gd name="adj3" fmla="val 556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solidFill>
                <a:schemeClr val="tx1"/>
              </a:solidFill>
            </a:endParaRPr>
          </a:p>
        </p:txBody>
      </p:sp>
      <p:sp>
        <p:nvSpPr>
          <p:cNvPr id="24" name="Oval 23"/>
          <p:cNvSpPr/>
          <p:nvPr userDrawn="1"/>
        </p:nvSpPr>
        <p:spPr>
          <a:xfrm>
            <a:off x="4792799" y="1727013"/>
            <a:ext cx="2108971" cy="2108971"/>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6" name="Picture Placeholder 5"/>
          <p:cNvSpPr>
            <a:spLocks noGrp="1"/>
          </p:cNvSpPr>
          <p:nvPr>
            <p:ph type="pic" sz="quarter" idx="15"/>
          </p:nvPr>
        </p:nvSpPr>
        <p:spPr>
          <a:xfrm>
            <a:off x="2499839" y="1821287"/>
            <a:ext cx="1917247" cy="1918833"/>
          </a:xfrm>
          <a:prstGeom prst="ellipse">
            <a:avLst/>
          </a:prstGeom>
          <a:noFill/>
        </p:spPr>
        <p:txBody>
          <a:bodyPr>
            <a:normAutofit/>
          </a:bodyPr>
          <a:lstStyle>
            <a:lvl1pPr marL="0" indent="0">
              <a:buNone/>
              <a:defRPr sz="1500">
                <a:solidFill>
                  <a:schemeClr val="bg1">
                    <a:lumMod val="65000"/>
                  </a:schemeClr>
                </a:solidFill>
              </a:defRPr>
            </a:lvl1pPr>
          </a:lstStyle>
          <a:p>
            <a:endParaRPr lang="en-US" dirty="0"/>
          </a:p>
        </p:txBody>
      </p:sp>
      <p:sp>
        <p:nvSpPr>
          <p:cNvPr id="27" name="Picture Placeholder 5"/>
          <p:cNvSpPr>
            <a:spLocks noGrp="1"/>
          </p:cNvSpPr>
          <p:nvPr>
            <p:ph type="pic" sz="quarter" idx="16"/>
          </p:nvPr>
        </p:nvSpPr>
        <p:spPr>
          <a:xfrm>
            <a:off x="4882877" y="1821287"/>
            <a:ext cx="1917247" cy="1918833"/>
          </a:xfrm>
          <a:prstGeom prst="ellipse">
            <a:avLst/>
          </a:prstGeom>
          <a:noFill/>
        </p:spPr>
        <p:txBody>
          <a:bodyPr>
            <a:normAutofit/>
          </a:bodyPr>
          <a:lstStyle>
            <a:lvl1pPr marL="0" indent="0">
              <a:buNone/>
              <a:defRPr sz="1500">
                <a:solidFill>
                  <a:schemeClr val="bg1">
                    <a:lumMod val="65000"/>
                  </a:schemeClr>
                </a:solidFill>
              </a:defRPr>
            </a:lvl1pPr>
          </a:lstStyle>
          <a:p>
            <a:endParaRPr lang="en-US"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showMasterSp="0" userDrawn="1">
  <p:cSld name="5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grpSp>
        <p:nvGrpSpPr>
          <p:cNvPr id="17" name="Group 16"/>
          <p:cNvGrpSpPr/>
          <p:nvPr userDrawn="1"/>
        </p:nvGrpSpPr>
        <p:grpSpPr>
          <a:xfrm flipH="1">
            <a:off x="4123097" y="-105903"/>
            <a:ext cx="897807" cy="379747"/>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sp>
        <p:nvSpPr>
          <p:cNvPr id="11" name="Rounded Rectangle 10"/>
          <p:cNvSpPr/>
          <p:nvPr userDrawn="1"/>
        </p:nvSpPr>
        <p:spPr>
          <a:xfrm>
            <a:off x="701794" y="1480615"/>
            <a:ext cx="1714500" cy="2862786"/>
          </a:xfrm>
          <a:prstGeom prst="roundRect">
            <a:avLst>
              <a:gd name="adj" fmla="val 357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latin typeface="Roboto" panose="02000000000000000000" pitchFamily="2" charset="0"/>
              <a:ea typeface="Roboto" panose="02000000000000000000" pitchFamily="2" charset="0"/>
            </a:endParaRPr>
          </a:p>
        </p:txBody>
      </p:sp>
      <p:sp>
        <p:nvSpPr>
          <p:cNvPr id="12" name="Rounded Rectangle 11"/>
          <p:cNvSpPr/>
          <p:nvPr userDrawn="1"/>
        </p:nvSpPr>
        <p:spPr>
          <a:xfrm>
            <a:off x="2710431" y="1480615"/>
            <a:ext cx="1714500" cy="2862786"/>
          </a:xfrm>
          <a:prstGeom prst="roundRect">
            <a:avLst>
              <a:gd name="adj" fmla="val 357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latin typeface="Roboto" panose="02000000000000000000" pitchFamily="2" charset="0"/>
              <a:ea typeface="Roboto" panose="02000000000000000000" pitchFamily="2" charset="0"/>
            </a:endParaRPr>
          </a:p>
        </p:txBody>
      </p:sp>
      <p:sp>
        <p:nvSpPr>
          <p:cNvPr id="19" name="Rounded Rectangle 18"/>
          <p:cNvSpPr/>
          <p:nvPr userDrawn="1"/>
        </p:nvSpPr>
        <p:spPr>
          <a:xfrm>
            <a:off x="4719068" y="1480615"/>
            <a:ext cx="1714500" cy="2862786"/>
          </a:xfrm>
          <a:prstGeom prst="roundRect">
            <a:avLst>
              <a:gd name="adj" fmla="val 357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latin typeface="Roboto" panose="02000000000000000000" pitchFamily="2" charset="0"/>
              <a:ea typeface="Roboto" panose="02000000000000000000" pitchFamily="2" charset="0"/>
            </a:endParaRPr>
          </a:p>
        </p:txBody>
      </p:sp>
      <p:sp>
        <p:nvSpPr>
          <p:cNvPr id="20" name="Rounded Rectangle 19"/>
          <p:cNvSpPr/>
          <p:nvPr userDrawn="1"/>
        </p:nvSpPr>
        <p:spPr>
          <a:xfrm>
            <a:off x="6727706" y="1480615"/>
            <a:ext cx="1714500" cy="2862786"/>
          </a:xfrm>
          <a:prstGeom prst="roundRect">
            <a:avLst>
              <a:gd name="adj" fmla="val 357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latin typeface="Roboto" panose="02000000000000000000" pitchFamily="2" charset="0"/>
              <a:ea typeface="Roboto" panose="02000000000000000000" pitchFamily="2" charset="0"/>
            </a:endParaRPr>
          </a:p>
        </p:txBody>
      </p:sp>
      <p:sp>
        <p:nvSpPr>
          <p:cNvPr id="22" name="Rectangle 21"/>
          <p:cNvSpPr/>
          <p:nvPr userDrawn="1"/>
        </p:nvSpPr>
        <p:spPr>
          <a:xfrm>
            <a:off x="701795" y="3467870"/>
            <a:ext cx="1714500" cy="4800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latin typeface="Roboto" panose="02000000000000000000" pitchFamily="2" charset="0"/>
              <a:ea typeface="Roboto" panose="02000000000000000000" pitchFamily="2" charset="0"/>
            </a:endParaRPr>
          </a:p>
        </p:txBody>
      </p:sp>
      <p:sp>
        <p:nvSpPr>
          <p:cNvPr id="23" name="Rectangle 22"/>
          <p:cNvSpPr/>
          <p:nvPr userDrawn="1"/>
        </p:nvSpPr>
        <p:spPr>
          <a:xfrm>
            <a:off x="2710432" y="3467870"/>
            <a:ext cx="1714500" cy="4800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latin typeface="Roboto" panose="02000000000000000000" pitchFamily="2" charset="0"/>
              <a:ea typeface="Roboto" panose="02000000000000000000" pitchFamily="2" charset="0"/>
            </a:endParaRPr>
          </a:p>
        </p:txBody>
      </p:sp>
      <p:sp>
        <p:nvSpPr>
          <p:cNvPr id="24" name="Rectangle 23"/>
          <p:cNvSpPr/>
          <p:nvPr userDrawn="1"/>
        </p:nvSpPr>
        <p:spPr>
          <a:xfrm>
            <a:off x="4719069" y="3467870"/>
            <a:ext cx="1714500" cy="4800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latin typeface="Roboto" panose="02000000000000000000" pitchFamily="2" charset="0"/>
              <a:ea typeface="Roboto" panose="02000000000000000000" pitchFamily="2" charset="0"/>
            </a:endParaRPr>
          </a:p>
        </p:txBody>
      </p:sp>
      <p:sp>
        <p:nvSpPr>
          <p:cNvPr id="25" name="Rectangle 24"/>
          <p:cNvSpPr/>
          <p:nvPr userDrawn="1"/>
        </p:nvSpPr>
        <p:spPr>
          <a:xfrm>
            <a:off x="6727706" y="3467870"/>
            <a:ext cx="1714500" cy="4800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latin typeface="Roboto" panose="02000000000000000000" pitchFamily="2" charset="0"/>
              <a:ea typeface="Roboto" panose="02000000000000000000" pitchFamily="2" charset="0"/>
            </a:endParaRPr>
          </a:p>
        </p:txBody>
      </p:sp>
      <p:sp>
        <p:nvSpPr>
          <p:cNvPr id="30" name="Picture Placeholder 5"/>
          <p:cNvSpPr>
            <a:spLocks noGrp="1"/>
          </p:cNvSpPr>
          <p:nvPr>
            <p:ph type="pic" sz="quarter" idx="15"/>
          </p:nvPr>
        </p:nvSpPr>
        <p:spPr>
          <a:xfrm>
            <a:off x="701794" y="1722202"/>
            <a:ext cx="1714499" cy="1223096"/>
          </a:xfrm>
        </p:spPr>
        <p:txBody>
          <a:bodyPr>
            <a:normAutofit/>
          </a:bodyPr>
          <a:lstStyle>
            <a:lvl1pPr marL="0" indent="0">
              <a:buNone/>
              <a:defRPr sz="1500">
                <a:solidFill>
                  <a:schemeClr val="bg1">
                    <a:lumMod val="65000"/>
                  </a:schemeClr>
                </a:solidFill>
              </a:defRPr>
            </a:lvl1pPr>
          </a:lstStyle>
          <a:p>
            <a:endParaRPr lang="en-US"/>
          </a:p>
        </p:txBody>
      </p:sp>
      <p:sp>
        <p:nvSpPr>
          <p:cNvPr id="31" name="Picture Placeholder 5"/>
          <p:cNvSpPr>
            <a:spLocks noGrp="1"/>
          </p:cNvSpPr>
          <p:nvPr>
            <p:ph type="pic" sz="quarter" idx="16"/>
          </p:nvPr>
        </p:nvSpPr>
        <p:spPr>
          <a:xfrm>
            <a:off x="2710429" y="1722202"/>
            <a:ext cx="1714499" cy="1223096"/>
          </a:xfrm>
        </p:spPr>
        <p:txBody>
          <a:bodyPr>
            <a:normAutofit/>
          </a:bodyPr>
          <a:lstStyle>
            <a:lvl1pPr marL="0" indent="0">
              <a:buNone/>
              <a:defRPr sz="1500">
                <a:solidFill>
                  <a:schemeClr val="bg1">
                    <a:lumMod val="65000"/>
                  </a:schemeClr>
                </a:solidFill>
              </a:defRPr>
            </a:lvl1pPr>
          </a:lstStyle>
          <a:p>
            <a:endParaRPr lang="en-US"/>
          </a:p>
        </p:txBody>
      </p:sp>
      <p:sp>
        <p:nvSpPr>
          <p:cNvPr id="32" name="Picture Placeholder 5"/>
          <p:cNvSpPr>
            <a:spLocks noGrp="1"/>
          </p:cNvSpPr>
          <p:nvPr>
            <p:ph type="pic" sz="quarter" idx="17"/>
          </p:nvPr>
        </p:nvSpPr>
        <p:spPr>
          <a:xfrm>
            <a:off x="4719068" y="1722202"/>
            <a:ext cx="1714499" cy="1223096"/>
          </a:xfrm>
        </p:spPr>
        <p:txBody>
          <a:bodyPr>
            <a:normAutofit/>
          </a:bodyPr>
          <a:lstStyle>
            <a:lvl1pPr marL="0" indent="0">
              <a:buNone/>
              <a:defRPr sz="1500">
                <a:solidFill>
                  <a:schemeClr val="bg1">
                    <a:lumMod val="65000"/>
                  </a:schemeClr>
                </a:solidFill>
              </a:defRPr>
            </a:lvl1pPr>
          </a:lstStyle>
          <a:p>
            <a:endParaRPr lang="en-US"/>
          </a:p>
        </p:txBody>
      </p:sp>
      <p:sp>
        <p:nvSpPr>
          <p:cNvPr id="33" name="Picture Placeholder 5"/>
          <p:cNvSpPr>
            <a:spLocks noGrp="1"/>
          </p:cNvSpPr>
          <p:nvPr>
            <p:ph type="pic" sz="quarter" idx="18"/>
          </p:nvPr>
        </p:nvSpPr>
        <p:spPr>
          <a:xfrm>
            <a:off x="6727707" y="1722202"/>
            <a:ext cx="1714499" cy="1223096"/>
          </a:xfrm>
        </p:spPr>
        <p:txBody>
          <a:bodyPr>
            <a:normAutofit/>
          </a:bodyPr>
          <a:lstStyle>
            <a:lvl1pPr marL="0" indent="0">
              <a:buNone/>
              <a:defRPr sz="1500">
                <a:solidFill>
                  <a:schemeClr val="bg1">
                    <a:lumMod val="65000"/>
                  </a:schemeClr>
                </a:solidFill>
              </a:defRPr>
            </a:lvl1pPr>
          </a:lstStyle>
          <a:p>
            <a:endParaRPr 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showMasterSp="0" userDrawn="1">
  <p:cSld name="42_Title Only">
    <p:spTree>
      <p:nvGrpSpPr>
        <p:cNvPr id="1" name=""/>
        <p:cNvGrpSpPr/>
        <p:nvPr/>
      </p:nvGrpSpPr>
      <p:grpSpPr>
        <a:xfrm>
          <a:off x="0" y="0"/>
          <a:ext cx="0" cy="0"/>
          <a:chOff x="0" y="0"/>
          <a:chExt cx="0" cy="0"/>
        </a:xfrm>
      </p:grpSpPr>
      <p:sp>
        <p:nvSpPr>
          <p:cNvPr id="19" name="Picture Placeholder 18"/>
          <p:cNvSpPr>
            <a:spLocks noGrp="1"/>
          </p:cNvSpPr>
          <p:nvPr>
            <p:ph type="pic" sz="quarter" idx="14"/>
          </p:nvPr>
        </p:nvSpPr>
        <p:spPr>
          <a:xfrm>
            <a:off x="1315217" y="825870"/>
            <a:ext cx="1704503" cy="3656861"/>
          </a:xfrm>
          <a:custGeom>
            <a:avLst/>
            <a:gdLst>
              <a:gd name="connsiteX0" fmla="*/ 315379 w 2272671"/>
              <a:gd name="connsiteY0" fmla="*/ 0 h 4875814"/>
              <a:gd name="connsiteX1" fmla="*/ 1957292 w 2272671"/>
              <a:gd name="connsiteY1" fmla="*/ 0 h 4875814"/>
              <a:gd name="connsiteX2" fmla="*/ 2272671 w 2272671"/>
              <a:gd name="connsiteY2" fmla="*/ 315379 h 4875814"/>
              <a:gd name="connsiteX3" fmla="*/ 2272671 w 2272671"/>
              <a:gd name="connsiteY3" fmla="*/ 4560435 h 4875814"/>
              <a:gd name="connsiteX4" fmla="*/ 1957292 w 2272671"/>
              <a:gd name="connsiteY4" fmla="*/ 4875814 h 4875814"/>
              <a:gd name="connsiteX5" fmla="*/ 315379 w 2272671"/>
              <a:gd name="connsiteY5" fmla="*/ 4875814 h 4875814"/>
              <a:gd name="connsiteX6" fmla="*/ 0 w 2272671"/>
              <a:gd name="connsiteY6" fmla="*/ 4560435 h 4875814"/>
              <a:gd name="connsiteX7" fmla="*/ 0 w 2272671"/>
              <a:gd name="connsiteY7" fmla="*/ 315379 h 4875814"/>
              <a:gd name="connsiteX8" fmla="*/ 315379 w 2272671"/>
              <a:gd name="connsiteY8" fmla="*/ 0 h 4875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2671" h="4875814">
                <a:moveTo>
                  <a:pt x="315379" y="0"/>
                </a:moveTo>
                <a:lnTo>
                  <a:pt x="1957292" y="0"/>
                </a:lnTo>
                <a:cubicBezTo>
                  <a:pt x="2131471" y="0"/>
                  <a:pt x="2272671" y="141200"/>
                  <a:pt x="2272671" y="315379"/>
                </a:cubicBezTo>
                <a:lnTo>
                  <a:pt x="2272671" y="4560435"/>
                </a:lnTo>
                <a:cubicBezTo>
                  <a:pt x="2272671" y="4734614"/>
                  <a:pt x="2131471" y="4875814"/>
                  <a:pt x="1957292" y="4875814"/>
                </a:cubicBezTo>
                <a:lnTo>
                  <a:pt x="315379" y="4875814"/>
                </a:lnTo>
                <a:cubicBezTo>
                  <a:pt x="141200" y="4875814"/>
                  <a:pt x="0" y="4734614"/>
                  <a:pt x="0" y="4560435"/>
                </a:cubicBezTo>
                <a:lnTo>
                  <a:pt x="0" y="315379"/>
                </a:lnTo>
                <a:cubicBezTo>
                  <a:pt x="0" y="141200"/>
                  <a:pt x="141200" y="0"/>
                  <a:pt x="315379" y="0"/>
                </a:cubicBezTo>
                <a:close/>
              </a:path>
            </a:pathLst>
          </a:custGeom>
        </p:spPr>
        <p:txBody>
          <a:bodyPr wrap="square">
            <a:no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grpSp>
        <p:nvGrpSpPr>
          <p:cNvPr id="17" name="Group 16"/>
          <p:cNvGrpSpPr/>
          <p:nvPr userDrawn="1"/>
        </p:nvGrpSpPr>
        <p:grpSpPr>
          <a:xfrm flipH="1">
            <a:off x="4123097" y="-105903"/>
            <a:ext cx="897807" cy="379747"/>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showMasterSp="0" userDrawn="1">
  <p:cSld name="41_Title Only">
    <p:spTree>
      <p:nvGrpSpPr>
        <p:cNvPr id="1" name=""/>
        <p:cNvGrpSpPr/>
        <p:nvPr/>
      </p:nvGrpSpPr>
      <p:grpSpPr>
        <a:xfrm>
          <a:off x="0" y="0"/>
          <a:ext cx="0" cy="0"/>
          <a:chOff x="0" y="0"/>
          <a:chExt cx="0" cy="0"/>
        </a:xfrm>
      </p:grpSpPr>
      <p:sp>
        <p:nvSpPr>
          <p:cNvPr id="19" name="Picture Placeholder 18"/>
          <p:cNvSpPr>
            <a:spLocks noGrp="1"/>
          </p:cNvSpPr>
          <p:nvPr>
            <p:ph type="pic" sz="quarter" idx="14"/>
          </p:nvPr>
        </p:nvSpPr>
        <p:spPr>
          <a:xfrm>
            <a:off x="6589186" y="965201"/>
            <a:ext cx="1537262" cy="3201035"/>
          </a:xfrm>
          <a:custGeom>
            <a:avLst/>
            <a:gdLst>
              <a:gd name="connsiteX0" fmla="*/ 6365 w 2049682"/>
              <a:gd name="connsiteY0" fmla="*/ 0 h 4268047"/>
              <a:gd name="connsiteX1" fmla="*/ 2011489 w 2049682"/>
              <a:gd name="connsiteY1" fmla="*/ 160198 h 4268047"/>
              <a:gd name="connsiteX2" fmla="*/ 2049682 w 2049682"/>
              <a:gd name="connsiteY2" fmla="*/ 4204393 h 4268047"/>
              <a:gd name="connsiteX3" fmla="*/ 0 w 2049682"/>
              <a:gd name="connsiteY3" fmla="*/ 4268047 h 4268047"/>
            </a:gdLst>
            <a:ahLst/>
            <a:cxnLst>
              <a:cxn ang="0">
                <a:pos x="connsiteX0" y="connsiteY0"/>
              </a:cxn>
              <a:cxn ang="0">
                <a:pos x="connsiteX1" y="connsiteY1"/>
              </a:cxn>
              <a:cxn ang="0">
                <a:pos x="connsiteX2" y="connsiteY2"/>
              </a:cxn>
              <a:cxn ang="0">
                <a:pos x="connsiteX3" y="connsiteY3"/>
              </a:cxn>
            </a:cxnLst>
            <a:rect l="l" t="t" r="r" b="b"/>
            <a:pathLst>
              <a:path w="2049682" h="4268047">
                <a:moveTo>
                  <a:pt x="6365" y="0"/>
                </a:moveTo>
                <a:lnTo>
                  <a:pt x="2011489" y="160198"/>
                </a:lnTo>
                <a:lnTo>
                  <a:pt x="2049682" y="4204393"/>
                </a:lnTo>
                <a:lnTo>
                  <a:pt x="0" y="4268047"/>
                </a:lnTo>
                <a:close/>
              </a:path>
            </a:pathLst>
          </a:custGeom>
        </p:spPr>
        <p:txBody>
          <a:bodyPr wrap="square">
            <a:no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grpSp>
        <p:nvGrpSpPr>
          <p:cNvPr id="17" name="Group 16"/>
          <p:cNvGrpSpPr/>
          <p:nvPr userDrawn="1"/>
        </p:nvGrpSpPr>
        <p:grpSpPr>
          <a:xfrm flipH="1">
            <a:off x="4123097" y="-105903"/>
            <a:ext cx="897807" cy="379747"/>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showMasterSp="0" userDrawn="1">
  <p:cSld name="40_Title Only">
    <p:spTree>
      <p:nvGrpSpPr>
        <p:cNvPr id="1" name=""/>
        <p:cNvGrpSpPr/>
        <p:nvPr/>
      </p:nvGrpSpPr>
      <p:grpSpPr>
        <a:xfrm>
          <a:off x="0" y="0"/>
          <a:ext cx="0" cy="0"/>
          <a:chOff x="0" y="0"/>
          <a:chExt cx="0" cy="0"/>
        </a:xfrm>
      </p:grpSpPr>
      <p:sp>
        <p:nvSpPr>
          <p:cNvPr id="19" name="Picture Placeholder 5"/>
          <p:cNvSpPr>
            <a:spLocks noGrp="1"/>
          </p:cNvSpPr>
          <p:nvPr>
            <p:ph type="pic" sz="quarter" idx="14"/>
          </p:nvPr>
        </p:nvSpPr>
        <p:spPr>
          <a:xfrm>
            <a:off x="0" y="0"/>
            <a:ext cx="9144000" cy="4581525"/>
          </a:xfrm>
        </p:spPr>
        <p:txBody>
          <a:bodyPr>
            <a:normAutofit/>
          </a:bodyPr>
          <a:lstStyle>
            <a:lvl1pPr marL="0" indent="0">
              <a:buNone/>
              <a:defRPr sz="1500">
                <a:solidFill>
                  <a:schemeClr val="bg1">
                    <a:lumMod val="65000"/>
                  </a:schemeClr>
                </a:solidFill>
              </a:defRPr>
            </a:lvl1pPr>
          </a:lstStyle>
          <a:p>
            <a:endParaRPr lang="en-US"/>
          </a:p>
        </p:txBody>
      </p:sp>
      <p:sp>
        <p:nvSpPr>
          <p:cNvPr id="20" name="Picture Placeholder 5"/>
          <p:cNvSpPr>
            <a:spLocks noGrp="1"/>
          </p:cNvSpPr>
          <p:nvPr>
            <p:ph type="pic" sz="quarter" idx="15"/>
          </p:nvPr>
        </p:nvSpPr>
        <p:spPr>
          <a:xfrm>
            <a:off x="2110658" y="561975"/>
            <a:ext cx="1792130" cy="3804843"/>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grpSp>
        <p:nvGrpSpPr>
          <p:cNvPr id="17" name="Group 16"/>
          <p:cNvGrpSpPr/>
          <p:nvPr userDrawn="1"/>
        </p:nvGrpSpPr>
        <p:grpSpPr>
          <a:xfrm flipH="1">
            <a:off x="4123097" y="-105903"/>
            <a:ext cx="897807" cy="379747"/>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showMasterSp="0" userDrawn="1">
  <p:cSld name="39_Title Only">
    <p:spTree>
      <p:nvGrpSpPr>
        <p:cNvPr id="1" name=""/>
        <p:cNvGrpSpPr/>
        <p:nvPr/>
      </p:nvGrpSpPr>
      <p:grpSpPr>
        <a:xfrm>
          <a:off x="0" y="0"/>
          <a:ext cx="0" cy="0"/>
          <a:chOff x="0" y="0"/>
          <a:chExt cx="0" cy="0"/>
        </a:xfrm>
      </p:grpSpPr>
      <p:sp>
        <p:nvSpPr>
          <p:cNvPr id="19" name="Picture Placeholder 18"/>
          <p:cNvSpPr>
            <a:spLocks noGrp="1"/>
          </p:cNvSpPr>
          <p:nvPr>
            <p:ph type="pic" sz="quarter" idx="14"/>
          </p:nvPr>
        </p:nvSpPr>
        <p:spPr>
          <a:xfrm>
            <a:off x="4487371" y="1372935"/>
            <a:ext cx="3456731" cy="2701003"/>
          </a:xfrm>
          <a:custGeom>
            <a:avLst/>
            <a:gdLst>
              <a:gd name="connsiteX0" fmla="*/ 4378555 w 4608975"/>
              <a:gd name="connsiteY0" fmla="*/ 0 h 3601337"/>
              <a:gd name="connsiteX1" fmla="*/ 4608975 w 4608975"/>
              <a:gd name="connsiteY1" fmla="*/ 3295159 h 3601337"/>
              <a:gd name="connsiteX2" fmla="*/ 230420 w 4608975"/>
              <a:gd name="connsiteY2" fmla="*/ 3601337 h 3601337"/>
              <a:gd name="connsiteX3" fmla="*/ 0 w 4608975"/>
              <a:gd name="connsiteY3" fmla="*/ 306179 h 3601337"/>
            </a:gdLst>
            <a:ahLst/>
            <a:cxnLst>
              <a:cxn ang="0">
                <a:pos x="connsiteX0" y="connsiteY0"/>
              </a:cxn>
              <a:cxn ang="0">
                <a:pos x="connsiteX1" y="connsiteY1"/>
              </a:cxn>
              <a:cxn ang="0">
                <a:pos x="connsiteX2" y="connsiteY2"/>
              </a:cxn>
              <a:cxn ang="0">
                <a:pos x="connsiteX3" y="connsiteY3"/>
              </a:cxn>
            </a:cxnLst>
            <a:rect l="l" t="t" r="r" b="b"/>
            <a:pathLst>
              <a:path w="4608975" h="3601337">
                <a:moveTo>
                  <a:pt x="4378555" y="0"/>
                </a:moveTo>
                <a:lnTo>
                  <a:pt x="4608975" y="3295159"/>
                </a:lnTo>
                <a:lnTo>
                  <a:pt x="230420" y="3601337"/>
                </a:lnTo>
                <a:lnTo>
                  <a:pt x="0" y="306179"/>
                </a:lnTo>
                <a:close/>
              </a:path>
            </a:pathLst>
          </a:custGeom>
        </p:spPr>
        <p:txBody>
          <a:bodyPr wrap="square">
            <a:no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grpSp>
        <p:nvGrpSpPr>
          <p:cNvPr id="17" name="Group 16"/>
          <p:cNvGrpSpPr/>
          <p:nvPr userDrawn="1"/>
        </p:nvGrpSpPr>
        <p:grpSpPr>
          <a:xfrm flipH="1">
            <a:off x="4123097" y="-105903"/>
            <a:ext cx="897807" cy="379747"/>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showMasterSp="0" userDrawn="1">
  <p:cSld name="37_Title Only">
    <p:spTree>
      <p:nvGrpSpPr>
        <p:cNvPr id="1" name=""/>
        <p:cNvGrpSpPr/>
        <p:nvPr/>
      </p:nvGrpSpPr>
      <p:grpSpPr>
        <a:xfrm>
          <a:off x="0" y="0"/>
          <a:ext cx="0" cy="0"/>
          <a:chOff x="0" y="0"/>
          <a:chExt cx="0" cy="0"/>
        </a:xfrm>
      </p:grpSpPr>
      <p:pic>
        <p:nvPicPr>
          <p:cNvPr id="11" name="Picture Placeholder 3"/>
          <p:cNvPicPr>
            <a:picLocks noChangeAspect="1"/>
          </p:cNvPicPr>
          <p:nvPr userDrawn="1"/>
        </p:nvPicPr>
        <p:blipFill>
          <a:blip r:embed="rId2">
            <a:extLst>
              <a:ext uri="{BEBA8EAE-BF5A-486C-A8C5-ECC9F3942E4B}">
                <a14:imgProps xmlns:a14="http://schemas.microsoft.com/office/drawing/2010/main">
                  <a14:imgLayer r:embed="rId3">
                    <a14:imgEffect>
                      <a14:brightnessContrast bright="-29000"/>
                    </a14:imgEffect>
                    <a14:imgEffect>
                      <a14:colorTemperature colorTemp="5900"/>
                    </a14:imgEffect>
                    <a14:imgEffect>
                      <a14:saturation sat="66000"/>
                    </a14:imgEffect>
                  </a14:imgLayer>
                </a14:imgProps>
              </a:ext>
              <a:ext uri="{28A0092B-C50C-407E-A947-70E740481C1C}">
                <a14:useLocalDpi xmlns:a14="http://schemas.microsoft.com/office/drawing/2010/main" val="0"/>
              </a:ext>
            </a:extLst>
          </a:blip>
          <a:srcRect t="9714" b="9714"/>
          <a:stretch>
            <a:fillRect/>
          </a:stretch>
        </p:blipFill>
        <p:spPr>
          <a:xfrm>
            <a:off x="0" y="3567319"/>
            <a:ext cx="9144000" cy="1576181"/>
          </a:xfrm>
          <a:prstGeom prst="rect">
            <a:avLst/>
          </a:prstGeom>
          <a:solidFill>
            <a:schemeClr val="tx1">
              <a:lumMod val="75000"/>
              <a:lumOff val="25000"/>
            </a:schemeClr>
          </a:solidFill>
        </p:spPr>
      </p:pic>
      <p:sp>
        <p:nvSpPr>
          <p:cNvPr id="20" name="Picture Placeholder 5"/>
          <p:cNvSpPr>
            <a:spLocks noGrp="1"/>
          </p:cNvSpPr>
          <p:nvPr>
            <p:ph type="pic" sz="quarter" idx="14"/>
          </p:nvPr>
        </p:nvSpPr>
        <p:spPr>
          <a:xfrm>
            <a:off x="3199614" y="1536454"/>
            <a:ext cx="2779250" cy="1562483"/>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4"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grpSp>
        <p:nvGrpSpPr>
          <p:cNvPr id="17" name="Group 16"/>
          <p:cNvGrpSpPr/>
          <p:nvPr userDrawn="1"/>
        </p:nvGrpSpPr>
        <p:grpSpPr>
          <a:xfrm flipH="1">
            <a:off x="4123097" y="-105903"/>
            <a:ext cx="897807" cy="379747"/>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showMasterSp="0" userDrawn="1">
  <p:cSld name="7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1207086"/>
            <a:ext cx="3048000" cy="3390901"/>
          </a:xfrm>
        </p:spPr>
        <p:txBody>
          <a:bodyPr>
            <a:normAutofit/>
          </a:bodyPr>
          <a:lstStyle>
            <a:lvl1pPr marL="0" indent="0">
              <a:buNone/>
              <a:defRPr sz="1500">
                <a:solidFill>
                  <a:schemeClr val="bg1">
                    <a:lumMod val="65000"/>
                  </a:schemeClr>
                </a:solidFill>
              </a:defRPr>
            </a:lvl1pPr>
          </a:lstStyle>
          <a:p>
            <a:endParaRPr lang="en-US"/>
          </a:p>
        </p:txBody>
      </p:sp>
      <p:sp>
        <p:nvSpPr>
          <p:cNvPr id="20" name="Picture Placeholder 5"/>
          <p:cNvSpPr>
            <a:spLocks noGrp="1"/>
          </p:cNvSpPr>
          <p:nvPr>
            <p:ph type="pic" sz="quarter" idx="14"/>
          </p:nvPr>
        </p:nvSpPr>
        <p:spPr>
          <a:xfrm>
            <a:off x="3048000" y="1207086"/>
            <a:ext cx="3048000" cy="3390901"/>
          </a:xfrm>
        </p:spPr>
        <p:txBody>
          <a:bodyPr>
            <a:normAutofit/>
          </a:bodyPr>
          <a:lstStyle>
            <a:lvl1pPr marL="0" indent="0">
              <a:buNone/>
              <a:defRPr sz="1500">
                <a:solidFill>
                  <a:schemeClr val="bg1">
                    <a:lumMod val="65000"/>
                  </a:schemeClr>
                </a:solidFill>
              </a:defRPr>
            </a:lvl1pPr>
          </a:lstStyle>
          <a:p>
            <a:endParaRPr lang="en-US"/>
          </a:p>
        </p:txBody>
      </p:sp>
      <p:sp>
        <p:nvSpPr>
          <p:cNvPr id="22" name="Picture Placeholder 5"/>
          <p:cNvSpPr>
            <a:spLocks noGrp="1"/>
          </p:cNvSpPr>
          <p:nvPr>
            <p:ph type="pic" sz="quarter" idx="15"/>
          </p:nvPr>
        </p:nvSpPr>
        <p:spPr>
          <a:xfrm>
            <a:off x="6096000" y="1207086"/>
            <a:ext cx="3048000" cy="3390901"/>
          </a:xfrm>
        </p:spPr>
        <p:txBody>
          <a:bodyPr>
            <a:normAutofit/>
          </a:bodyPr>
          <a:lstStyle>
            <a:lvl1pPr marL="0" indent="0">
              <a:buNone/>
              <a:defRPr sz="15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grpSp>
        <p:nvGrpSpPr>
          <p:cNvPr id="17" name="Group 16"/>
          <p:cNvGrpSpPr/>
          <p:nvPr userDrawn="1"/>
        </p:nvGrpSpPr>
        <p:grpSpPr>
          <a:xfrm flipH="1">
            <a:off x="4123097" y="-105903"/>
            <a:ext cx="897807" cy="379747"/>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showMasterSp="0" userDrawn="1">
  <p:cSld name="6_Title Only">
    <p:spTree>
      <p:nvGrpSpPr>
        <p:cNvPr id="1" name=""/>
        <p:cNvGrpSpPr/>
        <p:nvPr/>
      </p:nvGrpSpPr>
      <p:grpSpPr>
        <a:xfrm>
          <a:off x="0" y="0"/>
          <a:ext cx="0" cy="0"/>
          <a:chOff x="0" y="0"/>
          <a:chExt cx="0" cy="0"/>
        </a:xfrm>
      </p:grpSpPr>
      <p:sp>
        <p:nvSpPr>
          <p:cNvPr id="12" name="Content Placeholder 2"/>
          <p:cNvSpPr>
            <a:spLocks noGrp="1"/>
          </p:cNvSpPr>
          <p:nvPr>
            <p:ph idx="1"/>
          </p:nvPr>
        </p:nvSpPr>
        <p:spPr>
          <a:xfrm>
            <a:off x="331645" y="1372088"/>
            <a:ext cx="8480712" cy="3005224"/>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2" name="Title 1"/>
          <p:cNvSpPr>
            <a:spLocks noGrp="1"/>
          </p:cNvSpPr>
          <p:nvPr>
            <p:ph type="title"/>
          </p:nvPr>
        </p:nvSpPr>
        <p:spPr/>
        <p:txBody>
          <a:bodyPr/>
          <a:lstStyle>
            <a:lvl1pPr algn="ctr">
              <a:defRPr/>
            </a:lvl1pPr>
          </a:lstStyle>
          <a:p>
            <a:r>
              <a:rPr lang="en-US"/>
              <a:t>Click to edit Master title style</a:t>
            </a:r>
            <a:endParaRPr lang="en-US"/>
          </a:p>
        </p:txBody>
      </p:sp>
      <p:sp>
        <p:nvSpPr>
          <p:cNvPr id="5" name="Slide Number Placeholder 4"/>
          <p:cNvSpPr>
            <a:spLocks noGrp="1"/>
          </p:cNvSpPr>
          <p:nvPr>
            <p:ph type="sldNum" sz="quarter" idx="12"/>
          </p:nvPr>
        </p:nvSpPr>
        <p:spPr>
          <a:xfrm>
            <a:off x="7967695" y="4820252"/>
            <a:ext cx="322184" cy="105579"/>
          </a:xfrm>
          <a:prstGeom prst="rect">
            <a:avLst/>
          </a:prstGeo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8264165" y="4822887"/>
            <a:ext cx="710005" cy="119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Rectangle 10"/>
          <p:cNvSpPr>
            <a:spLocks noChangeArrowheads="1"/>
          </p:cNvSpPr>
          <p:nvPr userDrawn="1"/>
        </p:nvSpPr>
        <p:spPr bwMode="auto">
          <a:xfrm>
            <a:off x="6579834" y="4822887"/>
            <a:ext cx="1365175" cy="107209"/>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750" dirty="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15" name="Straight Connector 14"/>
          <p:cNvCxnSpPr/>
          <p:nvPr userDrawn="1"/>
        </p:nvCxnSpPr>
        <p:spPr>
          <a:xfrm>
            <a:off x="7956351" y="4820252"/>
            <a:ext cx="0" cy="1267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9576" t="11182" r="6300" b="25241"/>
          <a:stretch>
            <a:fillRect/>
          </a:stretch>
        </p:blipFill>
        <p:spPr>
          <a:xfrm>
            <a:off x="8249246" y="4623792"/>
            <a:ext cx="725090" cy="171450"/>
          </a:xfrm>
          <a:prstGeom prst="rect">
            <a:avLst/>
          </a:prstGeom>
        </p:spPr>
      </p:pic>
      <p:grpSp>
        <p:nvGrpSpPr>
          <p:cNvPr id="17" name="Group 16"/>
          <p:cNvGrpSpPr/>
          <p:nvPr userDrawn="1"/>
        </p:nvGrpSpPr>
        <p:grpSpPr>
          <a:xfrm flipH="1">
            <a:off x="4123097" y="-105903"/>
            <a:ext cx="897807" cy="379747"/>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showMasterSp="0" userDrawn="1">
  <p:cSld name="14_Blank">
    <p:spTree>
      <p:nvGrpSpPr>
        <p:cNvPr id="1" name=""/>
        <p:cNvGrpSpPr/>
        <p:nvPr/>
      </p:nvGrpSpPr>
      <p:grpSpPr>
        <a:xfrm>
          <a:off x="0" y="0"/>
          <a:ext cx="0" cy="0"/>
          <a:chOff x="0" y="0"/>
          <a:chExt cx="0" cy="0"/>
        </a:xfrm>
      </p:grpSpPr>
      <p:sp>
        <p:nvSpPr>
          <p:cNvPr id="5" name="Picture Placeholder 5"/>
          <p:cNvSpPr>
            <a:spLocks noGrp="1"/>
          </p:cNvSpPr>
          <p:nvPr>
            <p:ph type="pic" sz="quarter" idx="13"/>
          </p:nvPr>
        </p:nvSpPr>
        <p:spPr>
          <a:xfrm>
            <a:off x="1" y="0"/>
            <a:ext cx="9144000" cy="3886200"/>
          </a:xfrm>
        </p:spPr>
        <p:txBody>
          <a:bodyPr>
            <a:normAutofit/>
          </a:bodyPr>
          <a:lstStyle>
            <a:lvl1pPr marL="0" indent="0">
              <a:buNone/>
              <a:defRPr sz="1500">
                <a:solidFill>
                  <a:schemeClr val="bg1">
                    <a:lumMod val="65000"/>
                  </a:schemeClr>
                </a:solidFill>
              </a:defRPr>
            </a:lvl1p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endParaRPr lang="zh-CN" altLang="en-US" smtClean="0"/>
          </a:p>
        </p:txBody>
      </p:sp>
      <p:sp>
        <p:nvSpPr>
          <p:cNvPr id="5" name="Date Placeholder 4"/>
          <p:cNvSpPr>
            <a:spLocks noGrp="1"/>
          </p:cNvSpPr>
          <p:nvPr>
            <p:ph type="dt" sz="half" idx="10"/>
          </p:nvPr>
        </p:nvSpPr>
        <p:spPr/>
        <p:txBody>
          <a:bodyPr/>
          <a:lstStyle/>
          <a:p>
            <a:fld id="{C764DE79-268F-4C1A-8933-263129D2AF90}" type="datetimeFigureOut">
              <a:rPr lang="en-US" dirty="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pPr algn="ctr"/>
            <a:fld id="{75F62417-4A12-46BB-B530-A96D3E44AFD3}" type="slidenum">
              <a:rPr lang="en-US" smtClean="0"/>
            </a:fld>
            <a:endParaRPr lang="en-US" dirty="0"/>
          </a:p>
        </p:txBody>
      </p:sp>
    </p:spTree>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showMasterSp="0" userDrawn="1">
  <p:cSld name="13_Blank">
    <p:spTree>
      <p:nvGrpSpPr>
        <p:cNvPr id="1" name=""/>
        <p:cNvGrpSpPr/>
        <p:nvPr/>
      </p:nvGrpSpPr>
      <p:grpSpPr>
        <a:xfrm>
          <a:off x="0" y="0"/>
          <a:ext cx="0" cy="0"/>
          <a:chOff x="0" y="0"/>
          <a:chExt cx="0" cy="0"/>
        </a:xfrm>
      </p:grpSpPr>
      <p:sp>
        <p:nvSpPr>
          <p:cNvPr id="5" name="Picture Placeholder 5"/>
          <p:cNvSpPr>
            <a:spLocks noGrp="1"/>
          </p:cNvSpPr>
          <p:nvPr>
            <p:ph type="pic" sz="quarter" idx="13"/>
          </p:nvPr>
        </p:nvSpPr>
        <p:spPr>
          <a:xfrm>
            <a:off x="6157366" y="0"/>
            <a:ext cx="2986634" cy="5143500"/>
          </a:xfrm>
        </p:spPr>
        <p:txBody>
          <a:bodyPr>
            <a:normAutofit/>
          </a:bodyPr>
          <a:lstStyle>
            <a:lvl1pPr marL="0" indent="0">
              <a:buNone/>
              <a:defRPr sz="1500">
                <a:solidFill>
                  <a:schemeClr val="bg1">
                    <a:lumMod val="65000"/>
                  </a:schemeClr>
                </a:solidFill>
              </a:defRPr>
            </a:lvl1p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showMasterSp="0" userDrawn="1">
  <p:cSld name="10_Blank">
    <p:spTree>
      <p:nvGrpSpPr>
        <p:cNvPr id="1" name=""/>
        <p:cNvGrpSpPr/>
        <p:nvPr/>
      </p:nvGrpSpPr>
      <p:grpSpPr>
        <a:xfrm>
          <a:off x="0" y="0"/>
          <a:ext cx="0" cy="0"/>
          <a:chOff x="0" y="0"/>
          <a:chExt cx="0" cy="0"/>
        </a:xfrm>
      </p:grpSpPr>
      <p:sp>
        <p:nvSpPr>
          <p:cNvPr id="5" name="Picture Placeholder 5"/>
          <p:cNvSpPr>
            <a:spLocks noGrp="1"/>
          </p:cNvSpPr>
          <p:nvPr>
            <p:ph type="pic" sz="quarter" idx="14"/>
          </p:nvPr>
        </p:nvSpPr>
        <p:spPr>
          <a:xfrm>
            <a:off x="3008842" y="0"/>
            <a:ext cx="6135158" cy="5143500"/>
          </a:xfrm>
        </p:spPr>
        <p:txBody>
          <a:bodyPr>
            <a:normAutofit/>
          </a:bodyPr>
          <a:lstStyle>
            <a:lvl1pPr marL="0" indent="0">
              <a:buNone/>
              <a:defRPr sz="1500">
                <a:solidFill>
                  <a:schemeClr val="bg1">
                    <a:lumMod val="65000"/>
                  </a:schemeClr>
                </a:solidFill>
              </a:defRPr>
            </a:lvl1p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showMasterSp="0" userDrawn="1">
  <p:cSld name="8_Blank">
    <p:spTree>
      <p:nvGrpSpPr>
        <p:cNvPr id="1" name=""/>
        <p:cNvGrpSpPr/>
        <p:nvPr/>
      </p:nvGrpSpPr>
      <p:grpSpPr>
        <a:xfrm>
          <a:off x="0" y="0"/>
          <a:ext cx="0" cy="0"/>
          <a:chOff x="0" y="0"/>
          <a:chExt cx="0" cy="0"/>
        </a:xfrm>
      </p:grpSpPr>
      <p:sp>
        <p:nvSpPr>
          <p:cNvPr id="8" name="Content Placeholder 2"/>
          <p:cNvSpPr>
            <a:spLocks noGrp="1"/>
          </p:cNvSpPr>
          <p:nvPr>
            <p:ph idx="1"/>
          </p:nvPr>
        </p:nvSpPr>
        <p:spPr>
          <a:xfrm>
            <a:off x="4210051" y="0"/>
            <a:ext cx="4933949" cy="514350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grpSp>
        <p:nvGrpSpPr>
          <p:cNvPr id="5" name="Group 4"/>
          <p:cNvGrpSpPr/>
          <p:nvPr userDrawn="1"/>
        </p:nvGrpSpPr>
        <p:grpSpPr>
          <a:xfrm rot="17100000">
            <a:off x="-12560" y="-1409941"/>
            <a:ext cx="2236867" cy="2481000"/>
            <a:chOff x="5572978" y="-198137"/>
            <a:chExt cx="1060705" cy="1797350"/>
          </a:xfrm>
        </p:grpSpPr>
        <p:sp>
          <p:nvSpPr>
            <p:cNvPr id="6" name="Isosceles Triangle 5"/>
            <p:cNvSpPr/>
            <p:nvPr/>
          </p:nvSpPr>
          <p:spPr>
            <a:xfrm rot="753665" flipV="1">
              <a:off x="5572979" y="-79160"/>
              <a:ext cx="1060704" cy="1678373"/>
            </a:xfrm>
            <a:prstGeom prst="triangle">
              <a:avLst/>
            </a:prstGeom>
            <a:solidFill>
              <a:schemeClr val="accent3">
                <a:alpha val="52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7" name="Isosceles Triangle 6"/>
            <p:cNvSpPr/>
            <p:nvPr/>
          </p:nvSpPr>
          <p:spPr>
            <a:xfrm rot="19800000" flipH="1" flipV="1">
              <a:off x="5572978" y="-198137"/>
              <a:ext cx="1060704" cy="1678373"/>
            </a:xfrm>
            <a:prstGeom prst="triangle">
              <a:avLst/>
            </a:pr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gr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showMasterSp="0" userDrawn="1">
  <p:cSld name="7_Blank">
    <p:spTree>
      <p:nvGrpSpPr>
        <p:cNvPr id="1" name=""/>
        <p:cNvGrpSpPr/>
        <p:nvPr/>
      </p:nvGrpSpPr>
      <p:grpSpPr>
        <a:xfrm>
          <a:off x="0" y="0"/>
          <a:ext cx="0" cy="0"/>
          <a:chOff x="0" y="0"/>
          <a:chExt cx="0" cy="0"/>
        </a:xfrm>
      </p:grpSpPr>
      <p:sp>
        <p:nvSpPr>
          <p:cNvPr id="5" name="Content Placeholder 2"/>
          <p:cNvSpPr>
            <a:spLocks noGrp="1"/>
          </p:cNvSpPr>
          <p:nvPr>
            <p:ph idx="1"/>
          </p:nvPr>
        </p:nvSpPr>
        <p:spPr>
          <a:xfrm>
            <a:off x="1933576" y="0"/>
            <a:ext cx="7210424" cy="514350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showMasterSp="0" userDrawn="1">
  <p:cSld name="4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
        <p:nvSpPr>
          <p:cNvPr id="3" name="Rectangle 2"/>
          <p:cNvSpPr/>
          <p:nvPr userDrawn="1"/>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grpSp>
        <p:nvGrpSpPr>
          <p:cNvPr id="5" name="Group 4"/>
          <p:cNvGrpSpPr/>
          <p:nvPr userDrawn="1"/>
        </p:nvGrpSpPr>
        <p:grpSpPr>
          <a:xfrm>
            <a:off x="-219707" y="-279048"/>
            <a:ext cx="3105782" cy="1313657"/>
            <a:chOff x="-110315" y="-141204"/>
            <a:chExt cx="1656388" cy="700605"/>
          </a:xfrm>
        </p:grpSpPr>
        <p:sp>
          <p:nvSpPr>
            <p:cNvPr id="6" name="Freeform 5"/>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1">
                <a:lumMod val="50000"/>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7" name="Freeform 6"/>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lumMod val="75000"/>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cxnSp>
        <p:nvCxnSpPr>
          <p:cNvPr id="14" name="Straight Connector 13"/>
          <p:cNvCxnSpPr/>
          <p:nvPr userDrawn="1"/>
        </p:nvCxnSpPr>
        <p:spPr>
          <a:xfrm>
            <a:off x="0" y="3200400"/>
            <a:ext cx="4991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userDrawn="1">
            <p:ph type="ctrTitle" hasCustomPrompt="1"/>
          </p:nvPr>
        </p:nvSpPr>
        <p:spPr>
          <a:xfrm>
            <a:off x="1143000" y="1348334"/>
            <a:ext cx="3848100" cy="1790700"/>
          </a:xfrm>
        </p:spPr>
        <p:txBody>
          <a:bodyPr vert="horz" wrap="square" lIns="91416" tIns="45708" rIns="91416" bIns="45708" rtlCol="0" anchor="ctr">
            <a:noAutofit/>
          </a:bodyPr>
          <a:lstStyle>
            <a:lvl1pPr>
              <a:defRPr lang="en-US" sz="5400" kern="1200" spc="-225">
                <a:solidFill>
                  <a:schemeClr val="bg1"/>
                </a:solidFill>
                <a:ea typeface="Roboto" panose="02000000000000000000" pitchFamily="2" charset="0"/>
              </a:defRPr>
            </a:lvl1pPr>
          </a:lstStyle>
          <a:p>
            <a:pPr marL="0" lvl="0"/>
            <a:r>
              <a:rPr lang="en-US" dirty="0"/>
              <a:t>CLICK TO EDIT</a:t>
            </a:r>
            <a:endParaRPr lang="en-US" dirty="0"/>
          </a:p>
        </p:txBody>
      </p:sp>
    </p:spTree>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showMasterSp="0" userDrawn="1">
  <p:cSld name="1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
        <p:nvSpPr>
          <p:cNvPr id="3" name="Rectangle 2"/>
          <p:cNvSpPr/>
          <p:nvPr userDrawn="1"/>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grpSp>
        <p:nvGrpSpPr>
          <p:cNvPr id="9" name="Group 8"/>
          <p:cNvGrpSpPr/>
          <p:nvPr userDrawn="1"/>
        </p:nvGrpSpPr>
        <p:grpSpPr>
          <a:xfrm flipV="1">
            <a:off x="-571980" y="2336041"/>
            <a:ext cx="8348930" cy="3531359"/>
            <a:chOff x="-110315" y="-141204"/>
            <a:chExt cx="1656388" cy="700605"/>
          </a:xfrm>
        </p:grpSpPr>
        <p:sp>
          <p:nvSpPr>
            <p:cNvPr id="10" name="Freeform 9"/>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1">
                <a:lumMod val="50000"/>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11" name="Freeform 1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lumMod val="75000"/>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sp>
        <p:nvSpPr>
          <p:cNvPr id="15" name="Title 1"/>
          <p:cNvSpPr>
            <a:spLocks noGrp="1"/>
          </p:cNvSpPr>
          <p:nvPr userDrawn="1">
            <p:ph type="ctrTitle" hasCustomPrompt="1"/>
          </p:nvPr>
        </p:nvSpPr>
        <p:spPr>
          <a:xfrm>
            <a:off x="1143000" y="1348334"/>
            <a:ext cx="3848100" cy="1790700"/>
          </a:xfrm>
        </p:spPr>
        <p:txBody>
          <a:bodyPr vert="horz" wrap="square" lIns="91416" tIns="45708" rIns="91416" bIns="45708" rtlCol="0" anchor="ctr">
            <a:noAutofit/>
          </a:bodyPr>
          <a:lstStyle>
            <a:lvl1pPr>
              <a:defRPr lang="en-US" sz="5400" kern="1200" spc="-225">
                <a:solidFill>
                  <a:schemeClr val="bg1"/>
                </a:solidFill>
                <a:ea typeface="Roboto" panose="02000000000000000000" pitchFamily="2" charset="0"/>
              </a:defRPr>
            </a:lvl1pPr>
          </a:lstStyle>
          <a:p>
            <a:pPr marL="0" lvl="0"/>
            <a:r>
              <a:rPr lang="en-US" dirty="0"/>
              <a:t>CLICK TO EDIT</a:t>
            </a:r>
            <a:endParaRPr lang="en-US" dirty="0"/>
          </a:p>
        </p:txBody>
      </p:sp>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showMasterSp="0" userDrawn="1">
  <p:cSld name="3_Blank">
    <p:spTree>
      <p:nvGrpSpPr>
        <p:cNvPr id="1" name=""/>
        <p:cNvGrpSpPr/>
        <p:nvPr/>
      </p:nvGrpSpPr>
      <p:grpSpPr>
        <a:xfrm>
          <a:off x="0" y="0"/>
          <a:ext cx="0" cy="0"/>
          <a:chOff x="0" y="0"/>
          <a:chExt cx="0" cy="0"/>
        </a:xfrm>
      </p:grpSpPr>
      <p:sp>
        <p:nvSpPr>
          <p:cNvPr id="9" name="Content Placeholder 2"/>
          <p:cNvSpPr>
            <a:spLocks noGrp="1"/>
          </p:cNvSpPr>
          <p:nvPr>
            <p:ph idx="1"/>
          </p:nvPr>
        </p:nvSpPr>
        <p:spPr>
          <a:xfrm>
            <a:off x="0" y="0"/>
            <a:ext cx="9144000" cy="514350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
        <p:nvSpPr>
          <p:cNvPr id="5" name="Freeform 4"/>
          <p:cNvSpPr/>
          <p:nvPr userDrawn="1"/>
        </p:nvSpPr>
        <p:spPr>
          <a:xfrm flipH="1">
            <a:off x="-1" y="0"/>
            <a:ext cx="4350321" cy="5143500"/>
          </a:xfrm>
          <a:custGeom>
            <a:avLst/>
            <a:gdLst>
              <a:gd name="connsiteX0" fmla="*/ 6216694 w 6216694"/>
              <a:gd name="connsiteY0" fmla="*/ 0 h 6858000"/>
              <a:gd name="connsiteX1" fmla="*/ 4121942 w 6216694"/>
              <a:gd name="connsiteY1" fmla="*/ 0 h 6858000"/>
              <a:gd name="connsiteX2" fmla="*/ 2162482 w 6216694"/>
              <a:gd name="connsiteY2" fmla="*/ 0 h 6858000"/>
              <a:gd name="connsiteX3" fmla="*/ 1845641 w 6216694"/>
              <a:gd name="connsiteY3" fmla="*/ 0 h 6858000"/>
              <a:gd name="connsiteX4" fmla="*/ 0 w 6216694"/>
              <a:gd name="connsiteY4" fmla="*/ 6858000 h 6858000"/>
              <a:gd name="connsiteX5" fmla="*/ 2162482 w 6216694"/>
              <a:gd name="connsiteY5" fmla="*/ 6858000 h 6858000"/>
              <a:gd name="connsiteX6" fmla="*/ 2276301 w 6216694"/>
              <a:gd name="connsiteY6" fmla="*/ 6858000 h 6858000"/>
              <a:gd name="connsiteX7" fmla="*/ 6216694 w 621669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6694" h="6858000">
                <a:moveTo>
                  <a:pt x="6216694" y="0"/>
                </a:moveTo>
                <a:lnTo>
                  <a:pt x="4121942" y="0"/>
                </a:lnTo>
                <a:lnTo>
                  <a:pt x="2162482" y="0"/>
                </a:lnTo>
                <a:lnTo>
                  <a:pt x="1845641" y="0"/>
                </a:lnTo>
                <a:lnTo>
                  <a:pt x="0" y="6858000"/>
                </a:lnTo>
                <a:lnTo>
                  <a:pt x="2162482" y="6858000"/>
                </a:lnTo>
                <a:lnTo>
                  <a:pt x="2276301" y="6858000"/>
                </a:lnTo>
                <a:lnTo>
                  <a:pt x="6216694"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nvGrpSpPr>
          <p:cNvPr id="6" name="Group 5"/>
          <p:cNvGrpSpPr/>
          <p:nvPr userDrawn="1"/>
        </p:nvGrpSpPr>
        <p:grpSpPr>
          <a:xfrm flipV="1">
            <a:off x="-442526" y="2953104"/>
            <a:ext cx="6491728" cy="2745816"/>
            <a:chOff x="-110315" y="-141204"/>
            <a:chExt cx="1656388" cy="700605"/>
          </a:xfrm>
        </p:grpSpPr>
        <p:sp>
          <p:nvSpPr>
            <p:cNvPr id="7" name="Freeform 6"/>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1">
                <a:lumMod val="50000"/>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sp>
          <p:nvSpPr>
            <p:cNvPr id="8" name="Freeform 7"/>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lumMod val="75000"/>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5"/>
            </a:p>
          </p:txBody>
        </p:sp>
      </p:gr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showMasterSp="0" userDrawn="1">
  <p:cSld name="9_Blank">
    <p:spTree>
      <p:nvGrpSpPr>
        <p:cNvPr id="1" name=""/>
        <p:cNvGrpSpPr/>
        <p:nvPr/>
      </p:nvGrpSpPr>
      <p:grpSpPr>
        <a:xfrm>
          <a:off x="0" y="0"/>
          <a:ext cx="0" cy="0"/>
          <a:chOff x="0" y="0"/>
          <a:chExt cx="0" cy="0"/>
        </a:xfrm>
      </p:grpSpPr>
      <p:sp>
        <p:nvSpPr>
          <p:cNvPr id="9" name="Content Placeholder 2"/>
          <p:cNvSpPr>
            <a:spLocks noGrp="1"/>
          </p:cNvSpPr>
          <p:nvPr>
            <p:ph idx="1"/>
          </p:nvPr>
        </p:nvSpPr>
        <p:spPr>
          <a:xfrm>
            <a:off x="0" y="0"/>
            <a:ext cx="9144000" cy="514350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showMasterSp="0" userDrawn="1">
  <p:cSld name="17_Blank">
    <p:spTree>
      <p:nvGrpSpPr>
        <p:cNvPr id="1" name=""/>
        <p:cNvGrpSpPr/>
        <p:nvPr/>
      </p:nvGrpSpPr>
      <p:grpSpPr>
        <a:xfrm>
          <a:off x="0" y="0"/>
          <a:ext cx="0" cy="0"/>
          <a:chOff x="0" y="0"/>
          <a:chExt cx="0" cy="0"/>
        </a:xfrm>
      </p:grpSpPr>
      <p:sp>
        <p:nvSpPr>
          <p:cNvPr id="6" name="Content Placeholder 2"/>
          <p:cNvSpPr>
            <a:spLocks noGrp="1"/>
          </p:cNvSpPr>
          <p:nvPr>
            <p:ph idx="13"/>
          </p:nvPr>
        </p:nvSpPr>
        <p:spPr>
          <a:xfrm>
            <a:off x="4676635" y="2715454"/>
            <a:ext cx="3705365" cy="1143317"/>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Content Placeholder 2"/>
          <p:cNvSpPr>
            <a:spLocks noGrp="1"/>
          </p:cNvSpPr>
          <p:nvPr>
            <p:ph idx="1"/>
          </p:nvPr>
        </p:nvSpPr>
        <p:spPr>
          <a:xfrm>
            <a:off x="0" y="0"/>
            <a:ext cx="9144000" cy="514350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lvl1pPr algn="ctr">
              <a:defRPr/>
            </a:lvl1pPr>
          </a:lstStyle>
          <a:p>
            <a:fld id="{75F62417-4A12-46BB-B530-A96D3E44AFD3}" type="slidenum">
              <a:rPr lang="en-US" smtClean="0"/>
            </a:fld>
            <a:endParaRPr lang="en-US"/>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endParaRPr lang="zh-CN" altLang="en-US" smtClean="0"/>
          </a:p>
        </p:txBody>
      </p:sp>
      <p:sp>
        <p:nvSpPr>
          <p:cNvPr id="5" name="Date Placeholder 4"/>
          <p:cNvSpPr>
            <a:spLocks noGrp="1"/>
          </p:cNvSpPr>
          <p:nvPr>
            <p:ph type="dt" sz="half" idx="10"/>
          </p:nvPr>
        </p:nvSpPr>
        <p:spPr/>
        <p:txBody>
          <a:bodyPr/>
          <a:lstStyle/>
          <a:p>
            <a:fld id="{C764DE79-268F-4C1A-8933-263129D2AF90}" type="datetimeFigureOut">
              <a:rPr lang="en-US" dirty="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pPr algn="ctr"/>
            <a:fld id="{75F62417-4A12-46BB-B530-A96D3E44AFD3}" type="slidenum">
              <a:rPr lang="en-US" smtClean="0"/>
            </a:fld>
            <a:endParaRPr lang="en-US" dirty="0"/>
          </a:p>
        </p:txBody>
      </p:sp>
    </p:spTree>
  </p:cSld>
  <p:clrMapOvr>
    <a:masterClrMapping/>
  </p:clrMapOvr>
  <p:hf hdr="0" ftr="0" dt="0"/>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9" Type="http://schemas.openxmlformats.org/officeDocument/2006/relationships/theme" Target="../theme/theme1.xml"/><Relationship Id="rId88" Type="http://schemas.openxmlformats.org/officeDocument/2006/relationships/slideLayout" Target="../slideLayouts/slideLayout88.xml"/><Relationship Id="rId87" Type="http://schemas.openxmlformats.org/officeDocument/2006/relationships/slideLayout" Target="../slideLayouts/slideLayout87.xml"/><Relationship Id="rId86" Type="http://schemas.openxmlformats.org/officeDocument/2006/relationships/slideLayout" Target="../slideLayouts/slideLayout86.xml"/><Relationship Id="rId85" Type="http://schemas.openxmlformats.org/officeDocument/2006/relationships/slideLayout" Target="../slideLayouts/slideLayout85.xml"/><Relationship Id="rId84" Type="http://schemas.openxmlformats.org/officeDocument/2006/relationships/slideLayout" Target="../slideLayouts/slideLayout84.xml"/><Relationship Id="rId83" Type="http://schemas.openxmlformats.org/officeDocument/2006/relationships/slideLayout" Target="../slideLayouts/slideLayout83.xml"/><Relationship Id="rId82" Type="http://schemas.openxmlformats.org/officeDocument/2006/relationships/slideLayout" Target="../slideLayouts/slideLayout82.xml"/><Relationship Id="rId81" Type="http://schemas.openxmlformats.org/officeDocument/2006/relationships/slideLayout" Target="../slideLayouts/slideLayout81.xml"/><Relationship Id="rId80" Type="http://schemas.openxmlformats.org/officeDocument/2006/relationships/slideLayout" Target="../slideLayouts/slideLayout80.xml"/><Relationship Id="rId8" Type="http://schemas.openxmlformats.org/officeDocument/2006/relationships/slideLayout" Target="../slideLayouts/slideLayout8.xml"/><Relationship Id="rId79" Type="http://schemas.openxmlformats.org/officeDocument/2006/relationships/slideLayout" Target="../slideLayouts/slideLayout79.xml"/><Relationship Id="rId78" Type="http://schemas.openxmlformats.org/officeDocument/2006/relationships/slideLayout" Target="../slideLayouts/slideLayout78.xml"/><Relationship Id="rId77" Type="http://schemas.openxmlformats.org/officeDocument/2006/relationships/slideLayout" Target="../slideLayouts/slideLayout77.xml"/><Relationship Id="rId76" Type="http://schemas.openxmlformats.org/officeDocument/2006/relationships/slideLayout" Target="../slideLayouts/slideLayout76.xml"/><Relationship Id="rId75" Type="http://schemas.openxmlformats.org/officeDocument/2006/relationships/slideLayout" Target="../slideLayouts/slideLayout75.xml"/><Relationship Id="rId74" Type="http://schemas.openxmlformats.org/officeDocument/2006/relationships/slideLayout" Target="../slideLayouts/slideLayout74.xml"/><Relationship Id="rId73" Type="http://schemas.openxmlformats.org/officeDocument/2006/relationships/slideLayout" Target="../slideLayouts/slideLayout73.xml"/><Relationship Id="rId72" Type="http://schemas.openxmlformats.org/officeDocument/2006/relationships/slideLayout" Target="../slideLayouts/slideLayout72.xml"/><Relationship Id="rId71" Type="http://schemas.openxmlformats.org/officeDocument/2006/relationships/slideLayout" Target="../slideLayouts/slideLayout71.xml"/><Relationship Id="rId70" Type="http://schemas.openxmlformats.org/officeDocument/2006/relationships/slideLayout" Target="../slideLayouts/slideLayout70.xml"/><Relationship Id="rId7" Type="http://schemas.openxmlformats.org/officeDocument/2006/relationships/slideLayout" Target="../slideLayouts/slideLayout7.xml"/><Relationship Id="rId69" Type="http://schemas.openxmlformats.org/officeDocument/2006/relationships/slideLayout" Target="../slideLayouts/slideLayout69.xml"/><Relationship Id="rId68" Type="http://schemas.openxmlformats.org/officeDocument/2006/relationships/slideLayout" Target="../slideLayouts/slideLayout68.xml"/><Relationship Id="rId67" Type="http://schemas.openxmlformats.org/officeDocument/2006/relationships/slideLayout" Target="../slideLayouts/slideLayout67.xml"/><Relationship Id="rId66" Type="http://schemas.openxmlformats.org/officeDocument/2006/relationships/slideLayout" Target="../slideLayouts/slideLayout66.xml"/><Relationship Id="rId65" Type="http://schemas.openxmlformats.org/officeDocument/2006/relationships/slideLayout" Target="../slideLayouts/slideLayout65.xml"/><Relationship Id="rId64" Type="http://schemas.openxmlformats.org/officeDocument/2006/relationships/slideLayout" Target="../slideLayouts/slideLayout64.xml"/><Relationship Id="rId63" Type="http://schemas.openxmlformats.org/officeDocument/2006/relationships/slideLayout" Target="../slideLayouts/slideLayout63.xml"/><Relationship Id="rId62" Type="http://schemas.openxmlformats.org/officeDocument/2006/relationships/slideLayout" Target="../slideLayouts/slideLayout62.xml"/><Relationship Id="rId61" Type="http://schemas.openxmlformats.org/officeDocument/2006/relationships/slideLayout" Target="../slideLayouts/slideLayout61.xml"/><Relationship Id="rId60" Type="http://schemas.openxmlformats.org/officeDocument/2006/relationships/slideLayout" Target="../slideLayouts/slideLayout60.xml"/><Relationship Id="rId6" Type="http://schemas.openxmlformats.org/officeDocument/2006/relationships/slideLayout" Target="../slideLayouts/slideLayout6.xml"/><Relationship Id="rId59" Type="http://schemas.openxmlformats.org/officeDocument/2006/relationships/slideLayout" Target="../slideLayouts/slideLayout59.xml"/><Relationship Id="rId58" Type="http://schemas.openxmlformats.org/officeDocument/2006/relationships/slideLayout" Target="../slideLayouts/slideLayout58.xml"/><Relationship Id="rId57" Type="http://schemas.openxmlformats.org/officeDocument/2006/relationships/slideLayout" Target="../slideLayouts/slideLayout57.xml"/><Relationship Id="rId56" Type="http://schemas.openxmlformats.org/officeDocument/2006/relationships/slideLayout" Target="../slideLayouts/slideLayout56.xml"/><Relationship Id="rId55" Type="http://schemas.openxmlformats.org/officeDocument/2006/relationships/slideLayout" Target="../slideLayouts/slideLayout55.xml"/><Relationship Id="rId54" Type="http://schemas.openxmlformats.org/officeDocument/2006/relationships/slideLayout" Target="../slideLayouts/slideLayout54.xml"/><Relationship Id="rId53" Type="http://schemas.openxmlformats.org/officeDocument/2006/relationships/slideLayout" Target="../slideLayouts/slideLayout53.xml"/><Relationship Id="rId52" Type="http://schemas.openxmlformats.org/officeDocument/2006/relationships/slideLayout" Target="../slideLayouts/slideLayout52.xml"/><Relationship Id="rId51" Type="http://schemas.openxmlformats.org/officeDocument/2006/relationships/slideLayout" Target="../slideLayouts/slideLayout51.xml"/><Relationship Id="rId50" Type="http://schemas.openxmlformats.org/officeDocument/2006/relationships/slideLayout" Target="../slideLayouts/slideLayout50.xml"/><Relationship Id="rId5" Type="http://schemas.openxmlformats.org/officeDocument/2006/relationships/slideLayout" Target="../slideLayouts/slideLayout5.xml"/><Relationship Id="rId49" Type="http://schemas.openxmlformats.org/officeDocument/2006/relationships/slideLayout" Target="../slideLayouts/slideLayout49.xml"/><Relationship Id="rId48" Type="http://schemas.openxmlformats.org/officeDocument/2006/relationships/slideLayout" Target="../slideLayouts/slideLayout48.xml"/><Relationship Id="rId47" Type="http://schemas.openxmlformats.org/officeDocument/2006/relationships/slideLayout" Target="../slideLayouts/slideLayout47.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fld>
            <a:endParaRPr lang="en-US" dirty="0"/>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10" name="Text Placeholder 2"/>
          <p:cNvSpPr>
            <a:spLocks noGrp="1"/>
          </p:cNvSpPr>
          <p:nvPr>
            <p:ph type="body" idx="11"/>
          </p:nvPr>
        </p:nvSpPr>
        <p:spPr>
          <a:xfrm>
            <a:off x="628650" y="1369219"/>
            <a:ext cx="7886700" cy="3263504"/>
          </a:xfrm>
          <a:prstGeom prst="rect">
            <a:avLst/>
          </a:prstGeom>
        </p:spPr>
        <p:txBody>
          <a:bodyPr vert="horz" lIns="91440" tIns="45720" rIns="91440" bIns="4572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 id="2147483716" r:id="rId68"/>
    <p:sldLayoutId id="2147483717" r:id="rId69"/>
    <p:sldLayoutId id="2147483718" r:id="rId70"/>
    <p:sldLayoutId id="2147483719" r:id="rId71"/>
    <p:sldLayoutId id="2147483720" r:id="rId72"/>
    <p:sldLayoutId id="2147483721" r:id="rId73"/>
    <p:sldLayoutId id="2147483722" r:id="rId74"/>
    <p:sldLayoutId id="2147483723" r:id="rId75"/>
    <p:sldLayoutId id="2147483724" r:id="rId76"/>
    <p:sldLayoutId id="2147483725" r:id="rId77"/>
    <p:sldLayoutId id="2147483726" r:id="rId78"/>
    <p:sldLayoutId id="2147483727" r:id="rId79"/>
    <p:sldLayoutId id="2147483728" r:id="rId80"/>
    <p:sldLayoutId id="2147483729" r:id="rId81"/>
    <p:sldLayoutId id="2147483730" r:id="rId82"/>
    <p:sldLayoutId id="2147483731" r:id="rId83"/>
    <p:sldLayoutId id="2147483732" r:id="rId84"/>
    <p:sldLayoutId id="2147483733" r:id="rId85"/>
    <p:sldLayoutId id="2147483734" r:id="rId86"/>
    <p:sldLayoutId id="2147483735" r:id="rId87"/>
    <p:sldLayoutId id="2147483736" r:id="rId88"/>
  </p:sldLayoutIdLst>
  <p:timing>
    <p:tnLst>
      <p:par>
        <p:cTn id="1" dur="indefinite" restart="never" nodeType="tmRoot"/>
      </p:par>
    </p:tnLst>
  </p:timing>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image" Target="../media/image9.jpeg"/><Relationship Id="rId1" Type="http://schemas.openxmlformats.org/officeDocument/2006/relationships/image" Target="../media/image8.jpeg"/></Relationships>
</file>

<file path=ppt/slides/_rels/slide10.xml.rels><?xml version="1.0" encoding="UTF-8" standalone="yes"?>
<Relationships xmlns="http://schemas.openxmlformats.org/package/2006/relationships"><Relationship Id="rId4" Type="http://schemas.openxmlformats.org/officeDocument/2006/relationships/slideLayout" Target="../slideLayouts/slideLayout19.xml"/><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image" Target="../media/image19.jpe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image" Target="../media/image22.jpeg"/><Relationship Id="rId1" Type="http://schemas.openxmlformats.org/officeDocument/2006/relationships/image" Target="../media/image18.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image" Target="../media/image23.jpeg"/><Relationship Id="rId1"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24.jpeg"/><Relationship Id="rId1" Type="http://schemas.openxmlformats.org/officeDocument/2006/relationships/chart" Target="../charts/chart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image" Target="../media/image26.jpeg"/><Relationship Id="rId1" Type="http://schemas.openxmlformats.org/officeDocument/2006/relationships/image" Target="../media/image25.jpe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18.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image" Target="../media/image27.jpe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image" Target="../media/image28.jpe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8.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image" Target="../media/image9.jpeg"/><Relationship Id="rId1" Type="http://schemas.openxmlformats.org/officeDocument/2006/relationships/image" Target="../media/image29.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18.jpe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image" Target="../media/image31.jpeg"/><Relationship Id="rId1" Type="http://schemas.openxmlformats.org/officeDocument/2006/relationships/image" Target="../media/image30.jpe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image" Target="../media/image32.jpeg"/><Relationship Id="rId1" Type="http://schemas.openxmlformats.org/officeDocument/2006/relationships/image" Target="../media/image18.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4" Type="http://schemas.openxmlformats.org/officeDocument/2006/relationships/slideLayout" Target="../slideLayouts/slideLayout26.xml"/><Relationship Id="rId3" Type="http://schemas.openxmlformats.org/officeDocument/2006/relationships/image" Target="../media/image34.jpeg"/><Relationship Id="rId2" Type="http://schemas.openxmlformats.org/officeDocument/2006/relationships/tags" Target="../tags/tag1.xml"/><Relationship Id="rId1" Type="http://schemas.openxmlformats.org/officeDocument/2006/relationships/image" Target="../media/image33.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image" Target="../media/image9.jpeg"/><Relationship Id="rId1" Type="http://schemas.openxmlformats.org/officeDocument/2006/relationships/image" Target="../media/image8.jpe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9.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image" Target="../media/image11.jpeg"/><Relationship Id="rId1" Type="http://schemas.openxmlformats.org/officeDocument/2006/relationships/image" Target="../media/image10.jpe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12.jpeg"/></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16.xml"/><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image" Target="../media/image13.jpe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6.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image" Target="../media/image17.jpeg"/><Relationship Id="rId1" Type="http://schemas.openxmlformats.org/officeDocument/2006/relationships/chart" Target="../charts/chart1.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p:cNvSpPr/>
          <p:nvPr/>
        </p:nvSpPr>
        <p:spPr>
          <a:xfrm>
            <a:off x="4562951" y="0"/>
            <a:ext cx="4581049" cy="2751297"/>
          </a:xfrm>
          <a:prstGeom prst="rect">
            <a:avLst/>
          </a:prstGeom>
          <a:blipFill>
            <a:blip r:embed="rId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1" name="矩形 10"/>
          <p:cNvSpPr/>
          <p:nvPr/>
        </p:nvSpPr>
        <p:spPr>
          <a:xfrm>
            <a:off x="2410302" y="1962627"/>
            <a:ext cx="2497931" cy="2656999"/>
          </a:xfrm>
          <a:prstGeom prst="rect">
            <a:avLst/>
          </a:prstGeom>
          <a:noFill/>
          <a:ln w="19050">
            <a:solidFill>
              <a:srgbClr val="5482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矩形 12"/>
          <p:cNvSpPr/>
          <p:nvPr/>
        </p:nvSpPr>
        <p:spPr>
          <a:xfrm>
            <a:off x="4567714" y="2071688"/>
            <a:ext cx="268129" cy="268129"/>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rgbClr val="548235"/>
              </a:solidFill>
            </a:endParaRPr>
          </a:p>
        </p:txBody>
      </p:sp>
      <p:sp>
        <p:nvSpPr>
          <p:cNvPr id="15" name="文本框 14"/>
          <p:cNvSpPr txBox="1"/>
          <p:nvPr/>
        </p:nvSpPr>
        <p:spPr>
          <a:xfrm>
            <a:off x="3321844" y="2392204"/>
            <a:ext cx="1513523" cy="1495409"/>
          </a:xfrm>
          <a:prstGeom prst="rect">
            <a:avLst/>
          </a:prstGeom>
          <a:noFill/>
        </p:spPr>
        <p:txBody>
          <a:bodyPr wrap="square" rtlCol="0">
            <a:spAutoFit/>
          </a:bodyPr>
          <a:lstStyle/>
          <a:p>
            <a:pPr>
              <a:lnSpc>
                <a:spcPct val="150000"/>
              </a:lnSpc>
            </a:pPr>
            <a:r>
              <a:rPr lang="en-US" altLang="zh-CN" sz="1015" dirty="0">
                <a:solidFill>
                  <a:srgbClr val="548235"/>
                </a:solidFill>
              </a:rPr>
              <a:t>A   L   </a:t>
            </a:r>
            <a:r>
              <a:rPr lang="en-US" altLang="zh-CN" sz="1015" dirty="0" err="1">
                <a:solidFill>
                  <a:srgbClr val="548235"/>
                </a:solidFill>
              </a:rPr>
              <a:t>L</a:t>
            </a:r>
            <a:endParaRPr lang="en-US" altLang="zh-CN" sz="1015" dirty="0">
              <a:solidFill>
                <a:srgbClr val="548235"/>
              </a:solidFill>
            </a:endParaRPr>
          </a:p>
          <a:p>
            <a:pPr>
              <a:lnSpc>
                <a:spcPct val="150000"/>
              </a:lnSpc>
            </a:pPr>
            <a:r>
              <a:rPr lang="en-US" altLang="zh-CN" sz="1015" dirty="0">
                <a:solidFill>
                  <a:srgbClr val="548235"/>
                </a:solidFill>
              </a:rPr>
              <a:t>O   R</a:t>
            </a:r>
            <a:endParaRPr lang="en-US" altLang="zh-CN" sz="1015" dirty="0">
              <a:solidFill>
                <a:srgbClr val="548235"/>
              </a:solidFill>
            </a:endParaRPr>
          </a:p>
          <a:p>
            <a:pPr>
              <a:lnSpc>
                <a:spcPct val="150000"/>
              </a:lnSpc>
            </a:pPr>
            <a:r>
              <a:rPr lang="en-US" altLang="zh-CN" sz="1015" dirty="0">
                <a:solidFill>
                  <a:srgbClr val="548235"/>
                </a:solidFill>
              </a:rPr>
              <a:t>N   O   T   H   I   N   G</a:t>
            </a:r>
            <a:endParaRPr lang="en-US" altLang="zh-CN" sz="1015" dirty="0">
              <a:solidFill>
                <a:srgbClr val="548235"/>
              </a:solidFill>
            </a:endParaRPr>
          </a:p>
          <a:p>
            <a:pPr>
              <a:lnSpc>
                <a:spcPct val="150000"/>
              </a:lnSpc>
            </a:pPr>
            <a:r>
              <a:rPr lang="en-US" altLang="zh-CN" sz="1015" dirty="0">
                <a:solidFill>
                  <a:srgbClr val="548235"/>
                </a:solidFill>
              </a:rPr>
              <a:t>N   O   W</a:t>
            </a:r>
            <a:endParaRPr lang="en-US" altLang="zh-CN" sz="1015" dirty="0">
              <a:solidFill>
                <a:srgbClr val="548235"/>
              </a:solidFill>
            </a:endParaRPr>
          </a:p>
          <a:p>
            <a:pPr>
              <a:lnSpc>
                <a:spcPct val="150000"/>
              </a:lnSpc>
            </a:pPr>
            <a:r>
              <a:rPr lang="en-US" altLang="zh-CN" sz="1015" dirty="0">
                <a:solidFill>
                  <a:srgbClr val="548235"/>
                </a:solidFill>
              </a:rPr>
              <a:t>O   R</a:t>
            </a:r>
            <a:endParaRPr lang="en-US" altLang="zh-CN" sz="1015" dirty="0">
              <a:solidFill>
                <a:srgbClr val="548235"/>
              </a:solidFill>
            </a:endParaRPr>
          </a:p>
          <a:p>
            <a:pPr>
              <a:lnSpc>
                <a:spcPct val="150000"/>
              </a:lnSpc>
            </a:pPr>
            <a:r>
              <a:rPr lang="en-US" altLang="zh-CN" sz="1015" dirty="0">
                <a:solidFill>
                  <a:srgbClr val="548235"/>
                </a:solidFill>
              </a:rPr>
              <a:t>N   E   V   E   R</a:t>
            </a:r>
            <a:endParaRPr lang="en-US" altLang="zh-CN" sz="1015" dirty="0">
              <a:solidFill>
                <a:srgbClr val="548235"/>
              </a:solidFill>
            </a:endParaRPr>
          </a:p>
        </p:txBody>
      </p:sp>
      <p:sp>
        <p:nvSpPr>
          <p:cNvPr id="23" name="Rectangle 3"/>
          <p:cNvSpPr/>
          <p:nvPr/>
        </p:nvSpPr>
        <p:spPr>
          <a:xfrm>
            <a:off x="5258047" y="3801963"/>
            <a:ext cx="3649482" cy="219291"/>
          </a:xfrm>
          <a:prstGeom prst="rect">
            <a:avLst/>
          </a:prstGeom>
        </p:spPr>
        <p:txBody>
          <a:bodyPr wrap="square">
            <a:spAutoFit/>
          </a:bodyPr>
          <a:lstStyle/>
          <a:p>
            <a:pPr>
              <a:buClr>
                <a:srgbClr val="E24848"/>
              </a:buClr>
              <a:defRPr/>
            </a:pPr>
            <a:r>
              <a:rPr lang="en-US" sz="825" noProof="1">
                <a:solidFill>
                  <a:srgbClr val="548235"/>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rgbClr val="548235"/>
              </a:solidFill>
              <a:latin typeface="+mj-lt"/>
              <a:ea typeface="Open Sans Light" panose="020B0306030504020204" pitchFamily="34" charset="0"/>
              <a:cs typeface="Open Sans Light" panose="020B0306030504020204" pitchFamily="34" charset="0"/>
            </a:endParaRPr>
          </a:p>
        </p:txBody>
      </p:sp>
      <p:sp>
        <p:nvSpPr>
          <p:cNvPr id="24" name="Rectangle 12"/>
          <p:cNvSpPr/>
          <p:nvPr/>
        </p:nvSpPr>
        <p:spPr>
          <a:xfrm>
            <a:off x="5258047" y="4111795"/>
            <a:ext cx="3770923" cy="507831"/>
          </a:xfrm>
          <a:prstGeom prst="rect">
            <a:avLst/>
          </a:prstGeom>
        </p:spPr>
        <p:txBody>
          <a:bodyPr wrap="square">
            <a:spAutoFit/>
          </a:bodyPr>
          <a:lstStyle/>
          <a:p>
            <a:pPr>
              <a:buClr>
                <a:srgbClr val="E24848"/>
              </a:buClr>
              <a:defRPr/>
            </a:pPr>
            <a:r>
              <a:rPr lang="en-US" sz="900" noProof="1">
                <a:solidFill>
                  <a:srgbClr val="548235"/>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a:t>
            </a:r>
            <a:endParaRPr lang="en-US" sz="900" noProof="1">
              <a:solidFill>
                <a:srgbClr val="548235"/>
              </a:solidFill>
              <a:latin typeface="+mj-lt"/>
              <a:ea typeface="Open Sans Light" panose="020B0306030504020204" pitchFamily="34" charset="0"/>
              <a:cs typeface="Open Sans Light" panose="020B0306030504020204" pitchFamily="34" charset="0"/>
            </a:endParaRPr>
          </a:p>
        </p:txBody>
      </p:sp>
      <p:sp>
        <p:nvSpPr>
          <p:cNvPr id="25" name="Title 1"/>
          <p:cNvSpPr txBox="1"/>
          <p:nvPr/>
        </p:nvSpPr>
        <p:spPr>
          <a:xfrm>
            <a:off x="5229472" y="3203322"/>
            <a:ext cx="4692015" cy="598640"/>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zh-CN" altLang="en-US" sz="3600" spc="-113" dirty="0" smtClean="0">
                <a:solidFill>
                  <a:srgbClr val="548235"/>
                </a:solidFill>
                <a:latin typeface="TypeLand 康熙字典體" pitchFamily="50" charset="-120"/>
                <a:ea typeface="TypeLand 康熙字典體" pitchFamily="50" charset="-120"/>
                <a:cs typeface="Lato" panose="020F0502020204030203" pitchFamily="34" charset="0"/>
              </a:rPr>
              <a:t>绿色欧美产品介绍</a:t>
            </a:r>
            <a:endParaRPr lang="en-US" sz="3600" spc="-113" dirty="0">
              <a:solidFill>
                <a:srgbClr val="548235"/>
              </a:solidFill>
              <a:latin typeface="TypeLand 康熙字典體" pitchFamily="50" charset="-120"/>
              <a:ea typeface="TypeLand 康熙字典體" pitchFamily="50" charset="-120"/>
              <a:cs typeface="Lato" panose="020F0502020204030203" pitchFamily="34" charset="0"/>
            </a:endParaRPr>
          </a:p>
        </p:txBody>
      </p:sp>
      <p:sp>
        <p:nvSpPr>
          <p:cNvPr id="2" name="矩形 1"/>
          <p:cNvSpPr/>
          <p:nvPr/>
        </p:nvSpPr>
        <p:spPr>
          <a:xfrm>
            <a:off x="219649" y="762000"/>
            <a:ext cx="2942006" cy="36195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9048" y="0"/>
            <a:ext cx="4571999" cy="5143500"/>
          </a:xfrm>
          <a:prstGeom prst="rect">
            <a:avLst/>
          </a:prstGeom>
          <a:gradFill flip="none" rotWithShape="1">
            <a:gsLst>
              <a:gs pos="84000">
                <a:schemeClr val="bg1">
                  <a:alpha val="0"/>
                </a:schemeClr>
              </a:gs>
              <a:gs pos="100000">
                <a:schemeClr val="tx1">
                  <a:lumMod val="50000"/>
                  <a:lumOff val="50000"/>
                  <a:alpha val="30000"/>
                </a:schemeClr>
              </a:gs>
            </a:gsLst>
            <a:lin ang="0" scaled="1"/>
            <a:tileRect/>
          </a:gradFill>
          <a:ln>
            <a:noFill/>
          </a:ln>
          <a:effectLst>
            <a:outerShdw blurRad="101600" dist="38100" sx="101000" sy="101000" algn="l" rotWithShape="0">
              <a:prstClr val="black">
                <a:alpha val="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1"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heel(1)">
                                      <p:cBhvr>
                                        <p:cTn id="7" dur="500"/>
                                        <p:tgtEl>
                                          <p:spTgt spid="11"/>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p:cTn id="11" dur="500" fill="hold"/>
                                        <p:tgtEl>
                                          <p:spTgt spid="13"/>
                                        </p:tgtEl>
                                        <p:attrNameLst>
                                          <p:attrName>ppt_w</p:attrName>
                                        </p:attrNameLst>
                                      </p:cBhvr>
                                      <p:tavLst>
                                        <p:tav tm="0">
                                          <p:val>
                                            <p:fltVal val="0"/>
                                          </p:val>
                                        </p:tav>
                                        <p:tav tm="100000">
                                          <p:val>
                                            <p:strVal val="#ppt_w"/>
                                          </p:val>
                                        </p:tav>
                                      </p:tavLst>
                                    </p:anim>
                                    <p:anim calcmode="lin" valueType="num">
                                      <p:cBhvr>
                                        <p:cTn id="12" dur="500" fill="hold"/>
                                        <p:tgtEl>
                                          <p:spTgt spid="13"/>
                                        </p:tgtEl>
                                        <p:attrNameLst>
                                          <p:attrName>ppt_h</p:attrName>
                                        </p:attrNameLst>
                                      </p:cBhvr>
                                      <p:tavLst>
                                        <p:tav tm="0">
                                          <p:val>
                                            <p:fltVal val="0"/>
                                          </p:val>
                                        </p:tav>
                                        <p:tav tm="100000">
                                          <p:val>
                                            <p:strVal val="#ppt_h"/>
                                          </p:val>
                                        </p:tav>
                                      </p:tavLst>
                                    </p:anim>
                                    <p:animEffect transition="in" filter="fade">
                                      <p:cBhvr>
                                        <p:cTn id="13" dur="500"/>
                                        <p:tgtEl>
                                          <p:spTgt spid="13"/>
                                        </p:tgtEl>
                                      </p:cBhvr>
                                    </p:animEffect>
                                  </p:childTnLst>
                                </p:cTn>
                              </p:par>
                            </p:childTnLst>
                          </p:cTn>
                        </p:par>
                        <p:par>
                          <p:cTn id="14" fill="hold">
                            <p:stCondLst>
                              <p:cond delay="1000"/>
                            </p:stCondLst>
                            <p:childTnLst>
                              <p:par>
                                <p:cTn id="15" presetID="42" presetClass="entr" presetSubtype="0" fill="hold" grpId="0" nodeType="after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anim calcmode="lin" valueType="num">
                                      <p:cBhvr>
                                        <p:cTn id="18" dur="500" fill="hold"/>
                                        <p:tgtEl>
                                          <p:spTgt spid="15"/>
                                        </p:tgtEl>
                                        <p:attrNameLst>
                                          <p:attrName>ppt_x</p:attrName>
                                        </p:attrNameLst>
                                      </p:cBhvr>
                                      <p:tavLst>
                                        <p:tav tm="0">
                                          <p:val>
                                            <p:strVal val="#ppt_x"/>
                                          </p:val>
                                        </p:tav>
                                        <p:tav tm="100000">
                                          <p:val>
                                            <p:strVal val="#ppt_x"/>
                                          </p:val>
                                        </p:tav>
                                      </p:tavLst>
                                    </p:anim>
                                    <p:anim calcmode="lin" valueType="num">
                                      <p:cBhvr>
                                        <p:cTn id="19" dur="5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2" presetClass="entr" presetSubtype="2"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wipe(right)">
                                      <p:cBhvr>
                                        <p:cTn id="24" dur="500"/>
                                        <p:tgtEl>
                                          <p:spTgt spid="2"/>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left)">
                                      <p:cBhvr>
                                        <p:cTn id="27" dur="500"/>
                                        <p:tgtEl>
                                          <p:spTgt spid="26"/>
                                        </p:tgtEl>
                                      </p:cBhvr>
                                    </p:animEffect>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1000"/>
                                        <p:tgtEl>
                                          <p:spTgt spid="23"/>
                                        </p:tgtEl>
                                      </p:cBhvr>
                                    </p:animEffect>
                                    <p:anim calcmode="lin" valueType="num">
                                      <p:cBhvr>
                                        <p:cTn id="33" dur="1000" fill="hold"/>
                                        <p:tgtEl>
                                          <p:spTgt spid="23"/>
                                        </p:tgtEl>
                                        <p:attrNameLst>
                                          <p:attrName>ppt_x</p:attrName>
                                        </p:attrNameLst>
                                      </p:cBhvr>
                                      <p:tavLst>
                                        <p:tav tm="0">
                                          <p:val>
                                            <p:strVal val="#ppt_x"/>
                                          </p:val>
                                        </p:tav>
                                        <p:tav tm="100000">
                                          <p:val>
                                            <p:strVal val="#ppt_x"/>
                                          </p:val>
                                        </p:tav>
                                      </p:tavLst>
                                    </p:anim>
                                    <p:anim calcmode="lin" valueType="num">
                                      <p:cBhvr>
                                        <p:cTn id="34" dur="1000" fill="hold"/>
                                        <p:tgtEl>
                                          <p:spTgt spid="23"/>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1000"/>
                                        <p:tgtEl>
                                          <p:spTgt spid="24"/>
                                        </p:tgtEl>
                                      </p:cBhvr>
                                    </p:animEffect>
                                    <p:anim calcmode="lin" valueType="num">
                                      <p:cBhvr>
                                        <p:cTn id="38" dur="1000" fill="hold"/>
                                        <p:tgtEl>
                                          <p:spTgt spid="24"/>
                                        </p:tgtEl>
                                        <p:attrNameLst>
                                          <p:attrName>ppt_x</p:attrName>
                                        </p:attrNameLst>
                                      </p:cBhvr>
                                      <p:tavLst>
                                        <p:tav tm="0">
                                          <p:val>
                                            <p:strVal val="#ppt_x"/>
                                          </p:val>
                                        </p:tav>
                                        <p:tav tm="100000">
                                          <p:val>
                                            <p:strVal val="#ppt_x"/>
                                          </p:val>
                                        </p:tav>
                                      </p:tavLst>
                                    </p:anim>
                                    <p:anim calcmode="lin" valueType="num">
                                      <p:cBhvr>
                                        <p:cTn id="39" dur="1000" fill="hold"/>
                                        <p:tgtEl>
                                          <p:spTgt spid="24"/>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1000"/>
                                        <p:tgtEl>
                                          <p:spTgt spid="25"/>
                                        </p:tgtEl>
                                      </p:cBhvr>
                                    </p:animEffect>
                                    <p:anim calcmode="lin" valueType="num">
                                      <p:cBhvr>
                                        <p:cTn id="43" dur="1000" fill="hold"/>
                                        <p:tgtEl>
                                          <p:spTgt spid="25"/>
                                        </p:tgtEl>
                                        <p:attrNameLst>
                                          <p:attrName>ppt_x</p:attrName>
                                        </p:attrNameLst>
                                      </p:cBhvr>
                                      <p:tavLst>
                                        <p:tav tm="0">
                                          <p:val>
                                            <p:strVal val="#ppt_x"/>
                                          </p:val>
                                        </p:tav>
                                        <p:tav tm="100000">
                                          <p:val>
                                            <p:strVal val="#ppt_x"/>
                                          </p:val>
                                        </p:tav>
                                      </p:tavLst>
                                    </p:anim>
                                    <p:anim calcmode="lin" valueType="num">
                                      <p:cBhvr>
                                        <p:cTn id="44" dur="1000" fill="hold"/>
                                        <p:tgtEl>
                                          <p:spTgt spid="25"/>
                                        </p:tgtEl>
                                        <p:attrNameLst>
                                          <p:attrName>ppt_y</p:attrName>
                                        </p:attrNameLst>
                                      </p:cBhvr>
                                      <p:tavLst>
                                        <p:tav tm="0">
                                          <p:val>
                                            <p:strVal val="#ppt_y+.1"/>
                                          </p:val>
                                        </p:tav>
                                        <p:tav tm="100000">
                                          <p:val>
                                            <p:strVal val="#ppt_y"/>
                                          </p:val>
                                        </p:tav>
                                      </p:tavLst>
                                    </p:anim>
                                  </p:childTnLst>
                                </p:cTn>
                              </p:par>
                            </p:childTnLst>
                          </p:cTn>
                        </p:par>
                        <p:par>
                          <p:cTn id="45" fill="hold">
                            <p:stCondLst>
                              <p:cond delay="1000"/>
                            </p:stCondLst>
                            <p:childTnLst>
                              <p:par>
                                <p:cTn id="46" presetID="22" presetClass="entr" presetSubtype="2" fill="hold" grpId="0" nodeType="after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wipe(right)">
                                      <p:cBhvr>
                                        <p:cTn id="4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11" grpId="0" animBg="1"/>
      <p:bldP spid="11" grpId="1" animBg="1"/>
      <p:bldP spid="13" grpId="0" animBg="1"/>
      <p:bldP spid="15" grpId="0"/>
      <p:bldP spid="23" grpId="0"/>
      <p:bldP spid="24" grpId="0"/>
      <p:bldP spid="25" grpId="0"/>
      <p:bldP spid="2" grpId="0" animBg="1"/>
      <p:bldP spid="12" grpId="0" bldLvl="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 name="Rectangle 439"/>
          <p:cNvSpPr/>
          <p:nvPr/>
        </p:nvSpPr>
        <p:spPr>
          <a:xfrm>
            <a:off x="719019" y="1110898"/>
            <a:ext cx="1617008" cy="219291"/>
          </a:xfrm>
          <a:prstGeom prst="rect">
            <a:avLst/>
          </a:prstGeom>
        </p:spPr>
        <p:txBody>
          <a:bodyPr wrap="square">
            <a:spAutoFit/>
          </a:bodyPr>
          <a:lstStyle/>
          <a:p>
            <a:pP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9" name="Rectangle 8"/>
          <p:cNvSpPr/>
          <p:nvPr/>
        </p:nvSpPr>
        <p:spPr>
          <a:xfrm rot="5400000" flipH="1">
            <a:off x="5309206" y="2538307"/>
            <a:ext cx="733448" cy="909191"/>
          </a:xfrm>
          <a:prstGeom prst="rect">
            <a:avLst/>
          </a:prstGeom>
          <a:gradFill flip="none" rotWithShape="1">
            <a:gsLst>
              <a:gs pos="0">
                <a:srgbClr val="548235"/>
              </a:gs>
              <a:gs pos="100000">
                <a:srgbClr val="34502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dirty="0"/>
          </a:p>
        </p:txBody>
      </p:sp>
      <p:sp>
        <p:nvSpPr>
          <p:cNvPr id="10" name="Title 11"/>
          <p:cNvSpPr txBox="1"/>
          <p:nvPr/>
        </p:nvSpPr>
        <p:spPr>
          <a:xfrm>
            <a:off x="5469448" y="2945267"/>
            <a:ext cx="618116" cy="293691"/>
          </a:xfrm>
          <a:prstGeom prst="rect">
            <a:avLst/>
          </a:prstGeom>
        </p:spPr>
        <p:txBody>
          <a:bodyPr vert="horz" wrap="square" lIns="68580" tIns="34290" rIns="68580" bIns="3429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900" dirty="0">
                <a:solidFill>
                  <a:schemeClr val="bg1"/>
                </a:solidFill>
                <a:ea typeface="Roboto" panose="02000000000000000000" pitchFamily="2" charset="0"/>
                <a:cs typeface="Times New Roman" panose="02020603050405020304" pitchFamily="18" charset="0"/>
              </a:rPr>
              <a:t>450 K </a:t>
            </a:r>
            <a:endParaRPr lang="en-US" sz="900" dirty="0">
              <a:solidFill>
                <a:schemeClr val="bg1"/>
              </a:solidFill>
              <a:ea typeface="Roboto" panose="02000000000000000000" pitchFamily="2" charset="0"/>
              <a:cs typeface="Times New Roman" panose="02020603050405020304" pitchFamily="18" charset="0"/>
            </a:endParaRPr>
          </a:p>
          <a:p>
            <a:pPr algn="l"/>
            <a:r>
              <a:rPr lang="en-US" sz="900" dirty="0">
                <a:solidFill>
                  <a:schemeClr val="bg1"/>
                </a:solidFill>
                <a:ea typeface="Roboto" panose="02000000000000000000" pitchFamily="2" charset="0"/>
                <a:cs typeface="Times New Roman" panose="02020603050405020304" pitchFamily="18" charset="0"/>
              </a:rPr>
              <a:t>followers</a:t>
            </a:r>
            <a:endParaRPr lang="en-US" sz="900" dirty="0">
              <a:solidFill>
                <a:schemeClr val="bg1"/>
              </a:solidFill>
              <a:ea typeface="Roboto" panose="02000000000000000000" pitchFamily="2" charset="0"/>
              <a:cs typeface="Times New Roman" panose="02020603050405020304" pitchFamily="18" charset="0"/>
            </a:endParaRPr>
          </a:p>
        </p:txBody>
      </p:sp>
      <p:sp>
        <p:nvSpPr>
          <p:cNvPr id="11" name="Heart 10"/>
          <p:cNvSpPr/>
          <p:nvPr/>
        </p:nvSpPr>
        <p:spPr>
          <a:xfrm>
            <a:off x="5297535" y="2992903"/>
            <a:ext cx="200026" cy="200026"/>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2" name="Rectangle 11"/>
          <p:cNvSpPr/>
          <p:nvPr/>
        </p:nvSpPr>
        <p:spPr>
          <a:xfrm>
            <a:off x="6826503" y="692854"/>
            <a:ext cx="1437389" cy="784830"/>
          </a:xfrm>
          <a:prstGeom prst="rect">
            <a:avLst/>
          </a:prstGeom>
        </p:spPr>
        <p:txBody>
          <a:bodyPr wrap="square">
            <a:spAutoFit/>
          </a:bodyPr>
          <a:lstStyle/>
          <a:p>
            <a:pPr>
              <a:spcBef>
                <a:spcPts val="450"/>
              </a:spcBef>
              <a:buClr>
                <a:srgbClr val="E24848"/>
              </a:buClr>
              <a:defRPr/>
            </a:pPr>
            <a:r>
              <a:rPr lang="en-US" sz="9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endParaRPr lang="en-US" sz="9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13" name="Rectangle 12"/>
          <p:cNvSpPr/>
          <p:nvPr/>
        </p:nvSpPr>
        <p:spPr>
          <a:xfrm>
            <a:off x="6810480" y="448204"/>
            <a:ext cx="1272271" cy="272324"/>
          </a:xfrm>
          <a:prstGeom prst="rect">
            <a:avLst/>
          </a:prstGeom>
        </p:spPr>
        <p:txBody>
          <a:bodyPr vert="horz" lIns="68580" tIns="34290" rIns="68580" bIns="34290" rtlCol="0" anchor="ctr">
            <a:noAutofit/>
          </a:bodyPr>
          <a:lstStyle/>
          <a:p>
            <a:pPr>
              <a:spcBef>
                <a:spcPct val="0"/>
              </a:spcBef>
            </a:pPr>
            <a:r>
              <a:rPr lang="en-US" sz="1200" b="1" noProof="1">
                <a:solidFill>
                  <a:schemeClr val="tx1">
                    <a:lumMod val="85000"/>
                    <a:lumOff val="15000"/>
                  </a:schemeClr>
                </a:solidFill>
                <a:ea typeface="Open Sans" panose="020B0606030504020204" pitchFamily="34" charset="0"/>
                <a:cs typeface="Open Sans" panose="020B0606030504020204" pitchFamily="34" charset="0"/>
              </a:rPr>
              <a:t>LOREM</a:t>
            </a:r>
            <a:r>
              <a:rPr lang="en-US" sz="1200" noProof="1">
                <a:solidFill>
                  <a:schemeClr val="tx1">
                    <a:lumMod val="85000"/>
                    <a:lumOff val="15000"/>
                  </a:schemeClr>
                </a:solidFill>
                <a:ea typeface="Open Sans" panose="020B0606030504020204" pitchFamily="34" charset="0"/>
                <a:cs typeface="Open Sans" panose="020B0606030504020204" pitchFamily="34" charset="0"/>
              </a:rPr>
              <a:t> IPSUM</a:t>
            </a:r>
            <a:endParaRPr lang="en-US" sz="1200" noProof="1">
              <a:solidFill>
                <a:schemeClr val="tx1">
                  <a:lumMod val="85000"/>
                  <a:lumOff val="15000"/>
                </a:schemeClr>
              </a:solidFill>
              <a:ea typeface="Open Sans" panose="020B0606030504020204" pitchFamily="34" charset="0"/>
              <a:cs typeface="Open Sans" panose="020B0606030504020204" pitchFamily="34" charset="0"/>
            </a:endParaRPr>
          </a:p>
        </p:txBody>
      </p:sp>
      <p:sp>
        <p:nvSpPr>
          <p:cNvPr id="14" name="Rectangle 13"/>
          <p:cNvSpPr/>
          <p:nvPr/>
        </p:nvSpPr>
        <p:spPr>
          <a:xfrm>
            <a:off x="6826503" y="2335678"/>
            <a:ext cx="1437389" cy="784830"/>
          </a:xfrm>
          <a:prstGeom prst="rect">
            <a:avLst/>
          </a:prstGeom>
        </p:spPr>
        <p:txBody>
          <a:bodyPr wrap="square">
            <a:spAutoFit/>
          </a:bodyPr>
          <a:lstStyle/>
          <a:p>
            <a:pPr>
              <a:spcBef>
                <a:spcPts val="450"/>
              </a:spcBef>
              <a:buClr>
                <a:srgbClr val="E24848"/>
              </a:buClr>
              <a:defRPr/>
            </a:pPr>
            <a:r>
              <a:rPr lang="en-US" sz="9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endParaRPr lang="en-US" sz="9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15" name="Rectangle 14"/>
          <p:cNvSpPr/>
          <p:nvPr/>
        </p:nvSpPr>
        <p:spPr>
          <a:xfrm>
            <a:off x="6810480" y="2091028"/>
            <a:ext cx="1272271" cy="272324"/>
          </a:xfrm>
          <a:prstGeom prst="rect">
            <a:avLst/>
          </a:prstGeom>
        </p:spPr>
        <p:txBody>
          <a:bodyPr vert="horz" lIns="68580" tIns="34290" rIns="68580" bIns="34290" rtlCol="0" anchor="ctr">
            <a:noAutofit/>
          </a:bodyPr>
          <a:lstStyle/>
          <a:p>
            <a:pPr>
              <a:spcBef>
                <a:spcPct val="0"/>
              </a:spcBef>
            </a:pPr>
            <a:r>
              <a:rPr lang="en-US" sz="1200" b="1" noProof="1">
                <a:solidFill>
                  <a:schemeClr val="tx1">
                    <a:lumMod val="85000"/>
                    <a:lumOff val="15000"/>
                  </a:schemeClr>
                </a:solidFill>
                <a:ea typeface="Open Sans" panose="020B0606030504020204" pitchFamily="34" charset="0"/>
                <a:cs typeface="Open Sans" panose="020B0606030504020204" pitchFamily="34" charset="0"/>
              </a:rPr>
              <a:t>LOREM</a:t>
            </a:r>
            <a:r>
              <a:rPr lang="en-US" sz="1200" noProof="1">
                <a:solidFill>
                  <a:schemeClr val="tx1">
                    <a:lumMod val="85000"/>
                    <a:lumOff val="15000"/>
                  </a:schemeClr>
                </a:solidFill>
                <a:ea typeface="Open Sans" panose="020B0606030504020204" pitchFamily="34" charset="0"/>
                <a:cs typeface="Open Sans" panose="020B0606030504020204" pitchFamily="34" charset="0"/>
              </a:rPr>
              <a:t> IPSUM</a:t>
            </a:r>
            <a:endParaRPr lang="en-US" sz="1200" noProof="1">
              <a:solidFill>
                <a:schemeClr val="tx1">
                  <a:lumMod val="85000"/>
                  <a:lumOff val="15000"/>
                </a:schemeClr>
              </a:solidFill>
              <a:ea typeface="Open Sans" panose="020B0606030504020204" pitchFamily="34" charset="0"/>
              <a:cs typeface="Open Sans" panose="020B0606030504020204" pitchFamily="34" charset="0"/>
            </a:endParaRPr>
          </a:p>
        </p:txBody>
      </p:sp>
      <p:sp>
        <p:nvSpPr>
          <p:cNvPr id="16" name="Rectangle 15"/>
          <p:cNvSpPr/>
          <p:nvPr/>
        </p:nvSpPr>
        <p:spPr>
          <a:xfrm>
            <a:off x="6826503" y="3950827"/>
            <a:ext cx="1437389" cy="784830"/>
          </a:xfrm>
          <a:prstGeom prst="rect">
            <a:avLst/>
          </a:prstGeom>
        </p:spPr>
        <p:txBody>
          <a:bodyPr wrap="square">
            <a:spAutoFit/>
          </a:bodyPr>
          <a:lstStyle/>
          <a:p>
            <a:pPr>
              <a:spcBef>
                <a:spcPts val="450"/>
              </a:spcBef>
              <a:buClr>
                <a:srgbClr val="E24848"/>
              </a:buClr>
              <a:defRPr/>
            </a:pPr>
            <a:r>
              <a:rPr lang="en-US" sz="9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endParaRPr lang="en-US" sz="9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17" name="Rectangle 16"/>
          <p:cNvSpPr/>
          <p:nvPr/>
        </p:nvSpPr>
        <p:spPr>
          <a:xfrm>
            <a:off x="6810480" y="3706177"/>
            <a:ext cx="1272271" cy="272324"/>
          </a:xfrm>
          <a:prstGeom prst="rect">
            <a:avLst/>
          </a:prstGeom>
        </p:spPr>
        <p:txBody>
          <a:bodyPr vert="horz" lIns="68580" tIns="34290" rIns="68580" bIns="34290" rtlCol="0" anchor="ctr">
            <a:noAutofit/>
          </a:bodyPr>
          <a:lstStyle/>
          <a:p>
            <a:pPr>
              <a:spcBef>
                <a:spcPct val="0"/>
              </a:spcBef>
            </a:pPr>
            <a:r>
              <a:rPr lang="en-US" sz="1200" b="1" noProof="1">
                <a:solidFill>
                  <a:schemeClr val="tx1">
                    <a:lumMod val="85000"/>
                    <a:lumOff val="15000"/>
                  </a:schemeClr>
                </a:solidFill>
                <a:ea typeface="Open Sans" panose="020B0606030504020204" pitchFamily="34" charset="0"/>
                <a:cs typeface="Open Sans" panose="020B0606030504020204" pitchFamily="34" charset="0"/>
              </a:rPr>
              <a:t>LOREM</a:t>
            </a:r>
            <a:r>
              <a:rPr lang="en-US" sz="1200" noProof="1">
                <a:solidFill>
                  <a:schemeClr val="tx1">
                    <a:lumMod val="85000"/>
                    <a:lumOff val="15000"/>
                  </a:schemeClr>
                </a:solidFill>
                <a:ea typeface="Open Sans" panose="020B0606030504020204" pitchFamily="34" charset="0"/>
                <a:cs typeface="Open Sans" panose="020B0606030504020204" pitchFamily="34" charset="0"/>
              </a:rPr>
              <a:t> IPSUM</a:t>
            </a:r>
            <a:endParaRPr lang="en-US" sz="1200" noProof="1">
              <a:solidFill>
                <a:schemeClr val="tx1">
                  <a:lumMod val="85000"/>
                  <a:lumOff val="15000"/>
                </a:schemeClr>
              </a:solidFill>
              <a:ea typeface="Open Sans" panose="020B0606030504020204" pitchFamily="34" charset="0"/>
              <a:cs typeface="Open Sans" panose="020B0606030504020204" pitchFamily="34" charset="0"/>
            </a:endParaRPr>
          </a:p>
        </p:txBody>
      </p:sp>
      <p:grpSp>
        <p:nvGrpSpPr>
          <p:cNvPr id="18" name="Group 17"/>
          <p:cNvGrpSpPr/>
          <p:nvPr/>
        </p:nvGrpSpPr>
        <p:grpSpPr>
          <a:xfrm>
            <a:off x="6385052" y="564373"/>
            <a:ext cx="224951" cy="312310"/>
            <a:chOff x="1336365" y="4507890"/>
            <a:chExt cx="299934" cy="416413"/>
          </a:xfrm>
          <a:solidFill>
            <a:schemeClr val="tx1">
              <a:lumMod val="85000"/>
              <a:lumOff val="15000"/>
            </a:schemeClr>
          </a:solidFill>
        </p:grpSpPr>
        <p:sp>
          <p:nvSpPr>
            <p:cNvPr id="19" name="Freeform 247"/>
            <p:cNvSpPr>
              <a:spLocks noEditPoints="1"/>
            </p:cNvSpPr>
            <p:nvPr/>
          </p:nvSpPr>
          <p:spPr bwMode="auto">
            <a:xfrm>
              <a:off x="1336365" y="4812192"/>
              <a:ext cx="112111" cy="112111"/>
            </a:xfrm>
            <a:custGeom>
              <a:avLst/>
              <a:gdLst>
                <a:gd name="T0" fmla="*/ 106 w 230"/>
                <a:gd name="T1" fmla="*/ 39 h 232"/>
                <a:gd name="T2" fmla="*/ 92 w 230"/>
                <a:gd name="T3" fmla="*/ 44 h 232"/>
                <a:gd name="T4" fmla="*/ 72 w 230"/>
                <a:gd name="T5" fmla="*/ 52 h 232"/>
                <a:gd name="T6" fmla="*/ 51 w 230"/>
                <a:gd name="T7" fmla="*/ 74 h 232"/>
                <a:gd name="T8" fmla="*/ 41 w 230"/>
                <a:gd name="T9" fmla="*/ 94 h 232"/>
                <a:gd name="T10" fmla="*/ 38 w 230"/>
                <a:gd name="T11" fmla="*/ 108 h 232"/>
                <a:gd name="T12" fmla="*/ 38 w 230"/>
                <a:gd name="T13" fmla="*/ 124 h 232"/>
                <a:gd name="T14" fmla="*/ 41 w 230"/>
                <a:gd name="T15" fmla="*/ 140 h 232"/>
                <a:gd name="T16" fmla="*/ 51 w 230"/>
                <a:gd name="T17" fmla="*/ 160 h 232"/>
                <a:gd name="T18" fmla="*/ 72 w 230"/>
                <a:gd name="T19" fmla="*/ 180 h 232"/>
                <a:gd name="T20" fmla="*/ 92 w 230"/>
                <a:gd name="T21" fmla="*/ 191 h 232"/>
                <a:gd name="T22" fmla="*/ 106 w 230"/>
                <a:gd name="T23" fmla="*/ 193 h 232"/>
                <a:gd name="T24" fmla="*/ 123 w 230"/>
                <a:gd name="T25" fmla="*/ 193 h 232"/>
                <a:gd name="T26" fmla="*/ 138 w 230"/>
                <a:gd name="T27" fmla="*/ 191 h 232"/>
                <a:gd name="T28" fmla="*/ 158 w 230"/>
                <a:gd name="T29" fmla="*/ 179 h 232"/>
                <a:gd name="T30" fmla="*/ 180 w 230"/>
                <a:gd name="T31" fmla="*/ 157 h 232"/>
                <a:gd name="T32" fmla="*/ 191 w 230"/>
                <a:gd name="T33" fmla="*/ 130 h 232"/>
                <a:gd name="T34" fmla="*/ 193 w 230"/>
                <a:gd name="T35" fmla="*/ 39 h 232"/>
                <a:gd name="T36" fmla="*/ 115 w 230"/>
                <a:gd name="T37" fmla="*/ 232 h 232"/>
                <a:gd name="T38" fmla="*/ 92 w 230"/>
                <a:gd name="T39" fmla="*/ 231 h 232"/>
                <a:gd name="T40" fmla="*/ 70 w 230"/>
                <a:gd name="T41" fmla="*/ 224 h 232"/>
                <a:gd name="T42" fmla="*/ 50 w 230"/>
                <a:gd name="T43" fmla="*/ 214 h 232"/>
                <a:gd name="T44" fmla="*/ 33 w 230"/>
                <a:gd name="T45" fmla="*/ 199 h 232"/>
                <a:gd name="T46" fmla="*/ 18 w 230"/>
                <a:gd name="T47" fmla="*/ 182 h 232"/>
                <a:gd name="T48" fmla="*/ 8 w 230"/>
                <a:gd name="T49" fmla="*/ 162 h 232"/>
                <a:gd name="T50" fmla="*/ 1 w 230"/>
                <a:gd name="T51" fmla="*/ 140 h 232"/>
                <a:gd name="T52" fmla="*/ 0 w 230"/>
                <a:gd name="T53" fmla="*/ 117 h 232"/>
                <a:gd name="T54" fmla="*/ 1 w 230"/>
                <a:gd name="T55" fmla="*/ 94 h 232"/>
                <a:gd name="T56" fmla="*/ 8 w 230"/>
                <a:gd name="T57" fmla="*/ 72 h 232"/>
                <a:gd name="T58" fmla="*/ 18 w 230"/>
                <a:gd name="T59" fmla="*/ 52 h 232"/>
                <a:gd name="T60" fmla="*/ 33 w 230"/>
                <a:gd name="T61" fmla="*/ 35 h 232"/>
                <a:gd name="T62" fmla="*/ 50 w 230"/>
                <a:gd name="T63" fmla="*/ 21 h 232"/>
                <a:gd name="T64" fmla="*/ 70 w 230"/>
                <a:gd name="T65" fmla="*/ 11 h 232"/>
                <a:gd name="T66" fmla="*/ 92 w 230"/>
                <a:gd name="T67" fmla="*/ 3 h 232"/>
                <a:gd name="T68" fmla="*/ 115 w 230"/>
                <a:gd name="T69" fmla="*/ 0 h 232"/>
                <a:gd name="T70" fmla="*/ 230 w 230"/>
                <a:gd name="T71" fmla="*/ 117 h 232"/>
                <a:gd name="T72" fmla="*/ 229 w 230"/>
                <a:gd name="T73" fmla="*/ 140 h 232"/>
                <a:gd name="T74" fmla="*/ 221 w 230"/>
                <a:gd name="T75" fmla="*/ 160 h 232"/>
                <a:gd name="T76" fmla="*/ 210 w 230"/>
                <a:gd name="T77" fmla="*/ 180 h 232"/>
                <a:gd name="T78" fmla="*/ 195 w 230"/>
                <a:gd name="T79" fmla="*/ 198 h 232"/>
                <a:gd name="T80" fmla="*/ 178 w 230"/>
                <a:gd name="T81" fmla="*/ 212 h 232"/>
                <a:gd name="T82" fmla="*/ 159 w 230"/>
                <a:gd name="T83" fmla="*/ 224 h 232"/>
                <a:gd name="T84" fmla="*/ 138 w 230"/>
                <a:gd name="T85" fmla="*/ 231 h 232"/>
                <a:gd name="T86" fmla="*/ 115 w 230"/>
                <a:gd name="T8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32">
                  <a:moveTo>
                    <a:pt x="115" y="39"/>
                  </a:moveTo>
                  <a:lnTo>
                    <a:pt x="106" y="39"/>
                  </a:lnTo>
                  <a:lnTo>
                    <a:pt x="99" y="41"/>
                  </a:lnTo>
                  <a:lnTo>
                    <a:pt x="92" y="44"/>
                  </a:lnTo>
                  <a:lnTo>
                    <a:pt x="85" y="45"/>
                  </a:lnTo>
                  <a:lnTo>
                    <a:pt x="72" y="52"/>
                  </a:lnTo>
                  <a:lnTo>
                    <a:pt x="60" y="62"/>
                  </a:lnTo>
                  <a:lnTo>
                    <a:pt x="51" y="74"/>
                  </a:lnTo>
                  <a:lnTo>
                    <a:pt x="44" y="87"/>
                  </a:lnTo>
                  <a:lnTo>
                    <a:pt x="41" y="94"/>
                  </a:lnTo>
                  <a:lnTo>
                    <a:pt x="38" y="101"/>
                  </a:lnTo>
                  <a:lnTo>
                    <a:pt x="38" y="108"/>
                  </a:lnTo>
                  <a:lnTo>
                    <a:pt x="37" y="117"/>
                  </a:lnTo>
                  <a:lnTo>
                    <a:pt x="38" y="124"/>
                  </a:lnTo>
                  <a:lnTo>
                    <a:pt x="38" y="133"/>
                  </a:lnTo>
                  <a:lnTo>
                    <a:pt x="41" y="140"/>
                  </a:lnTo>
                  <a:lnTo>
                    <a:pt x="44" y="147"/>
                  </a:lnTo>
                  <a:lnTo>
                    <a:pt x="51" y="160"/>
                  </a:lnTo>
                  <a:lnTo>
                    <a:pt x="60" y="172"/>
                  </a:lnTo>
                  <a:lnTo>
                    <a:pt x="72" y="180"/>
                  </a:lnTo>
                  <a:lnTo>
                    <a:pt x="85" y="188"/>
                  </a:lnTo>
                  <a:lnTo>
                    <a:pt x="92" y="191"/>
                  </a:lnTo>
                  <a:lnTo>
                    <a:pt x="99" y="192"/>
                  </a:lnTo>
                  <a:lnTo>
                    <a:pt x="106" y="193"/>
                  </a:lnTo>
                  <a:lnTo>
                    <a:pt x="115" y="193"/>
                  </a:lnTo>
                  <a:lnTo>
                    <a:pt x="123" y="193"/>
                  </a:lnTo>
                  <a:lnTo>
                    <a:pt x="131" y="192"/>
                  </a:lnTo>
                  <a:lnTo>
                    <a:pt x="138" y="191"/>
                  </a:lnTo>
                  <a:lnTo>
                    <a:pt x="145" y="188"/>
                  </a:lnTo>
                  <a:lnTo>
                    <a:pt x="158" y="179"/>
                  </a:lnTo>
                  <a:lnTo>
                    <a:pt x="170" y="169"/>
                  </a:lnTo>
                  <a:lnTo>
                    <a:pt x="180" y="157"/>
                  </a:lnTo>
                  <a:lnTo>
                    <a:pt x="187" y="144"/>
                  </a:lnTo>
                  <a:lnTo>
                    <a:pt x="191" y="130"/>
                  </a:lnTo>
                  <a:lnTo>
                    <a:pt x="193" y="117"/>
                  </a:lnTo>
                  <a:lnTo>
                    <a:pt x="193" y="39"/>
                  </a:lnTo>
                  <a:lnTo>
                    <a:pt x="115" y="39"/>
                  </a:lnTo>
                  <a:close/>
                  <a:moveTo>
                    <a:pt x="115" y="232"/>
                  </a:moveTo>
                  <a:lnTo>
                    <a:pt x="103" y="232"/>
                  </a:lnTo>
                  <a:lnTo>
                    <a:pt x="92" y="231"/>
                  </a:lnTo>
                  <a:lnTo>
                    <a:pt x="80" y="228"/>
                  </a:lnTo>
                  <a:lnTo>
                    <a:pt x="70" y="224"/>
                  </a:lnTo>
                  <a:lnTo>
                    <a:pt x="60" y="219"/>
                  </a:lnTo>
                  <a:lnTo>
                    <a:pt x="50" y="214"/>
                  </a:lnTo>
                  <a:lnTo>
                    <a:pt x="41" y="206"/>
                  </a:lnTo>
                  <a:lnTo>
                    <a:pt x="33" y="199"/>
                  </a:lnTo>
                  <a:lnTo>
                    <a:pt x="26" y="191"/>
                  </a:lnTo>
                  <a:lnTo>
                    <a:pt x="18" y="182"/>
                  </a:lnTo>
                  <a:lnTo>
                    <a:pt x="13" y="172"/>
                  </a:lnTo>
                  <a:lnTo>
                    <a:pt x="8" y="162"/>
                  </a:lnTo>
                  <a:lnTo>
                    <a:pt x="4" y="152"/>
                  </a:lnTo>
                  <a:lnTo>
                    <a:pt x="1" y="140"/>
                  </a:lnTo>
                  <a:lnTo>
                    <a:pt x="0" y="129"/>
                  </a:lnTo>
                  <a:lnTo>
                    <a:pt x="0" y="117"/>
                  </a:lnTo>
                  <a:lnTo>
                    <a:pt x="0" y="106"/>
                  </a:lnTo>
                  <a:lnTo>
                    <a:pt x="1" y="94"/>
                  </a:lnTo>
                  <a:lnTo>
                    <a:pt x="4" y="83"/>
                  </a:lnTo>
                  <a:lnTo>
                    <a:pt x="8" y="72"/>
                  </a:lnTo>
                  <a:lnTo>
                    <a:pt x="13" y="62"/>
                  </a:lnTo>
                  <a:lnTo>
                    <a:pt x="18" y="52"/>
                  </a:lnTo>
                  <a:lnTo>
                    <a:pt x="26" y="44"/>
                  </a:lnTo>
                  <a:lnTo>
                    <a:pt x="33" y="35"/>
                  </a:lnTo>
                  <a:lnTo>
                    <a:pt x="41" y="28"/>
                  </a:lnTo>
                  <a:lnTo>
                    <a:pt x="50" y="21"/>
                  </a:lnTo>
                  <a:lnTo>
                    <a:pt x="60" y="15"/>
                  </a:lnTo>
                  <a:lnTo>
                    <a:pt x="70" y="11"/>
                  </a:lnTo>
                  <a:lnTo>
                    <a:pt x="80" y="6"/>
                  </a:lnTo>
                  <a:lnTo>
                    <a:pt x="92" y="3"/>
                  </a:lnTo>
                  <a:lnTo>
                    <a:pt x="103" y="2"/>
                  </a:lnTo>
                  <a:lnTo>
                    <a:pt x="115" y="0"/>
                  </a:lnTo>
                  <a:lnTo>
                    <a:pt x="230" y="0"/>
                  </a:lnTo>
                  <a:lnTo>
                    <a:pt x="230" y="117"/>
                  </a:lnTo>
                  <a:lnTo>
                    <a:pt x="230" y="129"/>
                  </a:lnTo>
                  <a:lnTo>
                    <a:pt x="229" y="140"/>
                  </a:lnTo>
                  <a:lnTo>
                    <a:pt x="226" y="150"/>
                  </a:lnTo>
                  <a:lnTo>
                    <a:pt x="221" y="160"/>
                  </a:lnTo>
                  <a:lnTo>
                    <a:pt x="216" y="170"/>
                  </a:lnTo>
                  <a:lnTo>
                    <a:pt x="210" y="180"/>
                  </a:lnTo>
                  <a:lnTo>
                    <a:pt x="204" y="189"/>
                  </a:lnTo>
                  <a:lnTo>
                    <a:pt x="195" y="198"/>
                  </a:lnTo>
                  <a:lnTo>
                    <a:pt x="187" y="205"/>
                  </a:lnTo>
                  <a:lnTo>
                    <a:pt x="178" y="212"/>
                  </a:lnTo>
                  <a:lnTo>
                    <a:pt x="170" y="218"/>
                  </a:lnTo>
                  <a:lnTo>
                    <a:pt x="159" y="224"/>
                  </a:lnTo>
                  <a:lnTo>
                    <a:pt x="148" y="228"/>
                  </a:lnTo>
                  <a:lnTo>
                    <a:pt x="138" y="231"/>
                  </a:lnTo>
                  <a:lnTo>
                    <a:pt x="126" y="232"/>
                  </a:lnTo>
                  <a:lnTo>
                    <a:pt x="115" y="23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20" name="Freeform 248"/>
            <p:cNvSpPr>
              <a:spLocks noEditPoints="1"/>
            </p:cNvSpPr>
            <p:nvPr/>
          </p:nvSpPr>
          <p:spPr bwMode="auto">
            <a:xfrm>
              <a:off x="1524188" y="4756864"/>
              <a:ext cx="112111" cy="112111"/>
            </a:xfrm>
            <a:custGeom>
              <a:avLst/>
              <a:gdLst>
                <a:gd name="T0" fmla="*/ 108 w 231"/>
                <a:gd name="T1" fmla="*/ 39 h 232"/>
                <a:gd name="T2" fmla="*/ 92 w 231"/>
                <a:gd name="T3" fmla="*/ 42 h 232"/>
                <a:gd name="T4" fmla="*/ 72 w 231"/>
                <a:gd name="T5" fmla="*/ 52 h 232"/>
                <a:gd name="T6" fmla="*/ 51 w 231"/>
                <a:gd name="T7" fmla="*/ 72 h 232"/>
                <a:gd name="T8" fmla="*/ 41 w 231"/>
                <a:gd name="T9" fmla="*/ 92 h 232"/>
                <a:gd name="T10" fmla="*/ 38 w 231"/>
                <a:gd name="T11" fmla="*/ 108 h 232"/>
                <a:gd name="T12" fmla="*/ 38 w 231"/>
                <a:gd name="T13" fmla="*/ 124 h 232"/>
                <a:gd name="T14" fmla="*/ 41 w 231"/>
                <a:gd name="T15" fmla="*/ 138 h 232"/>
                <a:gd name="T16" fmla="*/ 51 w 231"/>
                <a:gd name="T17" fmla="*/ 159 h 232"/>
                <a:gd name="T18" fmla="*/ 72 w 231"/>
                <a:gd name="T19" fmla="*/ 180 h 232"/>
                <a:gd name="T20" fmla="*/ 92 w 231"/>
                <a:gd name="T21" fmla="*/ 190 h 232"/>
                <a:gd name="T22" fmla="*/ 108 w 231"/>
                <a:gd name="T23" fmla="*/ 193 h 232"/>
                <a:gd name="T24" fmla="*/ 123 w 231"/>
                <a:gd name="T25" fmla="*/ 193 h 232"/>
                <a:gd name="T26" fmla="*/ 139 w 231"/>
                <a:gd name="T27" fmla="*/ 189 h 232"/>
                <a:gd name="T28" fmla="*/ 159 w 231"/>
                <a:gd name="T29" fmla="*/ 179 h 232"/>
                <a:gd name="T30" fmla="*/ 180 w 231"/>
                <a:gd name="T31" fmla="*/ 156 h 232"/>
                <a:gd name="T32" fmla="*/ 191 w 231"/>
                <a:gd name="T33" fmla="*/ 130 h 232"/>
                <a:gd name="T34" fmla="*/ 192 w 231"/>
                <a:gd name="T35" fmla="*/ 39 h 232"/>
                <a:gd name="T36" fmla="*/ 115 w 231"/>
                <a:gd name="T37" fmla="*/ 232 h 232"/>
                <a:gd name="T38" fmla="*/ 92 w 231"/>
                <a:gd name="T39" fmla="*/ 229 h 232"/>
                <a:gd name="T40" fmla="*/ 70 w 231"/>
                <a:gd name="T41" fmla="*/ 222 h 232"/>
                <a:gd name="T42" fmla="*/ 50 w 231"/>
                <a:gd name="T43" fmla="*/ 212 h 232"/>
                <a:gd name="T44" fmla="*/ 33 w 231"/>
                <a:gd name="T45" fmla="*/ 198 h 232"/>
                <a:gd name="T46" fmla="*/ 18 w 231"/>
                <a:gd name="T47" fmla="*/ 180 h 232"/>
                <a:gd name="T48" fmla="*/ 8 w 231"/>
                <a:gd name="T49" fmla="*/ 162 h 232"/>
                <a:gd name="T50" fmla="*/ 1 w 231"/>
                <a:gd name="T51" fmla="*/ 140 h 232"/>
                <a:gd name="T52" fmla="*/ 0 w 231"/>
                <a:gd name="T53" fmla="*/ 115 h 232"/>
                <a:gd name="T54" fmla="*/ 1 w 231"/>
                <a:gd name="T55" fmla="*/ 92 h 232"/>
                <a:gd name="T56" fmla="*/ 8 w 231"/>
                <a:gd name="T57" fmla="*/ 71 h 232"/>
                <a:gd name="T58" fmla="*/ 18 w 231"/>
                <a:gd name="T59" fmla="*/ 51 h 232"/>
                <a:gd name="T60" fmla="*/ 33 w 231"/>
                <a:gd name="T61" fmla="*/ 35 h 232"/>
                <a:gd name="T62" fmla="*/ 50 w 231"/>
                <a:gd name="T63" fmla="*/ 20 h 232"/>
                <a:gd name="T64" fmla="*/ 70 w 231"/>
                <a:gd name="T65" fmla="*/ 9 h 232"/>
                <a:gd name="T66" fmla="*/ 92 w 231"/>
                <a:gd name="T67" fmla="*/ 3 h 232"/>
                <a:gd name="T68" fmla="*/ 115 w 231"/>
                <a:gd name="T69" fmla="*/ 0 h 232"/>
                <a:gd name="T70" fmla="*/ 231 w 231"/>
                <a:gd name="T71" fmla="*/ 115 h 232"/>
                <a:gd name="T72" fmla="*/ 228 w 231"/>
                <a:gd name="T73" fmla="*/ 138 h 232"/>
                <a:gd name="T74" fmla="*/ 221 w 231"/>
                <a:gd name="T75" fmla="*/ 160 h 232"/>
                <a:gd name="T76" fmla="*/ 210 w 231"/>
                <a:gd name="T77" fmla="*/ 180 h 232"/>
                <a:gd name="T78" fmla="*/ 195 w 231"/>
                <a:gd name="T79" fmla="*/ 198 h 232"/>
                <a:gd name="T80" fmla="*/ 178 w 231"/>
                <a:gd name="T81" fmla="*/ 212 h 232"/>
                <a:gd name="T82" fmla="*/ 159 w 231"/>
                <a:gd name="T83" fmla="*/ 222 h 232"/>
                <a:gd name="T84" fmla="*/ 138 w 231"/>
                <a:gd name="T85" fmla="*/ 229 h 232"/>
                <a:gd name="T86" fmla="*/ 115 w 231"/>
                <a:gd name="T8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1" h="232">
                  <a:moveTo>
                    <a:pt x="115" y="39"/>
                  </a:moveTo>
                  <a:lnTo>
                    <a:pt x="108" y="39"/>
                  </a:lnTo>
                  <a:lnTo>
                    <a:pt x="99" y="41"/>
                  </a:lnTo>
                  <a:lnTo>
                    <a:pt x="92" y="42"/>
                  </a:lnTo>
                  <a:lnTo>
                    <a:pt x="84" y="45"/>
                  </a:lnTo>
                  <a:lnTo>
                    <a:pt x="72" y="52"/>
                  </a:lnTo>
                  <a:lnTo>
                    <a:pt x="60" y="61"/>
                  </a:lnTo>
                  <a:lnTo>
                    <a:pt x="51" y="72"/>
                  </a:lnTo>
                  <a:lnTo>
                    <a:pt x="44" y="87"/>
                  </a:lnTo>
                  <a:lnTo>
                    <a:pt x="41" y="92"/>
                  </a:lnTo>
                  <a:lnTo>
                    <a:pt x="40" y="101"/>
                  </a:lnTo>
                  <a:lnTo>
                    <a:pt x="38" y="108"/>
                  </a:lnTo>
                  <a:lnTo>
                    <a:pt x="38" y="115"/>
                  </a:lnTo>
                  <a:lnTo>
                    <a:pt x="38" y="124"/>
                  </a:lnTo>
                  <a:lnTo>
                    <a:pt x="40" y="131"/>
                  </a:lnTo>
                  <a:lnTo>
                    <a:pt x="41" y="138"/>
                  </a:lnTo>
                  <a:lnTo>
                    <a:pt x="44" y="146"/>
                  </a:lnTo>
                  <a:lnTo>
                    <a:pt x="51" y="159"/>
                  </a:lnTo>
                  <a:lnTo>
                    <a:pt x="60" y="170"/>
                  </a:lnTo>
                  <a:lnTo>
                    <a:pt x="72" y="180"/>
                  </a:lnTo>
                  <a:lnTo>
                    <a:pt x="84" y="187"/>
                  </a:lnTo>
                  <a:lnTo>
                    <a:pt x="92" y="190"/>
                  </a:lnTo>
                  <a:lnTo>
                    <a:pt x="99" y="192"/>
                  </a:lnTo>
                  <a:lnTo>
                    <a:pt x="108" y="193"/>
                  </a:lnTo>
                  <a:lnTo>
                    <a:pt x="115" y="193"/>
                  </a:lnTo>
                  <a:lnTo>
                    <a:pt x="123" y="193"/>
                  </a:lnTo>
                  <a:lnTo>
                    <a:pt x="131" y="192"/>
                  </a:lnTo>
                  <a:lnTo>
                    <a:pt x="139" y="189"/>
                  </a:lnTo>
                  <a:lnTo>
                    <a:pt x="145" y="186"/>
                  </a:lnTo>
                  <a:lnTo>
                    <a:pt x="159" y="179"/>
                  </a:lnTo>
                  <a:lnTo>
                    <a:pt x="169" y="169"/>
                  </a:lnTo>
                  <a:lnTo>
                    <a:pt x="180" y="156"/>
                  </a:lnTo>
                  <a:lnTo>
                    <a:pt x="187" y="143"/>
                  </a:lnTo>
                  <a:lnTo>
                    <a:pt x="191" y="130"/>
                  </a:lnTo>
                  <a:lnTo>
                    <a:pt x="192" y="115"/>
                  </a:lnTo>
                  <a:lnTo>
                    <a:pt x="192" y="39"/>
                  </a:lnTo>
                  <a:lnTo>
                    <a:pt x="115" y="39"/>
                  </a:lnTo>
                  <a:close/>
                  <a:moveTo>
                    <a:pt x="115" y="232"/>
                  </a:moveTo>
                  <a:lnTo>
                    <a:pt x="103" y="231"/>
                  </a:lnTo>
                  <a:lnTo>
                    <a:pt x="92" y="229"/>
                  </a:lnTo>
                  <a:lnTo>
                    <a:pt x="80" y="226"/>
                  </a:lnTo>
                  <a:lnTo>
                    <a:pt x="70" y="222"/>
                  </a:lnTo>
                  <a:lnTo>
                    <a:pt x="60" y="218"/>
                  </a:lnTo>
                  <a:lnTo>
                    <a:pt x="50" y="212"/>
                  </a:lnTo>
                  <a:lnTo>
                    <a:pt x="41" y="205"/>
                  </a:lnTo>
                  <a:lnTo>
                    <a:pt x="33" y="198"/>
                  </a:lnTo>
                  <a:lnTo>
                    <a:pt x="25" y="190"/>
                  </a:lnTo>
                  <a:lnTo>
                    <a:pt x="18" y="180"/>
                  </a:lnTo>
                  <a:lnTo>
                    <a:pt x="12" y="172"/>
                  </a:lnTo>
                  <a:lnTo>
                    <a:pt x="8" y="162"/>
                  </a:lnTo>
                  <a:lnTo>
                    <a:pt x="4" y="150"/>
                  </a:lnTo>
                  <a:lnTo>
                    <a:pt x="1" y="140"/>
                  </a:lnTo>
                  <a:lnTo>
                    <a:pt x="0" y="128"/>
                  </a:lnTo>
                  <a:lnTo>
                    <a:pt x="0" y="115"/>
                  </a:lnTo>
                  <a:lnTo>
                    <a:pt x="0" y="104"/>
                  </a:lnTo>
                  <a:lnTo>
                    <a:pt x="1" y="92"/>
                  </a:lnTo>
                  <a:lnTo>
                    <a:pt x="4" y="81"/>
                  </a:lnTo>
                  <a:lnTo>
                    <a:pt x="8" y="71"/>
                  </a:lnTo>
                  <a:lnTo>
                    <a:pt x="12" y="61"/>
                  </a:lnTo>
                  <a:lnTo>
                    <a:pt x="18" y="51"/>
                  </a:lnTo>
                  <a:lnTo>
                    <a:pt x="25" y="42"/>
                  </a:lnTo>
                  <a:lnTo>
                    <a:pt x="33" y="35"/>
                  </a:lnTo>
                  <a:lnTo>
                    <a:pt x="41" y="26"/>
                  </a:lnTo>
                  <a:lnTo>
                    <a:pt x="50" y="20"/>
                  </a:lnTo>
                  <a:lnTo>
                    <a:pt x="60" y="15"/>
                  </a:lnTo>
                  <a:lnTo>
                    <a:pt x="70" y="9"/>
                  </a:lnTo>
                  <a:lnTo>
                    <a:pt x="80" y="6"/>
                  </a:lnTo>
                  <a:lnTo>
                    <a:pt x="92" y="3"/>
                  </a:lnTo>
                  <a:lnTo>
                    <a:pt x="103" y="0"/>
                  </a:lnTo>
                  <a:lnTo>
                    <a:pt x="115" y="0"/>
                  </a:lnTo>
                  <a:lnTo>
                    <a:pt x="231" y="0"/>
                  </a:lnTo>
                  <a:lnTo>
                    <a:pt x="231" y="115"/>
                  </a:lnTo>
                  <a:lnTo>
                    <a:pt x="230" y="127"/>
                  </a:lnTo>
                  <a:lnTo>
                    <a:pt x="228" y="138"/>
                  </a:lnTo>
                  <a:lnTo>
                    <a:pt x="226" y="150"/>
                  </a:lnTo>
                  <a:lnTo>
                    <a:pt x="221" y="160"/>
                  </a:lnTo>
                  <a:lnTo>
                    <a:pt x="217" y="170"/>
                  </a:lnTo>
                  <a:lnTo>
                    <a:pt x="210" y="180"/>
                  </a:lnTo>
                  <a:lnTo>
                    <a:pt x="204" y="189"/>
                  </a:lnTo>
                  <a:lnTo>
                    <a:pt x="195" y="198"/>
                  </a:lnTo>
                  <a:lnTo>
                    <a:pt x="188" y="205"/>
                  </a:lnTo>
                  <a:lnTo>
                    <a:pt x="178" y="212"/>
                  </a:lnTo>
                  <a:lnTo>
                    <a:pt x="169" y="218"/>
                  </a:lnTo>
                  <a:lnTo>
                    <a:pt x="159" y="222"/>
                  </a:lnTo>
                  <a:lnTo>
                    <a:pt x="149" y="226"/>
                  </a:lnTo>
                  <a:lnTo>
                    <a:pt x="138" y="229"/>
                  </a:lnTo>
                  <a:lnTo>
                    <a:pt x="126" y="231"/>
                  </a:lnTo>
                  <a:lnTo>
                    <a:pt x="115" y="23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21" name="Freeform 249"/>
            <p:cNvSpPr/>
            <p:nvPr/>
          </p:nvSpPr>
          <p:spPr bwMode="auto">
            <a:xfrm>
              <a:off x="1431004" y="4507890"/>
              <a:ext cx="205295" cy="314494"/>
            </a:xfrm>
            <a:custGeom>
              <a:avLst/>
              <a:gdLst>
                <a:gd name="T0" fmla="*/ 37 w 424"/>
                <a:gd name="T1" fmla="*/ 647 h 647"/>
                <a:gd name="T2" fmla="*/ 0 w 424"/>
                <a:gd name="T3" fmla="*/ 647 h 647"/>
                <a:gd name="T4" fmla="*/ 0 w 424"/>
                <a:gd name="T5" fmla="*/ 170 h 647"/>
                <a:gd name="T6" fmla="*/ 424 w 424"/>
                <a:gd name="T7" fmla="*/ 0 h 647"/>
                <a:gd name="T8" fmla="*/ 424 w 424"/>
                <a:gd name="T9" fmla="*/ 530 h 647"/>
                <a:gd name="T10" fmla="*/ 385 w 424"/>
                <a:gd name="T11" fmla="*/ 530 h 647"/>
                <a:gd name="T12" fmla="*/ 385 w 424"/>
                <a:gd name="T13" fmla="*/ 56 h 647"/>
                <a:gd name="T14" fmla="*/ 37 w 424"/>
                <a:gd name="T15" fmla="*/ 196 h 647"/>
                <a:gd name="T16" fmla="*/ 37 w 424"/>
                <a:gd name="T17"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647">
                  <a:moveTo>
                    <a:pt x="37" y="647"/>
                  </a:moveTo>
                  <a:lnTo>
                    <a:pt x="0" y="647"/>
                  </a:lnTo>
                  <a:lnTo>
                    <a:pt x="0" y="170"/>
                  </a:lnTo>
                  <a:lnTo>
                    <a:pt x="424" y="0"/>
                  </a:lnTo>
                  <a:lnTo>
                    <a:pt x="424" y="530"/>
                  </a:lnTo>
                  <a:lnTo>
                    <a:pt x="385" y="530"/>
                  </a:lnTo>
                  <a:lnTo>
                    <a:pt x="385" y="56"/>
                  </a:lnTo>
                  <a:lnTo>
                    <a:pt x="37" y="196"/>
                  </a:lnTo>
                  <a:lnTo>
                    <a:pt x="37" y="6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22" name="Freeform 250"/>
            <p:cNvSpPr/>
            <p:nvPr/>
          </p:nvSpPr>
          <p:spPr bwMode="auto">
            <a:xfrm>
              <a:off x="1435372" y="4579233"/>
              <a:ext cx="195103" cy="91727"/>
            </a:xfrm>
            <a:custGeom>
              <a:avLst/>
              <a:gdLst>
                <a:gd name="T0" fmla="*/ 386 w 400"/>
                <a:gd name="T1" fmla="*/ 0 h 190"/>
                <a:gd name="T2" fmla="*/ 400 w 400"/>
                <a:gd name="T3" fmla="*/ 36 h 190"/>
                <a:gd name="T4" fmla="*/ 14 w 400"/>
                <a:gd name="T5" fmla="*/ 190 h 190"/>
                <a:gd name="T6" fmla="*/ 0 w 400"/>
                <a:gd name="T7" fmla="*/ 154 h 190"/>
                <a:gd name="T8" fmla="*/ 386 w 400"/>
                <a:gd name="T9" fmla="*/ 0 h 190"/>
              </a:gdLst>
              <a:ahLst/>
              <a:cxnLst>
                <a:cxn ang="0">
                  <a:pos x="T0" y="T1"/>
                </a:cxn>
                <a:cxn ang="0">
                  <a:pos x="T2" y="T3"/>
                </a:cxn>
                <a:cxn ang="0">
                  <a:pos x="T4" y="T5"/>
                </a:cxn>
                <a:cxn ang="0">
                  <a:pos x="T6" y="T7"/>
                </a:cxn>
                <a:cxn ang="0">
                  <a:pos x="T8" y="T9"/>
                </a:cxn>
              </a:cxnLst>
              <a:rect l="0" t="0" r="r" b="b"/>
              <a:pathLst>
                <a:path w="400" h="190">
                  <a:moveTo>
                    <a:pt x="386" y="0"/>
                  </a:moveTo>
                  <a:lnTo>
                    <a:pt x="400" y="36"/>
                  </a:lnTo>
                  <a:lnTo>
                    <a:pt x="14" y="190"/>
                  </a:lnTo>
                  <a:lnTo>
                    <a:pt x="0" y="154"/>
                  </a:lnTo>
                  <a:lnTo>
                    <a:pt x="38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grpSp>
      <p:grpSp>
        <p:nvGrpSpPr>
          <p:cNvPr id="23" name="Group 22"/>
          <p:cNvGrpSpPr/>
          <p:nvPr/>
        </p:nvGrpSpPr>
        <p:grpSpPr>
          <a:xfrm>
            <a:off x="6328815" y="2145343"/>
            <a:ext cx="337426" cy="274091"/>
            <a:chOff x="2013401" y="4534097"/>
            <a:chExt cx="449901" cy="365454"/>
          </a:xfrm>
          <a:solidFill>
            <a:schemeClr val="tx1">
              <a:lumMod val="85000"/>
              <a:lumOff val="15000"/>
            </a:schemeClr>
          </a:solidFill>
        </p:grpSpPr>
        <p:sp>
          <p:nvSpPr>
            <p:cNvPr id="24" name="Freeform 251"/>
            <p:cNvSpPr/>
            <p:nvPr/>
          </p:nvSpPr>
          <p:spPr bwMode="auto">
            <a:xfrm>
              <a:off x="2078920" y="4534097"/>
              <a:ext cx="318862" cy="187823"/>
            </a:xfrm>
            <a:custGeom>
              <a:avLst/>
              <a:gdLst>
                <a:gd name="T0" fmla="*/ 618 w 657"/>
                <a:gd name="T1" fmla="*/ 386 h 386"/>
                <a:gd name="T2" fmla="*/ 618 w 657"/>
                <a:gd name="T3" fmla="*/ 313 h 386"/>
                <a:gd name="T4" fmla="*/ 615 w 657"/>
                <a:gd name="T5" fmla="*/ 284 h 386"/>
                <a:gd name="T6" fmla="*/ 605 w 657"/>
                <a:gd name="T7" fmla="*/ 242 h 386"/>
                <a:gd name="T8" fmla="*/ 583 w 657"/>
                <a:gd name="T9" fmla="*/ 190 h 386"/>
                <a:gd name="T10" fmla="*/ 551 w 657"/>
                <a:gd name="T11" fmla="*/ 144 h 386"/>
                <a:gd name="T12" fmla="*/ 513 w 657"/>
                <a:gd name="T13" fmla="*/ 104 h 386"/>
                <a:gd name="T14" fmla="*/ 466 w 657"/>
                <a:gd name="T15" fmla="*/ 74 h 386"/>
                <a:gd name="T16" fmla="*/ 415 w 657"/>
                <a:gd name="T17" fmla="*/ 51 h 386"/>
                <a:gd name="T18" fmla="*/ 371 w 657"/>
                <a:gd name="T19" fmla="*/ 42 h 386"/>
                <a:gd name="T20" fmla="*/ 343 w 657"/>
                <a:gd name="T21" fmla="*/ 39 h 386"/>
                <a:gd name="T22" fmla="*/ 314 w 657"/>
                <a:gd name="T23" fmla="*/ 39 h 386"/>
                <a:gd name="T24" fmla="*/ 284 w 657"/>
                <a:gd name="T25" fmla="*/ 42 h 386"/>
                <a:gd name="T26" fmla="*/ 242 w 657"/>
                <a:gd name="T27" fmla="*/ 51 h 386"/>
                <a:gd name="T28" fmla="*/ 190 w 657"/>
                <a:gd name="T29" fmla="*/ 74 h 386"/>
                <a:gd name="T30" fmla="*/ 144 w 657"/>
                <a:gd name="T31" fmla="*/ 104 h 386"/>
                <a:gd name="T32" fmla="*/ 105 w 657"/>
                <a:gd name="T33" fmla="*/ 144 h 386"/>
                <a:gd name="T34" fmla="*/ 73 w 657"/>
                <a:gd name="T35" fmla="*/ 190 h 386"/>
                <a:gd name="T36" fmla="*/ 52 w 657"/>
                <a:gd name="T37" fmla="*/ 242 h 386"/>
                <a:gd name="T38" fmla="*/ 42 w 657"/>
                <a:gd name="T39" fmla="*/ 284 h 386"/>
                <a:gd name="T40" fmla="*/ 39 w 657"/>
                <a:gd name="T41" fmla="*/ 313 h 386"/>
                <a:gd name="T42" fmla="*/ 39 w 657"/>
                <a:gd name="T43" fmla="*/ 386 h 386"/>
                <a:gd name="T44" fmla="*/ 0 w 657"/>
                <a:gd name="T45" fmla="*/ 329 h 386"/>
                <a:gd name="T46" fmla="*/ 1 w 657"/>
                <a:gd name="T47" fmla="*/ 294 h 386"/>
                <a:gd name="T48" fmla="*/ 7 w 657"/>
                <a:gd name="T49" fmla="*/ 262 h 386"/>
                <a:gd name="T50" fmla="*/ 14 w 657"/>
                <a:gd name="T51" fmla="*/ 231 h 386"/>
                <a:gd name="T52" fmla="*/ 26 w 657"/>
                <a:gd name="T53" fmla="*/ 200 h 386"/>
                <a:gd name="T54" fmla="*/ 39 w 657"/>
                <a:gd name="T55" fmla="*/ 172 h 386"/>
                <a:gd name="T56" fmla="*/ 56 w 657"/>
                <a:gd name="T57" fmla="*/ 144 h 386"/>
                <a:gd name="T58" fmla="*/ 75 w 657"/>
                <a:gd name="T59" fmla="*/ 120 h 386"/>
                <a:gd name="T60" fmla="*/ 96 w 657"/>
                <a:gd name="T61" fmla="*/ 95 h 386"/>
                <a:gd name="T62" fmla="*/ 119 w 657"/>
                <a:gd name="T63" fmla="*/ 75 h 386"/>
                <a:gd name="T64" fmla="*/ 145 w 657"/>
                <a:gd name="T65" fmla="*/ 56 h 386"/>
                <a:gd name="T66" fmla="*/ 171 w 657"/>
                <a:gd name="T67" fmla="*/ 39 h 386"/>
                <a:gd name="T68" fmla="*/ 200 w 657"/>
                <a:gd name="T69" fmla="*/ 26 h 386"/>
                <a:gd name="T70" fmla="*/ 230 w 657"/>
                <a:gd name="T71" fmla="*/ 15 h 386"/>
                <a:gd name="T72" fmla="*/ 262 w 657"/>
                <a:gd name="T73" fmla="*/ 6 h 386"/>
                <a:gd name="T74" fmla="*/ 295 w 657"/>
                <a:gd name="T75" fmla="*/ 2 h 386"/>
                <a:gd name="T76" fmla="*/ 328 w 657"/>
                <a:gd name="T77" fmla="*/ 0 h 386"/>
                <a:gd name="T78" fmla="*/ 361 w 657"/>
                <a:gd name="T79" fmla="*/ 2 h 386"/>
                <a:gd name="T80" fmla="*/ 394 w 657"/>
                <a:gd name="T81" fmla="*/ 6 h 386"/>
                <a:gd name="T82" fmla="*/ 426 w 657"/>
                <a:gd name="T83" fmla="*/ 15 h 386"/>
                <a:gd name="T84" fmla="*/ 456 w 657"/>
                <a:gd name="T85" fmla="*/ 26 h 386"/>
                <a:gd name="T86" fmla="*/ 484 w 657"/>
                <a:gd name="T87" fmla="*/ 39 h 386"/>
                <a:gd name="T88" fmla="*/ 511 w 657"/>
                <a:gd name="T89" fmla="*/ 56 h 386"/>
                <a:gd name="T90" fmla="*/ 537 w 657"/>
                <a:gd name="T91" fmla="*/ 75 h 386"/>
                <a:gd name="T92" fmla="*/ 560 w 657"/>
                <a:gd name="T93" fmla="*/ 95 h 386"/>
                <a:gd name="T94" fmla="*/ 582 w 657"/>
                <a:gd name="T95" fmla="*/ 120 h 386"/>
                <a:gd name="T96" fmla="*/ 600 w 657"/>
                <a:gd name="T97" fmla="*/ 144 h 386"/>
                <a:gd name="T98" fmla="*/ 616 w 657"/>
                <a:gd name="T99" fmla="*/ 172 h 386"/>
                <a:gd name="T100" fmla="*/ 631 w 657"/>
                <a:gd name="T101" fmla="*/ 200 h 386"/>
                <a:gd name="T102" fmla="*/ 642 w 657"/>
                <a:gd name="T103" fmla="*/ 231 h 386"/>
                <a:gd name="T104" fmla="*/ 649 w 657"/>
                <a:gd name="T105" fmla="*/ 262 h 386"/>
                <a:gd name="T106" fmla="*/ 655 w 657"/>
                <a:gd name="T107" fmla="*/ 294 h 386"/>
                <a:gd name="T108" fmla="*/ 657 w 657"/>
                <a:gd name="T109" fmla="*/ 32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57" h="386">
                  <a:moveTo>
                    <a:pt x="657" y="386"/>
                  </a:moveTo>
                  <a:lnTo>
                    <a:pt x="618" y="386"/>
                  </a:lnTo>
                  <a:lnTo>
                    <a:pt x="618" y="329"/>
                  </a:lnTo>
                  <a:lnTo>
                    <a:pt x="618" y="313"/>
                  </a:lnTo>
                  <a:lnTo>
                    <a:pt x="616" y="298"/>
                  </a:lnTo>
                  <a:lnTo>
                    <a:pt x="615" y="284"/>
                  </a:lnTo>
                  <a:lnTo>
                    <a:pt x="612" y="270"/>
                  </a:lnTo>
                  <a:lnTo>
                    <a:pt x="605" y="242"/>
                  </a:lnTo>
                  <a:lnTo>
                    <a:pt x="595" y="215"/>
                  </a:lnTo>
                  <a:lnTo>
                    <a:pt x="583" y="190"/>
                  </a:lnTo>
                  <a:lnTo>
                    <a:pt x="569" y="166"/>
                  </a:lnTo>
                  <a:lnTo>
                    <a:pt x="551" y="144"/>
                  </a:lnTo>
                  <a:lnTo>
                    <a:pt x="533" y="123"/>
                  </a:lnTo>
                  <a:lnTo>
                    <a:pt x="513" y="104"/>
                  </a:lnTo>
                  <a:lnTo>
                    <a:pt x="489" y="88"/>
                  </a:lnTo>
                  <a:lnTo>
                    <a:pt x="466" y="74"/>
                  </a:lnTo>
                  <a:lnTo>
                    <a:pt x="441" y="61"/>
                  </a:lnTo>
                  <a:lnTo>
                    <a:pt x="415" y="51"/>
                  </a:lnTo>
                  <a:lnTo>
                    <a:pt x="386" y="45"/>
                  </a:lnTo>
                  <a:lnTo>
                    <a:pt x="371" y="42"/>
                  </a:lnTo>
                  <a:lnTo>
                    <a:pt x="357" y="39"/>
                  </a:lnTo>
                  <a:lnTo>
                    <a:pt x="343" y="39"/>
                  </a:lnTo>
                  <a:lnTo>
                    <a:pt x="328" y="38"/>
                  </a:lnTo>
                  <a:lnTo>
                    <a:pt x="314" y="39"/>
                  </a:lnTo>
                  <a:lnTo>
                    <a:pt x="298" y="39"/>
                  </a:lnTo>
                  <a:lnTo>
                    <a:pt x="284" y="42"/>
                  </a:lnTo>
                  <a:lnTo>
                    <a:pt x="269" y="45"/>
                  </a:lnTo>
                  <a:lnTo>
                    <a:pt x="242" y="51"/>
                  </a:lnTo>
                  <a:lnTo>
                    <a:pt x="216" y="61"/>
                  </a:lnTo>
                  <a:lnTo>
                    <a:pt x="190" y="74"/>
                  </a:lnTo>
                  <a:lnTo>
                    <a:pt x="165" y="88"/>
                  </a:lnTo>
                  <a:lnTo>
                    <a:pt x="144" y="104"/>
                  </a:lnTo>
                  <a:lnTo>
                    <a:pt x="124" y="123"/>
                  </a:lnTo>
                  <a:lnTo>
                    <a:pt x="105" y="144"/>
                  </a:lnTo>
                  <a:lnTo>
                    <a:pt x="88" y="166"/>
                  </a:lnTo>
                  <a:lnTo>
                    <a:pt x="73" y="190"/>
                  </a:lnTo>
                  <a:lnTo>
                    <a:pt x="62" y="215"/>
                  </a:lnTo>
                  <a:lnTo>
                    <a:pt x="52" y="242"/>
                  </a:lnTo>
                  <a:lnTo>
                    <a:pt x="45" y="270"/>
                  </a:lnTo>
                  <a:lnTo>
                    <a:pt x="42" y="284"/>
                  </a:lnTo>
                  <a:lnTo>
                    <a:pt x="40" y="298"/>
                  </a:lnTo>
                  <a:lnTo>
                    <a:pt x="39" y="313"/>
                  </a:lnTo>
                  <a:lnTo>
                    <a:pt x="39" y="329"/>
                  </a:lnTo>
                  <a:lnTo>
                    <a:pt x="39" y="386"/>
                  </a:lnTo>
                  <a:lnTo>
                    <a:pt x="0" y="386"/>
                  </a:lnTo>
                  <a:lnTo>
                    <a:pt x="0" y="329"/>
                  </a:lnTo>
                  <a:lnTo>
                    <a:pt x="0" y="311"/>
                  </a:lnTo>
                  <a:lnTo>
                    <a:pt x="1" y="294"/>
                  </a:lnTo>
                  <a:lnTo>
                    <a:pt x="4" y="278"/>
                  </a:lnTo>
                  <a:lnTo>
                    <a:pt x="7" y="262"/>
                  </a:lnTo>
                  <a:lnTo>
                    <a:pt x="10" y="246"/>
                  </a:lnTo>
                  <a:lnTo>
                    <a:pt x="14" y="231"/>
                  </a:lnTo>
                  <a:lnTo>
                    <a:pt x="20" y="215"/>
                  </a:lnTo>
                  <a:lnTo>
                    <a:pt x="26" y="200"/>
                  </a:lnTo>
                  <a:lnTo>
                    <a:pt x="32" y="186"/>
                  </a:lnTo>
                  <a:lnTo>
                    <a:pt x="39" y="172"/>
                  </a:lnTo>
                  <a:lnTo>
                    <a:pt x="47" y="157"/>
                  </a:lnTo>
                  <a:lnTo>
                    <a:pt x="56" y="144"/>
                  </a:lnTo>
                  <a:lnTo>
                    <a:pt x="65" y="131"/>
                  </a:lnTo>
                  <a:lnTo>
                    <a:pt x="75" y="120"/>
                  </a:lnTo>
                  <a:lnTo>
                    <a:pt x="85" y="107"/>
                  </a:lnTo>
                  <a:lnTo>
                    <a:pt x="96" y="95"/>
                  </a:lnTo>
                  <a:lnTo>
                    <a:pt x="108" y="85"/>
                  </a:lnTo>
                  <a:lnTo>
                    <a:pt x="119" y="75"/>
                  </a:lnTo>
                  <a:lnTo>
                    <a:pt x="132" y="65"/>
                  </a:lnTo>
                  <a:lnTo>
                    <a:pt x="145" y="56"/>
                  </a:lnTo>
                  <a:lnTo>
                    <a:pt x="158" y="48"/>
                  </a:lnTo>
                  <a:lnTo>
                    <a:pt x="171" y="39"/>
                  </a:lnTo>
                  <a:lnTo>
                    <a:pt x="186" y="32"/>
                  </a:lnTo>
                  <a:lnTo>
                    <a:pt x="200" y="26"/>
                  </a:lnTo>
                  <a:lnTo>
                    <a:pt x="216" y="19"/>
                  </a:lnTo>
                  <a:lnTo>
                    <a:pt x="230" y="15"/>
                  </a:lnTo>
                  <a:lnTo>
                    <a:pt x="246" y="10"/>
                  </a:lnTo>
                  <a:lnTo>
                    <a:pt x="262" y="6"/>
                  </a:lnTo>
                  <a:lnTo>
                    <a:pt x="278" y="3"/>
                  </a:lnTo>
                  <a:lnTo>
                    <a:pt x="295" y="2"/>
                  </a:lnTo>
                  <a:lnTo>
                    <a:pt x="311" y="0"/>
                  </a:lnTo>
                  <a:lnTo>
                    <a:pt x="328" y="0"/>
                  </a:lnTo>
                  <a:lnTo>
                    <a:pt x="345" y="0"/>
                  </a:lnTo>
                  <a:lnTo>
                    <a:pt x="361" y="2"/>
                  </a:lnTo>
                  <a:lnTo>
                    <a:pt x="379" y="3"/>
                  </a:lnTo>
                  <a:lnTo>
                    <a:pt x="394" y="6"/>
                  </a:lnTo>
                  <a:lnTo>
                    <a:pt x="410" y="10"/>
                  </a:lnTo>
                  <a:lnTo>
                    <a:pt x="426" y="15"/>
                  </a:lnTo>
                  <a:lnTo>
                    <a:pt x="441" y="19"/>
                  </a:lnTo>
                  <a:lnTo>
                    <a:pt x="456" y="26"/>
                  </a:lnTo>
                  <a:lnTo>
                    <a:pt x="471" y="32"/>
                  </a:lnTo>
                  <a:lnTo>
                    <a:pt x="484" y="39"/>
                  </a:lnTo>
                  <a:lnTo>
                    <a:pt x="498" y="48"/>
                  </a:lnTo>
                  <a:lnTo>
                    <a:pt x="511" y="56"/>
                  </a:lnTo>
                  <a:lnTo>
                    <a:pt x="524" y="65"/>
                  </a:lnTo>
                  <a:lnTo>
                    <a:pt x="537" y="75"/>
                  </a:lnTo>
                  <a:lnTo>
                    <a:pt x="549" y="85"/>
                  </a:lnTo>
                  <a:lnTo>
                    <a:pt x="560" y="95"/>
                  </a:lnTo>
                  <a:lnTo>
                    <a:pt x="572" y="107"/>
                  </a:lnTo>
                  <a:lnTo>
                    <a:pt x="582" y="120"/>
                  </a:lnTo>
                  <a:lnTo>
                    <a:pt x="590" y="131"/>
                  </a:lnTo>
                  <a:lnTo>
                    <a:pt x="600" y="144"/>
                  </a:lnTo>
                  <a:lnTo>
                    <a:pt x="609" y="157"/>
                  </a:lnTo>
                  <a:lnTo>
                    <a:pt x="616" y="172"/>
                  </a:lnTo>
                  <a:lnTo>
                    <a:pt x="623" y="186"/>
                  </a:lnTo>
                  <a:lnTo>
                    <a:pt x="631" y="200"/>
                  </a:lnTo>
                  <a:lnTo>
                    <a:pt x="636" y="215"/>
                  </a:lnTo>
                  <a:lnTo>
                    <a:pt x="642" y="231"/>
                  </a:lnTo>
                  <a:lnTo>
                    <a:pt x="646" y="246"/>
                  </a:lnTo>
                  <a:lnTo>
                    <a:pt x="649" y="262"/>
                  </a:lnTo>
                  <a:lnTo>
                    <a:pt x="652" y="278"/>
                  </a:lnTo>
                  <a:lnTo>
                    <a:pt x="655" y="294"/>
                  </a:lnTo>
                  <a:lnTo>
                    <a:pt x="657" y="311"/>
                  </a:lnTo>
                  <a:lnTo>
                    <a:pt x="657" y="329"/>
                  </a:lnTo>
                  <a:lnTo>
                    <a:pt x="657" y="38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25" name="Freeform 252"/>
            <p:cNvSpPr/>
            <p:nvPr/>
          </p:nvSpPr>
          <p:spPr bwMode="auto">
            <a:xfrm>
              <a:off x="2013401" y="4758320"/>
              <a:ext cx="46592" cy="94639"/>
            </a:xfrm>
            <a:custGeom>
              <a:avLst/>
              <a:gdLst>
                <a:gd name="T0" fmla="*/ 96 w 96"/>
                <a:gd name="T1" fmla="*/ 194 h 194"/>
                <a:gd name="T2" fmla="*/ 86 w 96"/>
                <a:gd name="T3" fmla="*/ 193 h 194"/>
                <a:gd name="T4" fmla="*/ 77 w 96"/>
                <a:gd name="T5" fmla="*/ 191 h 194"/>
                <a:gd name="T6" fmla="*/ 67 w 96"/>
                <a:gd name="T7" fmla="*/ 188 h 194"/>
                <a:gd name="T8" fmla="*/ 59 w 96"/>
                <a:gd name="T9" fmla="*/ 185 h 194"/>
                <a:gd name="T10" fmla="*/ 50 w 96"/>
                <a:gd name="T11" fmla="*/ 181 h 194"/>
                <a:gd name="T12" fmla="*/ 43 w 96"/>
                <a:gd name="T13" fmla="*/ 177 h 194"/>
                <a:gd name="T14" fmla="*/ 34 w 96"/>
                <a:gd name="T15" fmla="*/ 171 h 194"/>
                <a:gd name="T16" fmla="*/ 28 w 96"/>
                <a:gd name="T17" fmla="*/ 165 h 194"/>
                <a:gd name="T18" fmla="*/ 21 w 96"/>
                <a:gd name="T19" fmla="*/ 158 h 194"/>
                <a:gd name="T20" fmla="*/ 17 w 96"/>
                <a:gd name="T21" fmla="*/ 151 h 194"/>
                <a:gd name="T22" fmla="*/ 11 w 96"/>
                <a:gd name="T23" fmla="*/ 142 h 194"/>
                <a:gd name="T24" fmla="*/ 7 w 96"/>
                <a:gd name="T25" fmla="*/ 135 h 194"/>
                <a:gd name="T26" fmla="*/ 4 w 96"/>
                <a:gd name="T27" fmla="*/ 125 h 194"/>
                <a:gd name="T28" fmla="*/ 1 w 96"/>
                <a:gd name="T29" fmla="*/ 116 h 194"/>
                <a:gd name="T30" fmla="*/ 0 w 96"/>
                <a:gd name="T31" fmla="*/ 106 h 194"/>
                <a:gd name="T32" fmla="*/ 0 w 96"/>
                <a:gd name="T33" fmla="*/ 96 h 194"/>
                <a:gd name="T34" fmla="*/ 0 w 96"/>
                <a:gd name="T35" fmla="*/ 87 h 194"/>
                <a:gd name="T36" fmla="*/ 1 w 96"/>
                <a:gd name="T37" fmla="*/ 77 h 194"/>
                <a:gd name="T38" fmla="*/ 4 w 96"/>
                <a:gd name="T39" fmla="*/ 69 h 194"/>
                <a:gd name="T40" fmla="*/ 7 w 96"/>
                <a:gd name="T41" fmla="*/ 59 h 194"/>
                <a:gd name="T42" fmla="*/ 11 w 96"/>
                <a:gd name="T43" fmla="*/ 51 h 194"/>
                <a:gd name="T44" fmla="*/ 17 w 96"/>
                <a:gd name="T45" fmla="*/ 43 h 194"/>
                <a:gd name="T46" fmla="*/ 21 w 96"/>
                <a:gd name="T47" fmla="*/ 36 h 194"/>
                <a:gd name="T48" fmla="*/ 28 w 96"/>
                <a:gd name="T49" fmla="*/ 28 h 194"/>
                <a:gd name="T50" fmla="*/ 34 w 96"/>
                <a:gd name="T51" fmla="*/ 23 h 194"/>
                <a:gd name="T52" fmla="*/ 43 w 96"/>
                <a:gd name="T53" fmla="*/ 17 h 194"/>
                <a:gd name="T54" fmla="*/ 50 w 96"/>
                <a:gd name="T55" fmla="*/ 12 h 194"/>
                <a:gd name="T56" fmla="*/ 59 w 96"/>
                <a:gd name="T57" fmla="*/ 8 h 194"/>
                <a:gd name="T58" fmla="*/ 67 w 96"/>
                <a:gd name="T59" fmla="*/ 4 h 194"/>
                <a:gd name="T60" fmla="*/ 77 w 96"/>
                <a:gd name="T61" fmla="*/ 2 h 194"/>
                <a:gd name="T62" fmla="*/ 86 w 96"/>
                <a:gd name="T63" fmla="*/ 1 h 194"/>
                <a:gd name="T64" fmla="*/ 96 w 96"/>
                <a:gd name="T65" fmla="*/ 0 h 194"/>
                <a:gd name="T66" fmla="*/ 96 w 96"/>
                <a:gd name="T67" fmla="*/ 38 h 194"/>
                <a:gd name="T68" fmla="*/ 84 w 96"/>
                <a:gd name="T69" fmla="*/ 40 h 194"/>
                <a:gd name="T70" fmla="*/ 73 w 96"/>
                <a:gd name="T71" fmla="*/ 43 h 194"/>
                <a:gd name="T72" fmla="*/ 64 w 96"/>
                <a:gd name="T73" fmla="*/ 49 h 194"/>
                <a:gd name="T74" fmla="*/ 56 w 96"/>
                <a:gd name="T75" fmla="*/ 56 h 194"/>
                <a:gd name="T76" fmla="*/ 48 w 96"/>
                <a:gd name="T77" fmla="*/ 64 h 194"/>
                <a:gd name="T78" fmla="*/ 43 w 96"/>
                <a:gd name="T79" fmla="*/ 74 h 194"/>
                <a:gd name="T80" fmla="*/ 40 w 96"/>
                <a:gd name="T81" fmla="*/ 85 h 194"/>
                <a:gd name="T82" fmla="*/ 38 w 96"/>
                <a:gd name="T83" fmla="*/ 96 h 194"/>
                <a:gd name="T84" fmla="*/ 40 w 96"/>
                <a:gd name="T85" fmla="*/ 109 h 194"/>
                <a:gd name="T86" fmla="*/ 43 w 96"/>
                <a:gd name="T87" fmla="*/ 119 h 194"/>
                <a:gd name="T88" fmla="*/ 48 w 96"/>
                <a:gd name="T89" fmla="*/ 129 h 194"/>
                <a:gd name="T90" fmla="*/ 56 w 96"/>
                <a:gd name="T91" fmla="*/ 138 h 194"/>
                <a:gd name="T92" fmla="*/ 64 w 96"/>
                <a:gd name="T93" fmla="*/ 145 h 194"/>
                <a:gd name="T94" fmla="*/ 73 w 96"/>
                <a:gd name="T95" fmla="*/ 151 h 194"/>
                <a:gd name="T96" fmla="*/ 84 w 96"/>
                <a:gd name="T97" fmla="*/ 154 h 194"/>
                <a:gd name="T98" fmla="*/ 96 w 96"/>
                <a:gd name="T99" fmla="*/ 155 h 194"/>
                <a:gd name="T100" fmla="*/ 96 w 96"/>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194">
                  <a:moveTo>
                    <a:pt x="96" y="194"/>
                  </a:moveTo>
                  <a:lnTo>
                    <a:pt x="86" y="193"/>
                  </a:lnTo>
                  <a:lnTo>
                    <a:pt x="77" y="191"/>
                  </a:lnTo>
                  <a:lnTo>
                    <a:pt x="67" y="188"/>
                  </a:lnTo>
                  <a:lnTo>
                    <a:pt x="59" y="185"/>
                  </a:lnTo>
                  <a:lnTo>
                    <a:pt x="50" y="181"/>
                  </a:lnTo>
                  <a:lnTo>
                    <a:pt x="43" y="177"/>
                  </a:lnTo>
                  <a:lnTo>
                    <a:pt x="34" y="171"/>
                  </a:lnTo>
                  <a:lnTo>
                    <a:pt x="28" y="165"/>
                  </a:lnTo>
                  <a:lnTo>
                    <a:pt x="21" y="158"/>
                  </a:lnTo>
                  <a:lnTo>
                    <a:pt x="17" y="151"/>
                  </a:lnTo>
                  <a:lnTo>
                    <a:pt x="11" y="142"/>
                  </a:lnTo>
                  <a:lnTo>
                    <a:pt x="7" y="135"/>
                  </a:lnTo>
                  <a:lnTo>
                    <a:pt x="4" y="125"/>
                  </a:lnTo>
                  <a:lnTo>
                    <a:pt x="1" y="116"/>
                  </a:lnTo>
                  <a:lnTo>
                    <a:pt x="0" y="106"/>
                  </a:lnTo>
                  <a:lnTo>
                    <a:pt x="0" y="96"/>
                  </a:lnTo>
                  <a:lnTo>
                    <a:pt x="0" y="87"/>
                  </a:lnTo>
                  <a:lnTo>
                    <a:pt x="1" y="77"/>
                  </a:lnTo>
                  <a:lnTo>
                    <a:pt x="4" y="69"/>
                  </a:lnTo>
                  <a:lnTo>
                    <a:pt x="7" y="59"/>
                  </a:lnTo>
                  <a:lnTo>
                    <a:pt x="11" y="51"/>
                  </a:lnTo>
                  <a:lnTo>
                    <a:pt x="17" y="43"/>
                  </a:lnTo>
                  <a:lnTo>
                    <a:pt x="21" y="36"/>
                  </a:lnTo>
                  <a:lnTo>
                    <a:pt x="28" y="28"/>
                  </a:lnTo>
                  <a:lnTo>
                    <a:pt x="34" y="23"/>
                  </a:lnTo>
                  <a:lnTo>
                    <a:pt x="43" y="17"/>
                  </a:lnTo>
                  <a:lnTo>
                    <a:pt x="50" y="12"/>
                  </a:lnTo>
                  <a:lnTo>
                    <a:pt x="59" y="8"/>
                  </a:lnTo>
                  <a:lnTo>
                    <a:pt x="67" y="4"/>
                  </a:lnTo>
                  <a:lnTo>
                    <a:pt x="77" y="2"/>
                  </a:lnTo>
                  <a:lnTo>
                    <a:pt x="86" y="1"/>
                  </a:lnTo>
                  <a:lnTo>
                    <a:pt x="96" y="0"/>
                  </a:lnTo>
                  <a:lnTo>
                    <a:pt x="96" y="38"/>
                  </a:lnTo>
                  <a:lnTo>
                    <a:pt x="84" y="40"/>
                  </a:lnTo>
                  <a:lnTo>
                    <a:pt x="73" y="43"/>
                  </a:lnTo>
                  <a:lnTo>
                    <a:pt x="64" y="49"/>
                  </a:lnTo>
                  <a:lnTo>
                    <a:pt x="56" y="56"/>
                  </a:lnTo>
                  <a:lnTo>
                    <a:pt x="48" y="64"/>
                  </a:lnTo>
                  <a:lnTo>
                    <a:pt x="43" y="74"/>
                  </a:lnTo>
                  <a:lnTo>
                    <a:pt x="40" y="85"/>
                  </a:lnTo>
                  <a:lnTo>
                    <a:pt x="38" y="96"/>
                  </a:lnTo>
                  <a:lnTo>
                    <a:pt x="40" y="109"/>
                  </a:lnTo>
                  <a:lnTo>
                    <a:pt x="43" y="119"/>
                  </a:lnTo>
                  <a:lnTo>
                    <a:pt x="48" y="129"/>
                  </a:lnTo>
                  <a:lnTo>
                    <a:pt x="56" y="138"/>
                  </a:lnTo>
                  <a:lnTo>
                    <a:pt x="64" y="145"/>
                  </a:lnTo>
                  <a:lnTo>
                    <a:pt x="73" y="151"/>
                  </a:lnTo>
                  <a:lnTo>
                    <a:pt x="84" y="154"/>
                  </a:lnTo>
                  <a:lnTo>
                    <a:pt x="96" y="155"/>
                  </a:lnTo>
                  <a:lnTo>
                    <a:pt x="96"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26" name="Freeform 253"/>
            <p:cNvSpPr>
              <a:spLocks noEditPoints="1"/>
            </p:cNvSpPr>
            <p:nvPr/>
          </p:nvSpPr>
          <p:spPr bwMode="auto">
            <a:xfrm>
              <a:off x="2051257" y="4711728"/>
              <a:ext cx="93183" cy="187823"/>
            </a:xfrm>
            <a:custGeom>
              <a:avLst/>
              <a:gdLst>
                <a:gd name="T0" fmla="*/ 69 w 193"/>
                <a:gd name="T1" fmla="*/ 40 h 387"/>
                <a:gd name="T2" fmla="*/ 55 w 193"/>
                <a:gd name="T3" fmla="*/ 46 h 387"/>
                <a:gd name="T4" fmla="*/ 45 w 193"/>
                <a:gd name="T5" fmla="*/ 56 h 387"/>
                <a:gd name="T6" fmla="*/ 39 w 193"/>
                <a:gd name="T7" fmla="*/ 71 h 387"/>
                <a:gd name="T8" fmla="*/ 39 w 193"/>
                <a:gd name="T9" fmla="*/ 310 h 387"/>
                <a:gd name="T10" fmla="*/ 42 w 193"/>
                <a:gd name="T11" fmla="*/ 324 h 387"/>
                <a:gd name="T12" fmla="*/ 49 w 193"/>
                <a:gd name="T13" fmla="*/ 337 h 387"/>
                <a:gd name="T14" fmla="*/ 62 w 193"/>
                <a:gd name="T15" fmla="*/ 346 h 387"/>
                <a:gd name="T16" fmla="*/ 77 w 193"/>
                <a:gd name="T17" fmla="*/ 349 h 387"/>
                <a:gd name="T18" fmla="*/ 124 w 193"/>
                <a:gd name="T19" fmla="*/ 347 h 387"/>
                <a:gd name="T20" fmla="*/ 137 w 193"/>
                <a:gd name="T21" fmla="*/ 341 h 387"/>
                <a:gd name="T22" fmla="*/ 147 w 193"/>
                <a:gd name="T23" fmla="*/ 331 h 387"/>
                <a:gd name="T24" fmla="*/ 153 w 193"/>
                <a:gd name="T25" fmla="*/ 317 h 387"/>
                <a:gd name="T26" fmla="*/ 154 w 193"/>
                <a:gd name="T27" fmla="*/ 78 h 387"/>
                <a:gd name="T28" fmla="*/ 151 w 193"/>
                <a:gd name="T29" fmla="*/ 63 h 387"/>
                <a:gd name="T30" fmla="*/ 143 w 193"/>
                <a:gd name="T31" fmla="*/ 50 h 387"/>
                <a:gd name="T32" fmla="*/ 131 w 193"/>
                <a:gd name="T33" fmla="*/ 42 h 387"/>
                <a:gd name="T34" fmla="*/ 115 w 193"/>
                <a:gd name="T35" fmla="*/ 39 h 387"/>
                <a:gd name="T36" fmla="*/ 115 w 193"/>
                <a:gd name="T37" fmla="*/ 387 h 387"/>
                <a:gd name="T38" fmla="*/ 69 w 193"/>
                <a:gd name="T39" fmla="*/ 386 h 387"/>
                <a:gd name="T40" fmla="*/ 54 w 193"/>
                <a:gd name="T41" fmla="*/ 383 h 387"/>
                <a:gd name="T42" fmla="*/ 33 w 193"/>
                <a:gd name="T43" fmla="*/ 373 h 387"/>
                <a:gd name="T44" fmla="*/ 13 w 193"/>
                <a:gd name="T45" fmla="*/ 353 h 387"/>
                <a:gd name="T46" fmla="*/ 3 w 193"/>
                <a:gd name="T47" fmla="*/ 333 h 387"/>
                <a:gd name="T48" fmla="*/ 0 w 193"/>
                <a:gd name="T49" fmla="*/ 317 h 387"/>
                <a:gd name="T50" fmla="*/ 0 w 193"/>
                <a:gd name="T51" fmla="*/ 78 h 387"/>
                <a:gd name="T52" fmla="*/ 2 w 193"/>
                <a:gd name="T53" fmla="*/ 62 h 387"/>
                <a:gd name="T54" fmla="*/ 6 w 193"/>
                <a:gd name="T55" fmla="*/ 48 h 387"/>
                <a:gd name="T56" fmla="*/ 22 w 193"/>
                <a:gd name="T57" fmla="*/ 23 h 387"/>
                <a:gd name="T58" fmla="*/ 46 w 193"/>
                <a:gd name="T59" fmla="*/ 7 h 387"/>
                <a:gd name="T60" fmla="*/ 62 w 193"/>
                <a:gd name="T61" fmla="*/ 1 h 387"/>
                <a:gd name="T62" fmla="*/ 77 w 193"/>
                <a:gd name="T63" fmla="*/ 0 h 387"/>
                <a:gd name="T64" fmla="*/ 124 w 193"/>
                <a:gd name="T65" fmla="*/ 1 h 387"/>
                <a:gd name="T66" fmla="*/ 139 w 193"/>
                <a:gd name="T67" fmla="*/ 4 h 387"/>
                <a:gd name="T68" fmla="*/ 159 w 193"/>
                <a:gd name="T69" fmla="*/ 14 h 387"/>
                <a:gd name="T70" fmla="*/ 180 w 193"/>
                <a:gd name="T71" fmla="*/ 35 h 387"/>
                <a:gd name="T72" fmla="*/ 189 w 193"/>
                <a:gd name="T73" fmla="*/ 55 h 387"/>
                <a:gd name="T74" fmla="*/ 193 w 193"/>
                <a:gd name="T75" fmla="*/ 71 h 387"/>
                <a:gd name="T76" fmla="*/ 193 w 193"/>
                <a:gd name="T77" fmla="*/ 310 h 387"/>
                <a:gd name="T78" fmla="*/ 192 w 193"/>
                <a:gd name="T79" fmla="*/ 326 h 387"/>
                <a:gd name="T80" fmla="*/ 187 w 193"/>
                <a:gd name="T81" fmla="*/ 340 h 387"/>
                <a:gd name="T82" fmla="*/ 170 w 193"/>
                <a:gd name="T83" fmla="*/ 364 h 387"/>
                <a:gd name="T84" fmla="*/ 146 w 193"/>
                <a:gd name="T85" fmla="*/ 380 h 387"/>
                <a:gd name="T86" fmla="*/ 131 w 193"/>
                <a:gd name="T87" fmla="*/ 385 h 387"/>
                <a:gd name="T88" fmla="*/ 115 w 193"/>
                <a:gd name="T89"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 h="387">
                  <a:moveTo>
                    <a:pt x="77" y="39"/>
                  </a:moveTo>
                  <a:lnTo>
                    <a:pt x="69" y="40"/>
                  </a:lnTo>
                  <a:lnTo>
                    <a:pt x="62" y="42"/>
                  </a:lnTo>
                  <a:lnTo>
                    <a:pt x="55" y="46"/>
                  </a:lnTo>
                  <a:lnTo>
                    <a:pt x="49" y="50"/>
                  </a:lnTo>
                  <a:lnTo>
                    <a:pt x="45" y="56"/>
                  </a:lnTo>
                  <a:lnTo>
                    <a:pt x="42" y="63"/>
                  </a:lnTo>
                  <a:lnTo>
                    <a:pt x="39" y="71"/>
                  </a:lnTo>
                  <a:lnTo>
                    <a:pt x="39" y="78"/>
                  </a:lnTo>
                  <a:lnTo>
                    <a:pt x="39" y="310"/>
                  </a:lnTo>
                  <a:lnTo>
                    <a:pt x="39" y="317"/>
                  </a:lnTo>
                  <a:lnTo>
                    <a:pt x="42" y="324"/>
                  </a:lnTo>
                  <a:lnTo>
                    <a:pt x="45" y="331"/>
                  </a:lnTo>
                  <a:lnTo>
                    <a:pt x="49" y="337"/>
                  </a:lnTo>
                  <a:lnTo>
                    <a:pt x="55" y="341"/>
                  </a:lnTo>
                  <a:lnTo>
                    <a:pt x="62" y="346"/>
                  </a:lnTo>
                  <a:lnTo>
                    <a:pt x="69" y="347"/>
                  </a:lnTo>
                  <a:lnTo>
                    <a:pt x="77" y="349"/>
                  </a:lnTo>
                  <a:lnTo>
                    <a:pt x="115" y="349"/>
                  </a:lnTo>
                  <a:lnTo>
                    <a:pt x="124" y="347"/>
                  </a:lnTo>
                  <a:lnTo>
                    <a:pt x="131" y="346"/>
                  </a:lnTo>
                  <a:lnTo>
                    <a:pt x="137" y="341"/>
                  </a:lnTo>
                  <a:lnTo>
                    <a:pt x="143" y="337"/>
                  </a:lnTo>
                  <a:lnTo>
                    <a:pt x="147" y="331"/>
                  </a:lnTo>
                  <a:lnTo>
                    <a:pt x="151" y="324"/>
                  </a:lnTo>
                  <a:lnTo>
                    <a:pt x="153" y="317"/>
                  </a:lnTo>
                  <a:lnTo>
                    <a:pt x="154" y="310"/>
                  </a:lnTo>
                  <a:lnTo>
                    <a:pt x="154" y="78"/>
                  </a:lnTo>
                  <a:lnTo>
                    <a:pt x="153" y="71"/>
                  </a:lnTo>
                  <a:lnTo>
                    <a:pt x="151" y="63"/>
                  </a:lnTo>
                  <a:lnTo>
                    <a:pt x="147" y="56"/>
                  </a:lnTo>
                  <a:lnTo>
                    <a:pt x="143" y="50"/>
                  </a:lnTo>
                  <a:lnTo>
                    <a:pt x="137" y="46"/>
                  </a:lnTo>
                  <a:lnTo>
                    <a:pt x="131" y="42"/>
                  </a:lnTo>
                  <a:lnTo>
                    <a:pt x="124" y="40"/>
                  </a:lnTo>
                  <a:lnTo>
                    <a:pt x="115" y="39"/>
                  </a:lnTo>
                  <a:lnTo>
                    <a:pt x="77" y="39"/>
                  </a:lnTo>
                  <a:close/>
                  <a:moveTo>
                    <a:pt x="115" y="387"/>
                  </a:moveTo>
                  <a:lnTo>
                    <a:pt x="77" y="387"/>
                  </a:lnTo>
                  <a:lnTo>
                    <a:pt x="69" y="386"/>
                  </a:lnTo>
                  <a:lnTo>
                    <a:pt x="62" y="385"/>
                  </a:lnTo>
                  <a:lnTo>
                    <a:pt x="54" y="383"/>
                  </a:lnTo>
                  <a:lnTo>
                    <a:pt x="46" y="380"/>
                  </a:lnTo>
                  <a:lnTo>
                    <a:pt x="33" y="373"/>
                  </a:lnTo>
                  <a:lnTo>
                    <a:pt x="22" y="364"/>
                  </a:lnTo>
                  <a:lnTo>
                    <a:pt x="13" y="353"/>
                  </a:lnTo>
                  <a:lnTo>
                    <a:pt x="6" y="340"/>
                  </a:lnTo>
                  <a:lnTo>
                    <a:pt x="3" y="333"/>
                  </a:lnTo>
                  <a:lnTo>
                    <a:pt x="2" y="326"/>
                  </a:lnTo>
                  <a:lnTo>
                    <a:pt x="0" y="317"/>
                  </a:lnTo>
                  <a:lnTo>
                    <a:pt x="0" y="310"/>
                  </a:lnTo>
                  <a:lnTo>
                    <a:pt x="0" y="78"/>
                  </a:lnTo>
                  <a:lnTo>
                    <a:pt x="0" y="71"/>
                  </a:lnTo>
                  <a:lnTo>
                    <a:pt x="2" y="62"/>
                  </a:lnTo>
                  <a:lnTo>
                    <a:pt x="3" y="55"/>
                  </a:lnTo>
                  <a:lnTo>
                    <a:pt x="6" y="48"/>
                  </a:lnTo>
                  <a:lnTo>
                    <a:pt x="13" y="35"/>
                  </a:lnTo>
                  <a:lnTo>
                    <a:pt x="22" y="23"/>
                  </a:lnTo>
                  <a:lnTo>
                    <a:pt x="33" y="14"/>
                  </a:lnTo>
                  <a:lnTo>
                    <a:pt x="46" y="7"/>
                  </a:lnTo>
                  <a:lnTo>
                    <a:pt x="54" y="4"/>
                  </a:lnTo>
                  <a:lnTo>
                    <a:pt x="62" y="1"/>
                  </a:lnTo>
                  <a:lnTo>
                    <a:pt x="69" y="1"/>
                  </a:lnTo>
                  <a:lnTo>
                    <a:pt x="77" y="0"/>
                  </a:lnTo>
                  <a:lnTo>
                    <a:pt x="115" y="0"/>
                  </a:lnTo>
                  <a:lnTo>
                    <a:pt x="124" y="1"/>
                  </a:lnTo>
                  <a:lnTo>
                    <a:pt x="131" y="1"/>
                  </a:lnTo>
                  <a:lnTo>
                    <a:pt x="139" y="4"/>
                  </a:lnTo>
                  <a:lnTo>
                    <a:pt x="146" y="7"/>
                  </a:lnTo>
                  <a:lnTo>
                    <a:pt x="159" y="14"/>
                  </a:lnTo>
                  <a:lnTo>
                    <a:pt x="170" y="23"/>
                  </a:lnTo>
                  <a:lnTo>
                    <a:pt x="180" y="35"/>
                  </a:lnTo>
                  <a:lnTo>
                    <a:pt x="187" y="48"/>
                  </a:lnTo>
                  <a:lnTo>
                    <a:pt x="189" y="55"/>
                  </a:lnTo>
                  <a:lnTo>
                    <a:pt x="192" y="62"/>
                  </a:lnTo>
                  <a:lnTo>
                    <a:pt x="193" y="71"/>
                  </a:lnTo>
                  <a:lnTo>
                    <a:pt x="193" y="78"/>
                  </a:lnTo>
                  <a:lnTo>
                    <a:pt x="193" y="310"/>
                  </a:lnTo>
                  <a:lnTo>
                    <a:pt x="193" y="317"/>
                  </a:lnTo>
                  <a:lnTo>
                    <a:pt x="192" y="326"/>
                  </a:lnTo>
                  <a:lnTo>
                    <a:pt x="189" y="333"/>
                  </a:lnTo>
                  <a:lnTo>
                    <a:pt x="187" y="340"/>
                  </a:lnTo>
                  <a:lnTo>
                    <a:pt x="180" y="353"/>
                  </a:lnTo>
                  <a:lnTo>
                    <a:pt x="170" y="364"/>
                  </a:lnTo>
                  <a:lnTo>
                    <a:pt x="159" y="373"/>
                  </a:lnTo>
                  <a:lnTo>
                    <a:pt x="146" y="380"/>
                  </a:lnTo>
                  <a:lnTo>
                    <a:pt x="139" y="383"/>
                  </a:lnTo>
                  <a:lnTo>
                    <a:pt x="131" y="385"/>
                  </a:lnTo>
                  <a:lnTo>
                    <a:pt x="124" y="386"/>
                  </a:lnTo>
                  <a:lnTo>
                    <a:pt x="115" y="38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27" name="Freeform 254"/>
            <p:cNvSpPr/>
            <p:nvPr/>
          </p:nvSpPr>
          <p:spPr bwMode="auto">
            <a:xfrm>
              <a:off x="2416710" y="4758320"/>
              <a:ext cx="46592" cy="94639"/>
            </a:xfrm>
            <a:custGeom>
              <a:avLst/>
              <a:gdLst>
                <a:gd name="T0" fmla="*/ 0 w 97"/>
                <a:gd name="T1" fmla="*/ 194 h 194"/>
                <a:gd name="T2" fmla="*/ 0 w 97"/>
                <a:gd name="T3" fmla="*/ 155 h 194"/>
                <a:gd name="T4" fmla="*/ 12 w 97"/>
                <a:gd name="T5" fmla="*/ 154 h 194"/>
                <a:gd name="T6" fmla="*/ 22 w 97"/>
                <a:gd name="T7" fmla="*/ 151 h 194"/>
                <a:gd name="T8" fmla="*/ 32 w 97"/>
                <a:gd name="T9" fmla="*/ 145 h 194"/>
                <a:gd name="T10" fmla="*/ 41 w 97"/>
                <a:gd name="T11" fmla="*/ 138 h 194"/>
                <a:gd name="T12" fmla="*/ 48 w 97"/>
                <a:gd name="T13" fmla="*/ 129 h 194"/>
                <a:gd name="T14" fmla="*/ 54 w 97"/>
                <a:gd name="T15" fmla="*/ 119 h 194"/>
                <a:gd name="T16" fmla="*/ 57 w 97"/>
                <a:gd name="T17" fmla="*/ 109 h 194"/>
                <a:gd name="T18" fmla="*/ 58 w 97"/>
                <a:gd name="T19" fmla="*/ 96 h 194"/>
                <a:gd name="T20" fmla="*/ 57 w 97"/>
                <a:gd name="T21" fmla="*/ 85 h 194"/>
                <a:gd name="T22" fmla="*/ 54 w 97"/>
                <a:gd name="T23" fmla="*/ 74 h 194"/>
                <a:gd name="T24" fmla="*/ 48 w 97"/>
                <a:gd name="T25" fmla="*/ 64 h 194"/>
                <a:gd name="T26" fmla="*/ 41 w 97"/>
                <a:gd name="T27" fmla="*/ 56 h 194"/>
                <a:gd name="T28" fmla="*/ 32 w 97"/>
                <a:gd name="T29" fmla="*/ 49 h 194"/>
                <a:gd name="T30" fmla="*/ 22 w 97"/>
                <a:gd name="T31" fmla="*/ 43 h 194"/>
                <a:gd name="T32" fmla="*/ 12 w 97"/>
                <a:gd name="T33" fmla="*/ 40 h 194"/>
                <a:gd name="T34" fmla="*/ 0 w 97"/>
                <a:gd name="T35" fmla="*/ 38 h 194"/>
                <a:gd name="T36" fmla="*/ 0 w 97"/>
                <a:gd name="T37" fmla="*/ 0 h 194"/>
                <a:gd name="T38" fmla="*/ 10 w 97"/>
                <a:gd name="T39" fmla="*/ 1 h 194"/>
                <a:gd name="T40" fmla="*/ 19 w 97"/>
                <a:gd name="T41" fmla="*/ 2 h 194"/>
                <a:gd name="T42" fmla="*/ 29 w 97"/>
                <a:gd name="T43" fmla="*/ 4 h 194"/>
                <a:gd name="T44" fmla="*/ 38 w 97"/>
                <a:gd name="T45" fmla="*/ 8 h 194"/>
                <a:gd name="T46" fmla="*/ 46 w 97"/>
                <a:gd name="T47" fmla="*/ 12 h 194"/>
                <a:gd name="T48" fmla="*/ 54 w 97"/>
                <a:gd name="T49" fmla="*/ 17 h 194"/>
                <a:gd name="T50" fmla="*/ 61 w 97"/>
                <a:gd name="T51" fmla="*/ 23 h 194"/>
                <a:gd name="T52" fmla="*/ 68 w 97"/>
                <a:gd name="T53" fmla="*/ 28 h 194"/>
                <a:gd name="T54" fmla="*/ 74 w 97"/>
                <a:gd name="T55" fmla="*/ 36 h 194"/>
                <a:gd name="T56" fmla="*/ 80 w 97"/>
                <a:gd name="T57" fmla="*/ 43 h 194"/>
                <a:gd name="T58" fmla="*/ 85 w 97"/>
                <a:gd name="T59" fmla="*/ 51 h 194"/>
                <a:gd name="T60" fmla="*/ 88 w 97"/>
                <a:gd name="T61" fmla="*/ 59 h 194"/>
                <a:gd name="T62" fmla="*/ 93 w 97"/>
                <a:gd name="T63" fmla="*/ 69 h 194"/>
                <a:gd name="T64" fmla="*/ 94 w 97"/>
                <a:gd name="T65" fmla="*/ 77 h 194"/>
                <a:gd name="T66" fmla="*/ 95 w 97"/>
                <a:gd name="T67" fmla="*/ 87 h 194"/>
                <a:gd name="T68" fmla="*/ 97 w 97"/>
                <a:gd name="T69" fmla="*/ 96 h 194"/>
                <a:gd name="T70" fmla="*/ 95 w 97"/>
                <a:gd name="T71" fmla="*/ 106 h 194"/>
                <a:gd name="T72" fmla="*/ 94 w 97"/>
                <a:gd name="T73" fmla="*/ 116 h 194"/>
                <a:gd name="T74" fmla="*/ 93 w 97"/>
                <a:gd name="T75" fmla="*/ 125 h 194"/>
                <a:gd name="T76" fmla="*/ 88 w 97"/>
                <a:gd name="T77" fmla="*/ 135 h 194"/>
                <a:gd name="T78" fmla="*/ 85 w 97"/>
                <a:gd name="T79" fmla="*/ 142 h 194"/>
                <a:gd name="T80" fmla="*/ 80 w 97"/>
                <a:gd name="T81" fmla="*/ 151 h 194"/>
                <a:gd name="T82" fmla="*/ 74 w 97"/>
                <a:gd name="T83" fmla="*/ 158 h 194"/>
                <a:gd name="T84" fmla="*/ 68 w 97"/>
                <a:gd name="T85" fmla="*/ 165 h 194"/>
                <a:gd name="T86" fmla="*/ 61 w 97"/>
                <a:gd name="T87" fmla="*/ 171 h 194"/>
                <a:gd name="T88" fmla="*/ 54 w 97"/>
                <a:gd name="T89" fmla="*/ 177 h 194"/>
                <a:gd name="T90" fmla="*/ 46 w 97"/>
                <a:gd name="T91" fmla="*/ 181 h 194"/>
                <a:gd name="T92" fmla="*/ 38 w 97"/>
                <a:gd name="T93" fmla="*/ 185 h 194"/>
                <a:gd name="T94" fmla="*/ 29 w 97"/>
                <a:gd name="T95" fmla="*/ 190 h 194"/>
                <a:gd name="T96" fmla="*/ 19 w 97"/>
                <a:gd name="T97" fmla="*/ 191 h 194"/>
                <a:gd name="T98" fmla="*/ 10 w 97"/>
                <a:gd name="T99" fmla="*/ 193 h 194"/>
                <a:gd name="T100" fmla="*/ 0 w 97"/>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 h="194">
                  <a:moveTo>
                    <a:pt x="0" y="194"/>
                  </a:moveTo>
                  <a:lnTo>
                    <a:pt x="0" y="155"/>
                  </a:lnTo>
                  <a:lnTo>
                    <a:pt x="12" y="154"/>
                  </a:lnTo>
                  <a:lnTo>
                    <a:pt x="22" y="151"/>
                  </a:lnTo>
                  <a:lnTo>
                    <a:pt x="32" y="145"/>
                  </a:lnTo>
                  <a:lnTo>
                    <a:pt x="41" y="138"/>
                  </a:lnTo>
                  <a:lnTo>
                    <a:pt x="48" y="129"/>
                  </a:lnTo>
                  <a:lnTo>
                    <a:pt x="54" y="119"/>
                  </a:lnTo>
                  <a:lnTo>
                    <a:pt x="57" y="109"/>
                  </a:lnTo>
                  <a:lnTo>
                    <a:pt x="58" y="96"/>
                  </a:lnTo>
                  <a:lnTo>
                    <a:pt x="57" y="85"/>
                  </a:lnTo>
                  <a:lnTo>
                    <a:pt x="54" y="74"/>
                  </a:lnTo>
                  <a:lnTo>
                    <a:pt x="48" y="64"/>
                  </a:lnTo>
                  <a:lnTo>
                    <a:pt x="41" y="56"/>
                  </a:lnTo>
                  <a:lnTo>
                    <a:pt x="32" y="49"/>
                  </a:lnTo>
                  <a:lnTo>
                    <a:pt x="22" y="43"/>
                  </a:lnTo>
                  <a:lnTo>
                    <a:pt x="12" y="40"/>
                  </a:lnTo>
                  <a:lnTo>
                    <a:pt x="0" y="38"/>
                  </a:lnTo>
                  <a:lnTo>
                    <a:pt x="0" y="0"/>
                  </a:lnTo>
                  <a:lnTo>
                    <a:pt x="10" y="1"/>
                  </a:lnTo>
                  <a:lnTo>
                    <a:pt x="19" y="2"/>
                  </a:lnTo>
                  <a:lnTo>
                    <a:pt x="29" y="4"/>
                  </a:lnTo>
                  <a:lnTo>
                    <a:pt x="38" y="8"/>
                  </a:lnTo>
                  <a:lnTo>
                    <a:pt x="46" y="12"/>
                  </a:lnTo>
                  <a:lnTo>
                    <a:pt x="54" y="17"/>
                  </a:lnTo>
                  <a:lnTo>
                    <a:pt x="61" y="23"/>
                  </a:lnTo>
                  <a:lnTo>
                    <a:pt x="68" y="28"/>
                  </a:lnTo>
                  <a:lnTo>
                    <a:pt x="74" y="36"/>
                  </a:lnTo>
                  <a:lnTo>
                    <a:pt x="80" y="43"/>
                  </a:lnTo>
                  <a:lnTo>
                    <a:pt x="85" y="51"/>
                  </a:lnTo>
                  <a:lnTo>
                    <a:pt x="88" y="59"/>
                  </a:lnTo>
                  <a:lnTo>
                    <a:pt x="93" y="69"/>
                  </a:lnTo>
                  <a:lnTo>
                    <a:pt x="94" y="77"/>
                  </a:lnTo>
                  <a:lnTo>
                    <a:pt x="95" y="87"/>
                  </a:lnTo>
                  <a:lnTo>
                    <a:pt x="97" y="96"/>
                  </a:lnTo>
                  <a:lnTo>
                    <a:pt x="95" y="106"/>
                  </a:lnTo>
                  <a:lnTo>
                    <a:pt x="94" y="116"/>
                  </a:lnTo>
                  <a:lnTo>
                    <a:pt x="93" y="125"/>
                  </a:lnTo>
                  <a:lnTo>
                    <a:pt x="88" y="135"/>
                  </a:lnTo>
                  <a:lnTo>
                    <a:pt x="85" y="142"/>
                  </a:lnTo>
                  <a:lnTo>
                    <a:pt x="80" y="151"/>
                  </a:lnTo>
                  <a:lnTo>
                    <a:pt x="74" y="158"/>
                  </a:lnTo>
                  <a:lnTo>
                    <a:pt x="68" y="165"/>
                  </a:lnTo>
                  <a:lnTo>
                    <a:pt x="61" y="171"/>
                  </a:lnTo>
                  <a:lnTo>
                    <a:pt x="54" y="177"/>
                  </a:lnTo>
                  <a:lnTo>
                    <a:pt x="46" y="181"/>
                  </a:lnTo>
                  <a:lnTo>
                    <a:pt x="38" y="185"/>
                  </a:lnTo>
                  <a:lnTo>
                    <a:pt x="29" y="190"/>
                  </a:lnTo>
                  <a:lnTo>
                    <a:pt x="19" y="191"/>
                  </a:lnTo>
                  <a:lnTo>
                    <a:pt x="10" y="193"/>
                  </a:lnTo>
                  <a:lnTo>
                    <a:pt x="0"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28" name="Freeform 255"/>
            <p:cNvSpPr>
              <a:spLocks noEditPoints="1"/>
            </p:cNvSpPr>
            <p:nvPr/>
          </p:nvSpPr>
          <p:spPr bwMode="auto">
            <a:xfrm>
              <a:off x="2332263" y="4711728"/>
              <a:ext cx="93183" cy="187823"/>
            </a:xfrm>
            <a:custGeom>
              <a:avLst/>
              <a:gdLst>
                <a:gd name="T0" fmla="*/ 85 w 193"/>
                <a:gd name="T1" fmla="*/ 40 h 387"/>
                <a:gd name="T2" fmla="*/ 65 w 193"/>
                <a:gd name="T3" fmla="*/ 49 h 387"/>
                <a:gd name="T4" fmla="*/ 49 w 193"/>
                <a:gd name="T5" fmla="*/ 65 h 387"/>
                <a:gd name="T6" fmla="*/ 40 w 193"/>
                <a:gd name="T7" fmla="*/ 85 h 387"/>
                <a:gd name="T8" fmla="*/ 39 w 193"/>
                <a:gd name="T9" fmla="*/ 291 h 387"/>
                <a:gd name="T10" fmla="*/ 43 w 193"/>
                <a:gd name="T11" fmla="*/ 313 h 387"/>
                <a:gd name="T12" fmla="*/ 56 w 193"/>
                <a:gd name="T13" fmla="*/ 331 h 387"/>
                <a:gd name="T14" fmla="*/ 74 w 193"/>
                <a:gd name="T15" fmla="*/ 344 h 387"/>
                <a:gd name="T16" fmla="*/ 97 w 193"/>
                <a:gd name="T17" fmla="*/ 349 h 387"/>
                <a:gd name="T18" fmla="*/ 120 w 193"/>
                <a:gd name="T19" fmla="*/ 344 h 387"/>
                <a:gd name="T20" fmla="*/ 137 w 193"/>
                <a:gd name="T21" fmla="*/ 331 h 387"/>
                <a:gd name="T22" fmla="*/ 150 w 193"/>
                <a:gd name="T23" fmla="*/ 313 h 387"/>
                <a:gd name="T24" fmla="*/ 154 w 193"/>
                <a:gd name="T25" fmla="*/ 291 h 387"/>
                <a:gd name="T26" fmla="*/ 153 w 193"/>
                <a:gd name="T27" fmla="*/ 85 h 387"/>
                <a:gd name="T28" fmla="*/ 144 w 193"/>
                <a:gd name="T29" fmla="*/ 65 h 387"/>
                <a:gd name="T30" fmla="*/ 130 w 193"/>
                <a:gd name="T31" fmla="*/ 49 h 387"/>
                <a:gd name="T32" fmla="*/ 108 w 193"/>
                <a:gd name="T33" fmla="*/ 40 h 387"/>
                <a:gd name="T34" fmla="*/ 97 w 193"/>
                <a:gd name="T35" fmla="*/ 387 h 387"/>
                <a:gd name="T36" fmla="*/ 78 w 193"/>
                <a:gd name="T37" fmla="*/ 385 h 387"/>
                <a:gd name="T38" fmla="*/ 59 w 193"/>
                <a:gd name="T39" fmla="*/ 379 h 387"/>
                <a:gd name="T40" fmla="*/ 43 w 193"/>
                <a:gd name="T41" fmla="*/ 370 h 387"/>
                <a:gd name="T42" fmla="*/ 29 w 193"/>
                <a:gd name="T43" fmla="*/ 359 h 387"/>
                <a:gd name="T44" fmla="*/ 16 w 193"/>
                <a:gd name="T45" fmla="*/ 344 h 387"/>
                <a:gd name="T46" fmla="*/ 7 w 193"/>
                <a:gd name="T47" fmla="*/ 328 h 387"/>
                <a:gd name="T48" fmla="*/ 2 w 193"/>
                <a:gd name="T49" fmla="*/ 310 h 387"/>
                <a:gd name="T50" fmla="*/ 0 w 193"/>
                <a:gd name="T51" fmla="*/ 291 h 387"/>
                <a:gd name="T52" fmla="*/ 0 w 193"/>
                <a:gd name="T53" fmla="*/ 88 h 387"/>
                <a:gd name="T54" fmla="*/ 4 w 193"/>
                <a:gd name="T55" fmla="*/ 69 h 387"/>
                <a:gd name="T56" fmla="*/ 12 w 193"/>
                <a:gd name="T57" fmla="*/ 50 h 387"/>
                <a:gd name="T58" fmla="*/ 22 w 193"/>
                <a:gd name="T59" fmla="*/ 36 h 387"/>
                <a:gd name="T60" fmla="*/ 35 w 193"/>
                <a:gd name="T61" fmla="*/ 23 h 387"/>
                <a:gd name="T62" fmla="*/ 51 w 193"/>
                <a:gd name="T63" fmla="*/ 12 h 387"/>
                <a:gd name="T64" fmla="*/ 68 w 193"/>
                <a:gd name="T65" fmla="*/ 4 h 387"/>
                <a:gd name="T66" fmla="*/ 87 w 193"/>
                <a:gd name="T67" fmla="*/ 1 h 387"/>
                <a:gd name="T68" fmla="*/ 107 w 193"/>
                <a:gd name="T69" fmla="*/ 1 h 387"/>
                <a:gd name="T70" fmla="*/ 125 w 193"/>
                <a:gd name="T71" fmla="*/ 4 h 387"/>
                <a:gd name="T72" fmla="*/ 143 w 193"/>
                <a:gd name="T73" fmla="*/ 12 h 387"/>
                <a:gd name="T74" fmla="*/ 159 w 193"/>
                <a:gd name="T75" fmla="*/ 23 h 387"/>
                <a:gd name="T76" fmla="*/ 172 w 193"/>
                <a:gd name="T77" fmla="*/ 36 h 387"/>
                <a:gd name="T78" fmla="*/ 182 w 193"/>
                <a:gd name="T79" fmla="*/ 50 h 387"/>
                <a:gd name="T80" fmla="*/ 189 w 193"/>
                <a:gd name="T81" fmla="*/ 69 h 387"/>
                <a:gd name="T82" fmla="*/ 193 w 193"/>
                <a:gd name="T83" fmla="*/ 88 h 387"/>
                <a:gd name="T84" fmla="*/ 193 w 193"/>
                <a:gd name="T85" fmla="*/ 291 h 387"/>
                <a:gd name="T86" fmla="*/ 192 w 193"/>
                <a:gd name="T87" fmla="*/ 310 h 387"/>
                <a:gd name="T88" fmla="*/ 186 w 193"/>
                <a:gd name="T89" fmla="*/ 328 h 387"/>
                <a:gd name="T90" fmla="*/ 177 w 193"/>
                <a:gd name="T91" fmla="*/ 344 h 387"/>
                <a:gd name="T92" fmla="*/ 164 w 193"/>
                <a:gd name="T93" fmla="*/ 359 h 387"/>
                <a:gd name="T94" fmla="*/ 150 w 193"/>
                <a:gd name="T95" fmla="*/ 370 h 387"/>
                <a:gd name="T96" fmla="*/ 134 w 193"/>
                <a:gd name="T97" fmla="*/ 379 h 387"/>
                <a:gd name="T98" fmla="*/ 117 w 193"/>
                <a:gd name="T99" fmla="*/ 385 h 387"/>
                <a:gd name="T100" fmla="*/ 97 w 193"/>
                <a:gd name="T101"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 h="387">
                  <a:moveTo>
                    <a:pt x="97" y="39"/>
                  </a:moveTo>
                  <a:lnTo>
                    <a:pt x="85" y="40"/>
                  </a:lnTo>
                  <a:lnTo>
                    <a:pt x="74" y="43"/>
                  </a:lnTo>
                  <a:lnTo>
                    <a:pt x="65" y="49"/>
                  </a:lnTo>
                  <a:lnTo>
                    <a:pt x="56" y="56"/>
                  </a:lnTo>
                  <a:lnTo>
                    <a:pt x="49" y="65"/>
                  </a:lnTo>
                  <a:lnTo>
                    <a:pt x="43" y="75"/>
                  </a:lnTo>
                  <a:lnTo>
                    <a:pt x="40" y="85"/>
                  </a:lnTo>
                  <a:lnTo>
                    <a:pt x="39" y="97"/>
                  </a:lnTo>
                  <a:lnTo>
                    <a:pt x="39" y="291"/>
                  </a:lnTo>
                  <a:lnTo>
                    <a:pt x="40" y="302"/>
                  </a:lnTo>
                  <a:lnTo>
                    <a:pt x="43" y="313"/>
                  </a:lnTo>
                  <a:lnTo>
                    <a:pt x="49" y="323"/>
                  </a:lnTo>
                  <a:lnTo>
                    <a:pt x="56" y="331"/>
                  </a:lnTo>
                  <a:lnTo>
                    <a:pt x="65" y="339"/>
                  </a:lnTo>
                  <a:lnTo>
                    <a:pt x="74" y="344"/>
                  </a:lnTo>
                  <a:lnTo>
                    <a:pt x="85" y="347"/>
                  </a:lnTo>
                  <a:lnTo>
                    <a:pt x="97" y="349"/>
                  </a:lnTo>
                  <a:lnTo>
                    <a:pt x="108" y="347"/>
                  </a:lnTo>
                  <a:lnTo>
                    <a:pt x="120" y="344"/>
                  </a:lnTo>
                  <a:lnTo>
                    <a:pt x="130" y="339"/>
                  </a:lnTo>
                  <a:lnTo>
                    <a:pt x="137" y="331"/>
                  </a:lnTo>
                  <a:lnTo>
                    <a:pt x="144" y="323"/>
                  </a:lnTo>
                  <a:lnTo>
                    <a:pt x="150" y="313"/>
                  </a:lnTo>
                  <a:lnTo>
                    <a:pt x="153" y="302"/>
                  </a:lnTo>
                  <a:lnTo>
                    <a:pt x="154" y="291"/>
                  </a:lnTo>
                  <a:lnTo>
                    <a:pt x="154" y="97"/>
                  </a:lnTo>
                  <a:lnTo>
                    <a:pt x="153" y="85"/>
                  </a:lnTo>
                  <a:lnTo>
                    <a:pt x="150" y="75"/>
                  </a:lnTo>
                  <a:lnTo>
                    <a:pt x="144" y="65"/>
                  </a:lnTo>
                  <a:lnTo>
                    <a:pt x="137" y="56"/>
                  </a:lnTo>
                  <a:lnTo>
                    <a:pt x="130" y="49"/>
                  </a:lnTo>
                  <a:lnTo>
                    <a:pt x="120" y="43"/>
                  </a:lnTo>
                  <a:lnTo>
                    <a:pt x="108" y="40"/>
                  </a:lnTo>
                  <a:lnTo>
                    <a:pt x="97" y="39"/>
                  </a:lnTo>
                  <a:close/>
                  <a:moveTo>
                    <a:pt x="97" y="387"/>
                  </a:moveTo>
                  <a:lnTo>
                    <a:pt x="87" y="386"/>
                  </a:lnTo>
                  <a:lnTo>
                    <a:pt x="78" y="385"/>
                  </a:lnTo>
                  <a:lnTo>
                    <a:pt x="68" y="383"/>
                  </a:lnTo>
                  <a:lnTo>
                    <a:pt x="59" y="379"/>
                  </a:lnTo>
                  <a:lnTo>
                    <a:pt x="51" y="375"/>
                  </a:lnTo>
                  <a:lnTo>
                    <a:pt x="43" y="370"/>
                  </a:lnTo>
                  <a:lnTo>
                    <a:pt x="35" y="364"/>
                  </a:lnTo>
                  <a:lnTo>
                    <a:pt x="29" y="359"/>
                  </a:lnTo>
                  <a:lnTo>
                    <a:pt x="22" y="351"/>
                  </a:lnTo>
                  <a:lnTo>
                    <a:pt x="16" y="344"/>
                  </a:lnTo>
                  <a:lnTo>
                    <a:pt x="12" y="336"/>
                  </a:lnTo>
                  <a:lnTo>
                    <a:pt x="7" y="328"/>
                  </a:lnTo>
                  <a:lnTo>
                    <a:pt x="4" y="318"/>
                  </a:lnTo>
                  <a:lnTo>
                    <a:pt x="2" y="310"/>
                  </a:lnTo>
                  <a:lnTo>
                    <a:pt x="0" y="300"/>
                  </a:lnTo>
                  <a:lnTo>
                    <a:pt x="0" y="291"/>
                  </a:lnTo>
                  <a:lnTo>
                    <a:pt x="0" y="97"/>
                  </a:lnTo>
                  <a:lnTo>
                    <a:pt x="0" y="88"/>
                  </a:lnTo>
                  <a:lnTo>
                    <a:pt x="2" y="78"/>
                  </a:lnTo>
                  <a:lnTo>
                    <a:pt x="4" y="69"/>
                  </a:lnTo>
                  <a:lnTo>
                    <a:pt x="7" y="59"/>
                  </a:lnTo>
                  <a:lnTo>
                    <a:pt x="12" y="50"/>
                  </a:lnTo>
                  <a:lnTo>
                    <a:pt x="16" y="43"/>
                  </a:lnTo>
                  <a:lnTo>
                    <a:pt x="22" y="36"/>
                  </a:lnTo>
                  <a:lnTo>
                    <a:pt x="29" y="29"/>
                  </a:lnTo>
                  <a:lnTo>
                    <a:pt x="35" y="23"/>
                  </a:lnTo>
                  <a:lnTo>
                    <a:pt x="43" y="17"/>
                  </a:lnTo>
                  <a:lnTo>
                    <a:pt x="51" y="12"/>
                  </a:lnTo>
                  <a:lnTo>
                    <a:pt x="59" y="9"/>
                  </a:lnTo>
                  <a:lnTo>
                    <a:pt x="68" y="4"/>
                  </a:lnTo>
                  <a:lnTo>
                    <a:pt x="78" y="3"/>
                  </a:lnTo>
                  <a:lnTo>
                    <a:pt x="87" y="1"/>
                  </a:lnTo>
                  <a:lnTo>
                    <a:pt x="97" y="0"/>
                  </a:lnTo>
                  <a:lnTo>
                    <a:pt x="107" y="1"/>
                  </a:lnTo>
                  <a:lnTo>
                    <a:pt x="117" y="3"/>
                  </a:lnTo>
                  <a:lnTo>
                    <a:pt x="125" y="4"/>
                  </a:lnTo>
                  <a:lnTo>
                    <a:pt x="134" y="9"/>
                  </a:lnTo>
                  <a:lnTo>
                    <a:pt x="143" y="12"/>
                  </a:lnTo>
                  <a:lnTo>
                    <a:pt x="150" y="17"/>
                  </a:lnTo>
                  <a:lnTo>
                    <a:pt x="159" y="23"/>
                  </a:lnTo>
                  <a:lnTo>
                    <a:pt x="164" y="29"/>
                  </a:lnTo>
                  <a:lnTo>
                    <a:pt x="172" y="36"/>
                  </a:lnTo>
                  <a:lnTo>
                    <a:pt x="177" y="43"/>
                  </a:lnTo>
                  <a:lnTo>
                    <a:pt x="182" y="50"/>
                  </a:lnTo>
                  <a:lnTo>
                    <a:pt x="186" y="59"/>
                  </a:lnTo>
                  <a:lnTo>
                    <a:pt x="189" y="69"/>
                  </a:lnTo>
                  <a:lnTo>
                    <a:pt x="192" y="78"/>
                  </a:lnTo>
                  <a:lnTo>
                    <a:pt x="193" y="88"/>
                  </a:lnTo>
                  <a:lnTo>
                    <a:pt x="193" y="97"/>
                  </a:lnTo>
                  <a:lnTo>
                    <a:pt x="193" y="291"/>
                  </a:lnTo>
                  <a:lnTo>
                    <a:pt x="193" y="300"/>
                  </a:lnTo>
                  <a:lnTo>
                    <a:pt x="192" y="310"/>
                  </a:lnTo>
                  <a:lnTo>
                    <a:pt x="189" y="318"/>
                  </a:lnTo>
                  <a:lnTo>
                    <a:pt x="186" y="328"/>
                  </a:lnTo>
                  <a:lnTo>
                    <a:pt x="182" y="336"/>
                  </a:lnTo>
                  <a:lnTo>
                    <a:pt x="177" y="344"/>
                  </a:lnTo>
                  <a:lnTo>
                    <a:pt x="172" y="351"/>
                  </a:lnTo>
                  <a:lnTo>
                    <a:pt x="164" y="359"/>
                  </a:lnTo>
                  <a:lnTo>
                    <a:pt x="159" y="364"/>
                  </a:lnTo>
                  <a:lnTo>
                    <a:pt x="150" y="370"/>
                  </a:lnTo>
                  <a:lnTo>
                    <a:pt x="143" y="375"/>
                  </a:lnTo>
                  <a:lnTo>
                    <a:pt x="134" y="379"/>
                  </a:lnTo>
                  <a:lnTo>
                    <a:pt x="125" y="383"/>
                  </a:lnTo>
                  <a:lnTo>
                    <a:pt x="117" y="385"/>
                  </a:lnTo>
                  <a:lnTo>
                    <a:pt x="107" y="386"/>
                  </a:lnTo>
                  <a:lnTo>
                    <a:pt x="97" y="38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grpSp>
      <p:grpSp>
        <p:nvGrpSpPr>
          <p:cNvPr id="29" name="Group 28"/>
          <p:cNvGrpSpPr/>
          <p:nvPr/>
        </p:nvGrpSpPr>
        <p:grpSpPr>
          <a:xfrm>
            <a:off x="6328815" y="3794125"/>
            <a:ext cx="337426" cy="313402"/>
            <a:chOff x="1260653" y="5947865"/>
            <a:chExt cx="449901" cy="417869"/>
          </a:xfrm>
          <a:solidFill>
            <a:schemeClr val="tx1">
              <a:lumMod val="85000"/>
              <a:lumOff val="15000"/>
            </a:schemeClr>
          </a:solidFill>
        </p:grpSpPr>
        <p:sp>
          <p:nvSpPr>
            <p:cNvPr id="30" name="Freeform 595"/>
            <p:cNvSpPr>
              <a:spLocks noEditPoints="1"/>
            </p:cNvSpPr>
            <p:nvPr/>
          </p:nvSpPr>
          <p:spPr bwMode="auto">
            <a:xfrm>
              <a:off x="1364029" y="6036680"/>
              <a:ext cx="243151" cy="221311"/>
            </a:xfrm>
            <a:custGeom>
              <a:avLst/>
              <a:gdLst>
                <a:gd name="T0" fmla="*/ 118 w 501"/>
                <a:gd name="T1" fmla="*/ 41 h 456"/>
                <a:gd name="T2" fmla="*/ 92 w 501"/>
                <a:gd name="T3" fmla="*/ 49 h 456"/>
                <a:gd name="T4" fmla="*/ 69 w 501"/>
                <a:gd name="T5" fmla="*/ 65 h 456"/>
                <a:gd name="T6" fmla="*/ 52 w 501"/>
                <a:gd name="T7" fmla="*/ 90 h 456"/>
                <a:gd name="T8" fmla="*/ 41 w 501"/>
                <a:gd name="T9" fmla="*/ 121 h 456"/>
                <a:gd name="T10" fmla="*/ 39 w 501"/>
                <a:gd name="T11" fmla="*/ 159 h 456"/>
                <a:gd name="T12" fmla="*/ 46 w 501"/>
                <a:gd name="T13" fmla="*/ 193 h 456"/>
                <a:gd name="T14" fmla="*/ 79 w 501"/>
                <a:gd name="T15" fmla="*/ 258 h 456"/>
                <a:gd name="T16" fmla="*/ 128 w 501"/>
                <a:gd name="T17" fmla="*/ 317 h 456"/>
                <a:gd name="T18" fmla="*/ 182 w 501"/>
                <a:gd name="T19" fmla="*/ 365 h 456"/>
                <a:gd name="T20" fmla="*/ 251 w 501"/>
                <a:gd name="T21" fmla="*/ 414 h 456"/>
                <a:gd name="T22" fmla="*/ 318 w 501"/>
                <a:gd name="T23" fmla="*/ 359 h 456"/>
                <a:gd name="T24" fmla="*/ 373 w 501"/>
                <a:gd name="T25" fmla="*/ 307 h 456"/>
                <a:gd name="T26" fmla="*/ 422 w 501"/>
                <a:gd name="T27" fmla="*/ 245 h 456"/>
                <a:gd name="T28" fmla="*/ 455 w 501"/>
                <a:gd name="T29" fmla="*/ 179 h 456"/>
                <a:gd name="T30" fmla="*/ 462 w 501"/>
                <a:gd name="T31" fmla="*/ 146 h 456"/>
                <a:gd name="T32" fmla="*/ 461 w 501"/>
                <a:gd name="T33" fmla="*/ 111 h 456"/>
                <a:gd name="T34" fmla="*/ 451 w 501"/>
                <a:gd name="T35" fmla="*/ 84 h 456"/>
                <a:gd name="T36" fmla="*/ 434 w 501"/>
                <a:gd name="T37" fmla="*/ 62 h 456"/>
                <a:gd name="T38" fmla="*/ 411 w 501"/>
                <a:gd name="T39" fmla="*/ 48 h 456"/>
                <a:gd name="T40" fmla="*/ 386 w 501"/>
                <a:gd name="T41" fmla="*/ 39 h 456"/>
                <a:gd name="T42" fmla="*/ 353 w 501"/>
                <a:gd name="T43" fmla="*/ 39 h 456"/>
                <a:gd name="T44" fmla="*/ 323 w 501"/>
                <a:gd name="T45" fmla="*/ 49 h 456"/>
                <a:gd name="T46" fmla="*/ 301 w 501"/>
                <a:gd name="T47" fmla="*/ 64 h 456"/>
                <a:gd name="T48" fmla="*/ 284 w 501"/>
                <a:gd name="T49" fmla="*/ 85 h 456"/>
                <a:gd name="T50" fmla="*/ 272 w 501"/>
                <a:gd name="T51" fmla="*/ 116 h 456"/>
                <a:gd name="T52" fmla="*/ 264 w 501"/>
                <a:gd name="T53" fmla="*/ 139 h 456"/>
                <a:gd name="T54" fmla="*/ 244 w 501"/>
                <a:gd name="T55" fmla="*/ 142 h 456"/>
                <a:gd name="T56" fmla="*/ 232 w 501"/>
                <a:gd name="T57" fmla="*/ 127 h 456"/>
                <a:gd name="T58" fmla="*/ 222 w 501"/>
                <a:gd name="T59" fmla="*/ 96 h 456"/>
                <a:gd name="T60" fmla="*/ 208 w 501"/>
                <a:gd name="T61" fmla="*/ 71 h 456"/>
                <a:gd name="T62" fmla="*/ 180 w 501"/>
                <a:gd name="T63" fmla="*/ 51 h 456"/>
                <a:gd name="T64" fmla="*/ 136 w 501"/>
                <a:gd name="T65" fmla="*/ 39 h 456"/>
                <a:gd name="T66" fmla="*/ 241 w 501"/>
                <a:gd name="T67" fmla="*/ 454 h 456"/>
                <a:gd name="T68" fmla="*/ 180 w 501"/>
                <a:gd name="T69" fmla="*/ 414 h 456"/>
                <a:gd name="T70" fmla="*/ 117 w 501"/>
                <a:gd name="T71" fmla="*/ 361 h 456"/>
                <a:gd name="T72" fmla="*/ 53 w 501"/>
                <a:gd name="T73" fmla="*/ 290 h 456"/>
                <a:gd name="T74" fmla="*/ 22 w 501"/>
                <a:gd name="T75" fmla="*/ 237 h 456"/>
                <a:gd name="T76" fmla="*/ 6 w 501"/>
                <a:gd name="T77" fmla="*/ 192 h 456"/>
                <a:gd name="T78" fmla="*/ 0 w 501"/>
                <a:gd name="T79" fmla="*/ 146 h 456"/>
                <a:gd name="T80" fmla="*/ 6 w 501"/>
                <a:gd name="T81" fmla="*/ 97 h 456"/>
                <a:gd name="T82" fmla="*/ 25 w 501"/>
                <a:gd name="T83" fmla="*/ 58 h 456"/>
                <a:gd name="T84" fmla="*/ 52 w 501"/>
                <a:gd name="T85" fmla="*/ 29 h 456"/>
                <a:gd name="T86" fmla="*/ 87 w 501"/>
                <a:gd name="T87" fmla="*/ 11 h 456"/>
                <a:gd name="T88" fmla="*/ 123 w 501"/>
                <a:gd name="T89" fmla="*/ 2 h 456"/>
                <a:gd name="T90" fmla="*/ 169 w 501"/>
                <a:gd name="T91" fmla="*/ 5 h 456"/>
                <a:gd name="T92" fmla="*/ 215 w 501"/>
                <a:gd name="T93" fmla="*/ 26 h 456"/>
                <a:gd name="T94" fmla="*/ 251 w 501"/>
                <a:gd name="T95" fmla="*/ 65 h 456"/>
                <a:gd name="T96" fmla="*/ 288 w 501"/>
                <a:gd name="T97" fmla="*/ 25 h 456"/>
                <a:gd name="T98" fmla="*/ 336 w 501"/>
                <a:gd name="T99" fmla="*/ 3 h 456"/>
                <a:gd name="T100" fmla="*/ 382 w 501"/>
                <a:gd name="T101" fmla="*/ 0 h 456"/>
                <a:gd name="T102" fmla="*/ 418 w 501"/>
                <a:gd name="T103" fmla="*/ 9 h 456"/>
                <a:gd name="T104" fmla="*/ 451 w 501"/>
                <a:gd name="T105" fmla="*/ 26 h 456"/>
                <a:gd name="T106" fmla="*/ 477 w 501"/>
                <a:gd name="T107" fmla="*/ 54 h 456"/>
                <a:gd name="T108" fmla="*/ 496 w 501"/>
                <a:gd name="T109" fmla="*/ 90 h 456"/>
                <a:gd name="T110" fmla="*/ 501 w 501"/>
                <a:gd name="T111" fmla="*/ 134 h 456"/>
                <a:gd name="T112" fmla="*/ 496 w 501"/>
                <a:gd name="T113" fmla="*/ 179 h 456"/>
                <a:gd name="T114" fmla="*/ 481 w 501"/>
                <a:gd name="T115" fmla="*/ 221 h 456"/>
                <a:gd name="T116" fmla="*/ 448 w 501"/>
                <a:gd name="T117" fmla="*/ 276 h 456"/>
                <a:gd name="T118" fmla="*/ 386 w 501"/>
                <a:gd name="T119" fmla="*/ 349 h 456"/>
                <a:gd name="T120" fmla="*/ 321 w 501"/>
                <a:gd name="T121" fmla="*/ 408 h 456"/>
                <a:gd name="T122" fmla="*/ 262 w 501"/>
                <a:gd name="T123" fmla="*/ 453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1" h="456">
                  <a:moveTo>
                    <a:pt x="136" y="39"/>
                  </a:moveTo>
                  <a:lnTo>
                    <a:pt x="127" y="41"/>
                  </a:lnTo>
                  <a:lnTo>
                    <a:pt x="118" y="41"/>
                  </a:lnTo>
                  <a:lnTo>
                    <a:pt x="110" y="44"/>
                  </a:lnTo>
                  <a:lnTo>
                    <a:pt x="101" y="47"/>
                  </a:lnTo>
                  <a:lnTo>
                    <a:pt x="92" y="49"/>
                  </a:lnTo>
                  <a:lnTo>
                    <a:pt x="84" y="54"/>
                  </a:lnTo>
                  <a:lnTo>
                    <a:pt x="77" y="60"/>
                  </a:lnTo>
                  <a:lnTo>
                    <a:pt x="69" y="65"/>
                  </a:lnTo>
                  <a:lnTo>
                    <a:pt x="64" y="72"/>
                  </a:lnTo>
                  <a:lnTo>
                    <a:pt x="56" y="81"/>
                  </a:lnTo>
                  <a:lnTo>
                    <a:pt x="52" y="90"/>
                  </a:lnTo>
                  <a:lnTo>
                    <a:pt x="48" y="98"/>
                  </a:lnTo>
                  <a:lnTo>
                    <a:pt x="43" y="110"/>
                  </a:lnTo>
                  <a:lnTo>
                    <a:pt x="41" y="121"/>
                  </a:lnTo>
                  <a:lnTo>
                    <a:pt x="39" y="133"/>
                  </a:lnTo>
                  <a:lnTo>
                    <a:pt x="39" y="146"/>
                  </a:lnTo>
                  <a:lnTo>
                    <a:pt x="39" y="159"/>
                  </a:lnTo>
                  <a:lnTo>
                    <a:pt x="41" y="170"/>
                  </a:lnTo>
                  <a:lnTo>
                    <a:pt x="42" y="182"/>
                  </a:lnTo>
                  <a:lnTo>
                    <a:pt x="46" y="193"/>
                  </a:lnTo>
                  <a:lnTo>
                    <a:pt x="55" y="215"/>
                  </a:lnTo>
                  <a:lnTo>
                    <a:pt x="65" y="238"/>
                  </a:lnTo>
                  <a:lnTo>
                    <a:pt x="79" y="258"/>
                  </a:lnTo>
                  <a:lnTo>
                    <a:pt x="94" y="280"/>
                  </a:lnTo>
                  <a:lnTo>
                    <a:pt x="111" y="299"/>
                  </a:lnTo>
                  <a:lnTo>
                    <a:pt x="128" y="317"/>
                  </a:lnTo>
                  <a:lnTo>
                    <a:pt x="146" y="335"/>
                  </a:lnTo>
                  <a:lnTo>
                    <a:pt x="164" y="350"/>
                  </a:lnTo>
                  <a:lnTo>
                    <a:pt x="182" y="365"/>
                  </a:lnTo>
                  <a:lnTo>
                    <a:pt x="199" y="378"/>
                  </a:lnTo>
                  <a:lnTo>
                    <a:pt x="228" y="399"/>
                  </a:lnTo>
                  <a:lnTo>
                    <a:pt x="251" y="414"/>
                  </a:lnTo>
                  <a:lnTo>
                    <a:pt x="272" y="398"/>
                  </a:lnTo>
                  <a:lnTo>
                    <a:pt x="301" y="374"/>
                  </a:lnTo>
                  <a:lnTo>
                    <a:pt x="318" y="359"/>
                  </a:lnTo>
                  <a:lnTo>
                    <a:pt x="337" y="343"/>
                  </a:lnTo>
                  <a:lnTo>
                    <a:pt x="354" y="326"/>
                  </a:lnTo>
                  <a:lnTo>
                    <a:pt x="373" y="307"/>
                  </a:lnTo>
                  <a:lnTo>
                    <a:pt x="390" y="287"/>
                  </a:lnTo>
                  <a:lnTo>
                    <a:pt x="408" y="267"/>
                  </a:lnTo>
                  <a:lnTo>
                    <a:pt x="422" y="245"/>
                  </a:lnTo>
                  <a:lnTo>
                    <a:pt x="437" y="224"/>
                  </a:lnTo>
                  <a:lnTo>
                    <a:pt x="447" y="202"/>
                  </a:lnTo>
                  <a:lnTo>
                    <a:pt x="455" y="179"/>
                  </a:lnTo>
                  <a:lnTo>
                    <a:pt x="460" y="169"/>
                  </a:lnTo>
                  <a:lnTo>
                    <a:pt x="461" y="157"/>
                  </a:lnTo>
                  <a:lnTo>
                    <a:pt x="462" y="146"/>
                  </a:lnTo>
                  <a:lnTo>
                    <a:pt x="464" y="134"/>
                  </a:lnTo>
                  <a:lnTo>
                    <a:pt x="462" y="123"/>
                  </a:lnTo>
                  <a:lnTo>
                    <a:pt x="461" y="111"/>
                  </a:lnTo>
                  <a:lnTo>
                    <a:pt x="458" y="101"/>
                  </a:lnTo>
                  <a:lnTo>
                    <a:pt x="455" y="93"/>
                  </a:lnTo>
                  <a:lnTo>
                    <a:pt x="451" y="84"/>
                  </a:lnTo>
                  <a:lnTo>
                    <a:pt x="445" y="75"/>
                  </a:lnTo>
                  <a:lnTo>
                    <a:pt x="439" y="68"/>
                  </a:lnTo>
                  <a:lnTo>
                    <a:pt x="434" y="62"/>
                  </a:lnTo>
                  <a:lnTo>
                    <a:pt x="426" y="57"/>
                  </a:lnTo>
                  <a:lnTo>
                    <a:pt x="419" y="52"/>
                  </a:lnTo>
                  <a:lnTo>
                    <a:pt x="411" y="48"/>
                  </a:lnTo>
                  <a:lnTo>
                    <a:pt x="403" y="44"/>
                  </a:lnTo>
                  <a:lnTo>
                    <a:pt x="395" y="42"/>
                  </a:lnTo>
                  <a:lnTo>
                    <a:pt x="386" y="39"/>
                  </a:lnTo>
                  <a:lnTo>
                    <a:pt x="377" y="39"/>
                  </a:lnTo>
                  <a:lnTo>
                    <a:pt x="369" y="38"/>
                  </a:lnTo>
                  <a:lnTo>
                    <a:pt x="353" y="39"/>
                  </a:lnTo>
                  <a:lnTo>
                    <a:pt x="339" y="44"/>
                  </a:lnTo>
                  <a:lnTo>
                    <a:pt x="330" y="47"/>
                  </a:lnTo>
                  <a:lnTo>
                    <a:pt x="323" y="49"/>
                  </a:lnTo>
                  <a:lnTo>
                    <a:pt x="316" y="54"/>
                  </a:lnTo>
                  <a:lnTo>
                    <a:pt x="308" y="58"/>
                  </a:lnTo>
                  <a:lnTo>
                    <a:pt x="301" y="64"/>
                  </a:lnTo>
                  <a:lnTo>
                    <a:pt x="295" y="70"/>
                  </a:lnTo>
                  <a:lnTo>
                    <a:pt x="290" y="77"/>
                  </a:lnTo>
                  <a:lnTo>
                    <a:pt x="284" y="85"/>
                  </a:lnTo>
                  <a:lnTo>
                    <a:pt x="280" y="94"/>
                  </a:lnTo>
                  <a:lnTo>
                    <a:pt x="275" y="104"/>
                  </a:lnTo>
                  <a:lnTo>
                    <a:pt x="272" y="116"/>
                  </a:lnTo>
                  <a:lnTo>
                    <a:pt x="269" y="127"/>
                  </a:lnTo>
                  <a:lnTo>
                    <a:pt x="268" y="133"/>
                  </a:lnTo>
                  <a:lnTo>
                    <a:pt x="264" y="139"/>
                  </a:lnTo>
                  <a:lnTo>
                    <a:pt x="258" y="142"/>
                  </a:lnTo>
                  <a:lnTo>
                    <a:pt x="251" y="143"/>
                  </a:lnTo>
                  <a:lnTo>
                    <a:pt x="244" y="142"/>
                  </a:lnTo>
                  <a:lnTo>
                    <a:pt x="238" y="139"/>
                  </a:lnTo>
                  <a:lnTo>
                    <a:pt x="233" y="133"/>
                  </a:lnTo>
                  <a:lnTo>
                    <a:pt x="232" y="127"/>
                  </a:lnTo>
                  <a:lnTo>
                    <a:pt x="229" y="116"/>
                  </a:lnTo>
                  <a:lnTo>
                    <a:pt x="226" y="104"/>
                  </a:lnTo>
                  <a:lnTo>
                    <a:pt x="222" y="96"/>
                  </a:lnTo>
                  <a:lnTo>
                    <a:pt x="218" y="85"/>
                  </a:lnTo>
                  <a:lnTo>
                    <a:pt x="213" y="78"/>
                  </a:lnTo>
                  <a:lnTo>
                    <a:pt x="208" y="71"/>
                  </a:lnTo>
                  <a:lnTo>
                    <a:pt x="200" y="65"/>
                  </a:lnTo>
                  <a:lnTo>
                    <a:pt x="195" y="60"/>
                  </a:lnTo>
                  <a:lnTo>
                    <a:pt x="180" y="51"/>
                  </a:lnTo>
                  <a:lnTo>
                    <a:pt x="166" y="44"/>
                  </a:lnTo>
                  <a:lnTo>
                    <a:pt x="150" y="41"/>
                  </a:lnTo>
                  <a:lnTo>
                    <a:pt x="136" y="39"/>
                  </a:lnTo>
                  <a:close/>
                  <a:moveTo>
                    <a:pt x="251" y="456"/>
                  </a:moveTo>
                  <a:lnTo>
                    <a:pt x="246" y="456"/>
                  </a:lnTo>
                  <a:lnTo>
                    <a:pt x="241" y="454"/>
                  </a:lnTo>
                  <a:lnTo>
                    <a:pt x="228" y="446"/>
                  </a:lnTo>
                  <a:lnTo>
                    <a:pt x="199" y="427"/>
                  </a:lnTo>
                  <a:lnTo>
                    <a:pt x="180" y="414"/>
                  </a:lnTo>
                  <a:lnTo>
                    <a:pt x="160" y="398"/>
                  </a:lnTo>
                  <a:lnTo>
                    <a:pt x="138" y="381"/>
                  </a:lnTo>
                  <a:lnTo>
                    <a:pt x="117" y="361"/>
                  </a:lnTo>
                  <a:lnTo>
                    <a:pt x="95" y="339"/>
                  </a:lnTo>
                  <a:lnTo>
                    <a:pt x="74" y="316"/>
                  </a:lnTo>
                  <a:lnTo>
                    <a:pt x="53" y="290"/>
                  </a:lnTo>
                  <a:lnTo>
                    <a:pt x="36" y="264"/>
                  </a:lnTo>
                  <a:lnTo>
                    <a:pt x="29" y="251"/>
                  </a:lnTo>
                  <a:lnTo>
                    <a:pt x="22" y="237"/>
                  </a:lnTo>
                  <a:lnTo>
                    <a:pt x="15" y="222"/>
                  </a:lnTo>
                  <a:lnTo>
                    <a:pt x="10" y="208"/>
                  </a:lnTo>
                  <a:lnTo>
                    <a:pt x="6" y="192"/>
                  </a:lnTo>
                  <a:lnTo>
                    <a:pt x="3" y="178"/>
                  </a:lnTo>
                  <a:lnTo>
                    <a:pt x="0" y="162"/>
                  </a:lnTo>
                  <a:lnTo>
                    <a:pt x="0" y="146"/>
                  </a:lnTo>
                  <a:lnTo>
                    <a:pt x="0" y="129"/>
                  </a:lnTo>
                  <a:lnTo>
                    <a:pt x="3" y="113"/>
                  </a:lnTo>
                  <a:lnTo>
                    <a:pt x="6" y="97"/>
                  </a:lnTo>
                  <a:lnTo>
                    <a:pt x="12" y="84"/>
                  </a:lnTo>
                  <a:lnTo>
                    <a:pt x="17" y="71"/>
                  </a:lnTo>
                  <a:lnTo>
                    <a:pt x="25" y="58"/>
                  </a:lnTo>
                  <a:lnTo>
                    <a:pt x="33" y="48"/>
                  </a:lnTo>
                  <a:lnTo>
                    <a:pt x="42" y="38"/>
                  </a:lnTo>
                  <a:lnTo>
                    <a:pt x="52" y="29"/>
                  </a:lnTo>
                  <a:lnTo>
                    <a:pt x="64" y="22"/>
                  </a:lnTo>
                  <a:lnTo>
                    <a:pt x="74" y="16"/>
                  </a:lnTo>
                  <a:lnTo>
                    <a:pt x="87" y="11"/>
                  </a:lnTo>
                  <a:lnTo>
                    <a:pt x="98" y="6"/>
                  </a:lnTo>
                  <a:lnTo>
                    <a:pt x="111" y="3"/>
                  </a:lnTo>
                  <a:lnTo>
                    <a:pt x="123" y="2"/>
                  </a:lnTo>
                  <a:lnTo>
                    <a:pt x="136" y="0"/>
                  </a:lnTo>
                  <a:lnTo>
                    <a:pt x="151" y="2"/>
                  </a:lnTo>
                  <a:lnTo>
                    <a:pt x="169" y="5"/>
                  </a:lnTo>
                  <a:lnTo>
                    <a:pt x="185" y="11"/>
                  </a:lnTo>
                  <a:lnTo>
                    <a:pt x="199" y="16"/>
                  </a:lnTo>
                  <a:lnTo>
                    <a:pt x="215" y="26"/>
                  </a:lnTo>
                  <a:lnTo>
                    <a:pt x="228" y="36"/>
                  </a:lnTo>
                  <a:lnTo>
                    <a:pt x="241" y="51"/>
                  </a:lnTo>
                  <a:lnTo>
                    <a:pt x="251" y="65"/>
                  </a:lnTo>
                  <a:lnTo>
                    <a:pt x="262" y="49"/>
                  </a:lnTo>
                  <a:lnTo>
                    <a:pt x="274" y="36"/>
                  </a:lnTo>
                  <a:lnTo>
                    <a:pt x="288" y="25"/>
                  </a:lnTo>
                  <a:lnTo>
                    <a:pt x="304" y="16"/>
                  </a:lnTo>
                  <a:lnTo>
                    <a:pt x="320" y="9"/>
                  </a:lnTo>
                  <a:lnTo>
                    <a:pt x="336" y="3"/>
                  </a:lnTo>
                  <a:lnTo>
                    <a:pt x="352" y="0"/>
                  </a:lnTo>
                  <a:lnTo>
                    <a:pt x="369" y="0"/>
                  </a:lnTo>
                  <a:lnTo>
                    <a:pt x="382" y="0"/>
                  </a:lnTo>
                  <a:lnTo>
                    <a:pt x="393" y="2"/>
                  </a:lnTo>
                  <a:lnTo>
                    <a:pt x="406" y="5"/>
                  </a:lnTo>
                  <a:lnTo>
                    <a:pt x="418" y="9"/>
                  </a:lnTo>
                  <a:lnTo>
                    <a:pt x="429" y="13"/>
                  </a:lnTo>
                  <a:lnTo>
                    <a:pt x="439" y="19"/>
                  </a:lnTo>
                  <a:lnTo>
                    <a:pt x="451" y="26"/>
                  </a:lnTo>
                  <a:lnTo>
                    <a:pt x="460" y="34"/>
                  </a:lnTo>
                  <a:lnTo>
                    <a:pt x="470" y="44"/>
                  </a:lnTo>
                  <a:lnTo>
                    <a:pt x="477" y="54"/>
                  </a:lnTo>
                  <a:lnTo>
                    <a:pt x="484" y="64"/>
                  </a:lnTo>
                  <a:lnTo>
                    <a:pt x="490" y="77"/>
                  </a:lnTo>
                  <a:lnTo>
                    <a:pt x="496" y="90"/>
                  </a:lnTo>
                  <a:lnTo>
                    <a:pt x="498" y="104"/>
                  </a:lnTo>
                  <a:lnTo>
                    <a:pt x="501" y="119"/>
                  </a:lnTo>
                  <a:lnTo>
                    <a:pt x="501" y="134"/>
                  </a:lnTo>
                  <a:lnTo>
                    <a:pt x="501" y="150"/>
                  </a:lnTo>
                  <a:lnTo>
                    <a:pt x="500" y="165"/>
                  </a:lnTo>
                  <a:lnTo>
                    <a:pt x="496" y="179"/>
                  </a:lnTo>
                  <a:lnTo>
                    <a:pt x="493" y="193"/>
                  </a:lnTo>
                  <a:lnTo>
                    <a:pt x="487" y="208"/>
                  </a:lnTo>
                  <a:lnTo>
                    <a:pt x="481" y="221"/>
                  </a:lnTo>
                  <a:lnTo>
                    <a:pt x="474" y="235"/>
                  </a:lnTo>
                  <a:lnTo>
                    <a:pt x="465" y="250"/>
                  </a:lnTo>
                  <a:lnTo>
                    <a:pt x="448" y="276"/>
                  </a:lnTo>
                  <a:lnTo>
                    <a:pt x="428" y="302"/>
                  </a:lnTo>
                  <a:lnTo>
                    <a:pt x="408" y="326"/>
                  </a:lnTo>
                  <a:lnTo>
                    <a:pt x="386" y="349"/>
                  </a:lnTo>
                  <a:lnTo>
                    <a:pt x="363" y="371"/>
                  </a:lnTo>
                  <a:lnTo>
                    <a:pt x="341" y="391"/>
                  </a:lnTo>
                  <a:lnTo>
                    <a:pt x="321" y="408"/>
                  </a:lnTo>
                  <a:lnTo>
                    <a:pt x="303" y="422"/>
                  </a:lnTo>
                  <a:lnTo>
                    <a:pt x="275" y="444"/>
                  </a:lnTo>
                  <a:lnTo>
                    <a:pt x="262" y="453"/>
                  </a:lnTo>
                  <a:lnTo>
                    <a:pt x="257" y="456"/>
                  </a:lnTo>
                  <a:lnTo>
                    <a:pt x="251" y="45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31" name="Freeform 596"/>
            <p:cNvSpPr>
              <a:spLocks noEditPoints="1"/>
            </p:cNvSpPr>
            <p:nvPr/>
          </p:nvSpPr>
          <p:spPr bwMode="auto">
            <a:xfrm>
              <a:off x="1260653" y="5947865"/>
              <a:ext cx="449901" cy="417869"/>
            </a:xfrm>
            <a:custGeom>
              <a:avLst/>
              <a:gdLst>
                <a:gd name="T0" fmla="*/ 399 w 927"/>
                <a:gd name="T1" fmla="*/ 42 h 860"/>
                <a:gd name="T2" fmla="*/ 318 w 927"/>
                <a:gd name="T3" fmla="*/ 59 h 860"/>
                <a:gd name="T4" fmla="*/ 243 w 927"/>
                <a:gd name="T5" fmla="*/ 88 h 860"/>
                <a:gd name="T6" fmla="*/ 179 w 927"/>
                <a:gd name="T7" fmla="*/ 128 h 860"/>
                <a:gd name="T8" fmla="*/ 124 w 927"/>
                <a:gd name="T9" fmla="*/ 176 h 860"/>
                <a:gd name="T10" fmla="*/ 81 w 927"/>
                <a:gd name="T11" fmla="*/ 233 h 860"/>
                <a:gd name="T12" fmla="*/ 52 w 927"/>
                <a:gd name="T13" fmla="*/ 295 h 860"/>
                <a:gd name="T14" fmla="*/ 39 w 927"/>
                <a:gd name="T15" fmla="*/ 364 h 860"/>
                <a:gd name="T16" fmla="*/ 43 w 927"/>
                <a:gd name="T17" fmla="*/ 432 h 860"/>
                <a:gd name="T18" fmla="*/ 63 w 927"/>
                <a:gd name="T19" fmla="*/ 498 h 860"/>
                <a:gd name="T20" fmla="*/ 99 w 927"/>
                <a:gd name="T21" fmla="*/ 559 h 860"/>
                <a:gd name="T22" fmla="*/ 150 w 927"/>
                <a:gd name="T23" fmla="*/ 612 h 860"/>
                <a:gd name="T24" fmla="*/ 171 w 927"/>
                <a:gd name="T25" fmla="*/ 642 h 860"/>
                <a:gd name="T26" fmla="*/ 307 w 927"/>
                <a:gd name="T27" fmla="*/ 701 h 860"/>
                <a:gd name="T28" fmla="*/ 425 w 927"/>
                <a:gd name="T29" fmla="*/ 723 h 860"/>
                <a:gd name="T30" fmla="*/ 529 w 927"/>
                <a:gd name="T31" fmla="*/ 720 h 860"/>
                <a:gd name="T32" fmla="*/ 609 w 927"/>
                <a:gd name="T33" fmla="*/ 704 h 860"/>
                <a:gd name="T34" fmla="*/ 684 w 927"/>
                <a:gd name="T35" fmla="*/ 676 h 860"/>
                <a:gd name="T36" fmla="*/ 749 w 927"/>
                <a:gd name="T37" fmla="*/ 635 h 860"/>
                <a:gd name="T38" fmla="*/ 804 w 927"/>
                <a:gd name="T39" fmla="*/ 586 h 860"/>
                <a:gd name="T40" fmla="*/ 847 w 927"/>
                <a:gd name="T41" fmla="*/ 530 h 860"/>
                <a:gd name="T42" fmla="*/ 876 w 927"/>
                <a:gd name="T43" fmla="*/ 467 h 860"/>
                <a:gd name="T44" fmla="*/ 889 w 927"/>
                <a:gd name="T45" fmla="*/ 399 h 860"/>
                <a:gd name="T46" fmla="*/ 884 w 927"/>
                <a:gd name="T47" fmla="*/ 330 h 860"/>
                <a:gd name="T48" fmla="*/ 863 w 927"/>
                <a:gd name="T49" fmla="*/ 264 h 860"/>
                <a:gd name="T50" fmla="*/ 827 w 927"/>
                <a:gd name="T51" fmla="*/ 203 h 860"/>
                <a:gd name="T52" fmla="*/ 778 w 927"/>
                <a:gd name="T53" fmla="*/ 151 h 860"/>
                <a:gd name="T54" fmla="*/ 717 w 927"/>
                <a:gd name="T55" fmla="*/ 107 h 860"/>
                <a:gd name="T56" fmla="*/ 648 w 927"/>
                <a:gd name="T57" fmla="*/ 72 h 860"/>
                <a:gd name="T58" fmla="*/ 570 w 927"/>
                <a:gd name="T59" fmla="*/ 49 h 860"/>
                <a:gd name="T60" fmla="*/ 485 w 927"/>
                <a:gd name="T61" fmla="*/ 39 h 860"/>
                <a:gd name="T62" fmla="*/ 46 w 927"/>
                <a:gd name="T63" fmla="*/ 857 h 860"/>
                <a:gd name="T64" fmla="*/ 35 w 927"/>
                <a:gd name="T65" fmla="*/ 843 h 860"/>
                <a:gd name="T66" fmla="*/ 114 w 927"/>
                <a:gd name="T67" fmla="*/ 632 h 860"/>
                <a:gd name="T68" fmla="*/ 62 w 927"/>
                <a:gd name="T69" fmla="*/ 573 h 860"/>
                <a:gd name="T70" fmla="*/ 26 w 927"/>
                <a:gd name="T71" fmla="*/ 507 h 860"/>
                <a:gd name="T72" fmla="*/ 6 w 927"/>
                <a:gd name="T73" fmla="*/ 436 h 860"/>
                <a:gd name="T74" fmla="*/ 2 w 927"/>
                <a:gd name="T75" fmla="*/ 362 h 860"/>
                <a:gd name="T76" fmla="*/ 14 w 927"/>
                <a:gd name="T77" fmla="*/ 287 h 860"/>
                <a:gd name="T78" fmla="*/ 46 w 927"/>
                <a:gd name="T79" fmla="*/ 216 h 860"/>
                <a:gd name="T80" fmla="*/ 92 w 927"/>
                <a:gd name="T81" fmla="*/ 153 h 860"/>
                <a:gd name="T82" fmla="*/ 153 w 927"/>
                <a:gd name="T83" fmla="*/ 99 h 860"/>
                <a:gd name="T84" fmla="*/ 223 w 927"/>
                <a:gd name="T85" fmla="*/ 55 h 860"/>
                <a:gd name="T86" fmla="*/ 305 w 927"/>
                <a:gd name="T87" fmla="*/ 23 h 860"/>
                <a:gd name="T88" fmla="*/ 393 w 927"/>
                <a:gd name="T89" fmla="*/ 4 h 860"/>
                <a:gd name="T90" fmla="*/ 488 w 927"/>
                <a:gd name="T91" fmla="*/ 0 h 860"/>
                <a:gd name="T92" fmla="*/ 579 w 927"/>
                <a:gd name="T93" fmla="*/ 12 h 860"/>
                <a:gd name="T94" fmla="*/ 664 w 927"/>
                <a:gd name="T95" fmla="*/ 37 h 860"/>
                <a:gd name="T96" fmla="*/ 740 w 927"/>
                <a:gd name="T97" fmla="*/ 76 h 860"/>
                <a:gd name="T98" fmla="*/ 806 w 927"/>
                <a:gd name="T99" fmla="*/ 125 h 860"/>
                <a:gd name="T100" fmla="*/ 860 w 927"/>
                <a:gd name="T101" fmla="*/ 184 h 860"/>
                <a:gd name="T102" fmla="*/ 899 w 927"/>
                <a:gd name="T103" fmla="*/ 251 h 860"/>
                <a:gd name="T104" fmla="*/ 922 w 927"/>
                <a:gd name="T105" fmla="*/ 324 h 860"/>
                <a:gd name="T106" fmla="*/ 926 w 927"/>
                <a:gd name="T107" fmla="*/ 400 h 860"/>
                <a:gd name="T108" fmla="*/ 913 w 927"/>
                <a:gd name="T109" fmla="*/ 477 h 860"/>
                <a:gd name="T110" fmla="*/ 881 w 927"/>
                <a:gd name="T111" fmla="*/ 547 h 860"/>
                <a:gd name="T112" fmla="*/ 835 w 927"/>
                <a:gd name="T113" fmla="*/ 609 h 860"/>
                <a:gd name="T114" fmla="*/ 775 w 927"/>
                <a:gd name="T115" fmla="*/ 664 h 860"/>
                <a:gd name="T116" fmla="*/ 704 w 927"/>
                <a:gd name="T117" fmla="*/ 709 h 860"/>
                <a:gd name="T118" fmla="*/ 624 w 927"/>
                <a:gd name="T119" fmla="*/ 740 h 860"/>
                <a:gd name="T120" fmla="*/ 534 w 927"/>
                <a:gd name="T121" fmla="*/ 759 h 860"/>
                <a:gd name="T122" fmla="*/ 425 w 927"/>
                <a:gd name="T123" fmla="*/ 762 h 860"/>
                <a:gd name="T124" fmla="*/ 61 w 927"/>
                <a:gd name="T125" fmla="*/ 857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7" h="860">
                  <a:moveTo>
                    <a:pt x="464" y="39"/>
                  </a:moveTo>
                  <a:lnTo>
                    <a:pt x="442" y="39"/>
                  </a:lnTo>
                  <a:lnTo>
                    <a:pt x="421" y="40"/>
                  </a:lnTo>
                  <a:lnTo>
                    <a:pt x="399" y="42"/>
                  </a:lnTo>
                  <a:lnTo>
                    <a:pt x="379" y="45"/>
                  </a:lnTo>
                  <a:lnTo>
                    <a:pt x="357" y="49"/>
                  </a:lnTo>
                  <a:lnTo>
                    <a:pt x="337" y="53"/>
                  </a:lnTo>
                  <a:lnTo>
                    <a:pt x="318" y="59"/>
                  </a:lnTo>
                  <a:lnTo>
                    <a:pt x="298" y="65"/>
                  </a:lnTo>
                  <a:lnTo>
                    <a:pt x="279" y="72"/>
                  </a:lnTo>
                  <a:lnTo>
                    <a:pt x="262" y="79"/>
                  </a:lnTo>
                  <a:lnTo>
                    <a:pt x="243" y="88"/>
                  </a:lnTo>
                  <a:lnTo>
                    <a:pt x="226" y="96"/>
                  </a:lnTo>
                  <a:lnTo>
                    <a:pt x="210" y="107"/>
                  </a:lnTo>
                  <a:lnTo>
                    <a:pt x="194" y="117"/>
                  </a:lnTo>
                  <a:lnTo>
                    <a:pt x="179" y="128"/>
                  </a:lnTo>
                  <a:lnTo>
                    <a:pt x="164" y="140"/>
                  </a:lnTo>
                  <a:lnTo>
                    <a:pt x="150" y="151"/>
                  </a:lnTo>
                  <a:lnTo>
                    <a:pt x="137" y="163"/>
                  </a:lnTo>
                  <a:lnTo>
                    <a:pt x="124" y="176"/>
                  </a:lnTo>
                  <a:lnTo>
                    <a:pt x="112" y="190"/>
                  </a:lnTo>
                  <a:lnTo>
                    <a:pt x="101" y="203"/>
                  </a:lnTo>
                  <a:lnTo>
                    <a:pt x="91" y="217"/>
                  </a:lnTo>
                  <a:lnTo>
                    <a:pt x="81" y="233"/>
                  </a:lnTo>
                  <a:lnTo>
                    <a:pt x="72" y="248"/>
                  </a:lnTo>
                  <a:lnTo>
                    <a:pt x="65" y="264"/>
                  </a:lnTo>
                  <a:lnTo>
                    <a:pt x="58" y="279"/>
                  </a:lnTo>
                  <a:lnTo>
                    <a:pt x="52" y="295"/>
                  </a:lnTo>
                  <a:lnTo>
                    <a:pt x="48" y="313"/>
                  </a:lnTo>
                  <a:lnTo>
                    <a:pt x="43" y="330"/>
                  </a:lnTo>
                  <a:lnTo>
                    <a:pt x="42" y="347"/>
                  </a:lnTo>
                  <a:lnTo>
                    <a:pt x="39" y="364"/>
                  </a:lnTo>
                  <a:lnTo>
                    <a:pt x="39" y="382"/>
                  </a:lnTo>
                  <a:lnTo>
                    <a:pt x="39" y="399"/>
                  </a:lnTo>
                  <a:lnTo>
                    <a:pt x="42" y="416"/>
                  </a:lnTo>
                  <a:lnTo>
                    <a:pt x="43" y="432"/>
                  </a:lnTo>
                  <a:lnTo>
                    <a:pt x="48" y="449"/>
                  </a:lnTo>
                  <a:lnTo>
                    <a:pt x="52" y="465"/>
                  </a:lnTo>
                  <a:lnTo>
                    <a:pt x="58" y="483"/>
                  </a:lnTo>
                  <a:lnTo>
                    <a:pt x="63" y="498"/>
                  </a:lnTo>
                  <a:lnTo>
                    <a:pt x="72" y="514"/>
                  </a:lnTo>
                  <a:lnTo>
                    <a:pt x="81" y="529"/>
                  </a:lnTo>
                  <a:lnTo>
                    <a:pt x="89" y="544"/>
                  </a:lnTo>
                  <a:lnTo>
                    <a:pt x="99" y="559"/>
                  </a:lnTo>
                  <a:lnTo>
                    <a:pt x="111" y="573"/>
                  </a:lnTo>
                  <a:lnTo>
                    <a:pt x="124" y="586"/>
                  </a:lnTo>
                  <a:lnTo>
                    <a:pt x="137" y="599"/>
                  </a:lnTo>
                  <a:lnTo>
                    <a:pt x="150" y="612"/>
                  </a:lnTo>
                  <a:lnTo>
                    <a:pt x="166" y="625"/>
                  </a:lnTo>
                  <a:lnTo>
                    <a:pt x="170" y="631"/>
                  </a:lnTo>
                  <a:lnTo>
                    <a:pt x="171" y="637"/>
                  </a:lnTo>
                  <a:lnTo>
                    <a:pt x="171" y="642"/>
                  </a:lnTo>
                  <a:lnTo>
                    <a:pt x="170" y="650"/>
                  </a:lnTo>
                  <a:lnTo>
                    <a:pt x="95" y="799"/>
                  </a:lnTo>
                  <a:lnTo>
                    <a:pt x="300" y="703"/>
                  </a:lnTo>
                  <a:lnTo>
                    <a:pt x="307" y="701"/>
                  </a:lnTo>
                  <a:lnTo>
                    <a:pt x="314" y="703"/>
                  </a:lnTo>
                  <a:lnTo>
                    <a:pt x="350" y="712"/>
                  </a:lnTo>
                  <a:lnTo>
                    <a:pt x="387" y="719"/>
                  </a:lnTo>
                  <a:lnTo>
                    <a:pt x="425" y="723"/>
                  </a:lnTo>
                  <a:lnTo>
                    <a:pt x="464" y="724"/>
                  </a:lnTo>
                  <a:lnTo>
                    <a:pt x="485" y="724"/>
                  </a:lnTo>
                  <a:lnTo>
                    <a:pt x="507" y="723"/>
                  </a:lnTo>
                  <a:lnTo>
                    <a:pt x="529" y="720"/>
                  </a:lnTo>
                  <a:lnTo>
                    <a:pt x="549" y="717"/>
                  </a:lnTo>
                  <a:lnTo>
                    <a:pt x="570" y="714"/>
                  </a:lnTo>
                  <a:lnTo>
                    <a:pt x="590" y="709"/>
                  </a:lnTo>
                  <a:lnTo>
                    <a:pt x="609" y="704"/>
                  </a:lnTo>
                  <a:lnTo>
                    <a:pt x="629" y="697"/>
                  </a:lnTo>
                  <a:lnTo>
                    <a:pt x="648" y="691"/>
                  </a:lnTo>
                  <a:lnTo>
                    <a:pt x="667" y="683"/>
                  </a:lnTo>
                  <a:lnTo>
                    <a:pt x="684" y="676"/>
                  </a:lnTo>
                  <a:lnTo>
                    <a:pt x="701" y="665"/>
                  </a:lnTo>
                  <a:lnTo>
                    <a:pt x="717" y="657"/>
                  </a:lnTo>
                  <a:lnTo>
                    <a:pt x="734" y="647"/>
                  </a:lnTo>
                  <a:lnTo>
                    <a:pt x="749" y="635"/>
                  </a:lnTo>
                  <a:lnTo>
                    <a:pt x="765" y="624"/>
                  </a:lnTo>
                  <a:lnTo>
                    <a:pt x="778" y="612"/>
                  </a:lnTo>
                  <a:lnTo>
                    <a:pt x="792" y="599"/>
                  </a:lnTo>
                  <a:lnTo>
                    <a:pt x="804" y="586"/>
                  </a:lnTo>
                  <a:lnTo>
                    <a:pt x="817" y="573"/>
                  </a:lnTo>
                  <a:lnTo>
                    <a:pt x="827" y="559"/>
                  </a:lnTo>
                  <a:lnTo>
                    <a:pt x="837" y="544"/>
                  </a:lnTo>
                  <a:lnTo>
                    <a:pt x="847" y="530"/>
                  </a:lnTo>
                  <a:lnTo>
                    <a:pt x="855" y="516"/>
                  </a:lnTo>
                  <a:lnTo>
                    <a:pt x="863" y="500"/>
                  </a:lnTo>
                  <a:lnTo>
                    <a:pt x="870" y="484"/>
                  </a:lnTo>
                  <a:lnTo>
                    <a:pt x="876" y="467"/>
                  </a:lnTo>
                  <a:lnTo>
                    <a:pt x="880" y="451"/>
                  </a:lnTo>
                  <a:lnTo>
                    <a:pt x="884" y="434"/>
                  </a:lnTo>
                  <a:lnTo>
                    <a:pt x="887" y="416"/>
                  </a:lnTo>
                  <a:lnTo>
                    <a:pt x="889" y="399"/>
                  </a:lnTo>
                  <a:lnTo>
                    <a:pt x="889" y="382"/>
                  </a:lnTo>
                  <a:lnTo>
                    <a:pt x="889" y="364"/>
                  </a:lnTo>
                  <a:lnTo>
                    <a:pt x="887" y="347"/>
                  </a:lnTo>
                  <a:lnTo>
                    <a:pt x="884" y="330"/>
                  </a:lnTo>
                  <a:lnTo>
                    <a:pt x="880" y="313"/>
                  </a:lnTo>
                  <a:lnTo>
                    <a:pt x="876" y="295"/>
                  </a:lnTo>
                  <a:lnTo>
                    <a:pt x="870" y="279"/>
                  </a:lnTo>
                  <a:lnTo>
                    <a:pt x="863" y="264"/>
                  </a:lnTo>
                  <a:lnTo>
                    <a:pt x="855" y="248"/>
                  </a:lnTo>
                  <a:lnTo>
                    <a:pt x="847" y="233"/>
                  </a:lnTo>
                  <a:lnTo>
                    <a:pt x="837" y="217"/>
                  </a:lnTo>
                  <a:lnTo>
                    <a:pt x="827" y="203"/>
                  </a:lnTo>
                  <a:lnTo>
                    <a:pt x="817" y="190"/>
                  </a:lnTo>
                  <a:lnTo>
                    <a:pt x="804" y="176"/>
                  </a:lnTo>
                  <a:lnTo>
                    <a:pt x="792" y="163"/>
                  </a:lnTo>
                  <a:lnTo>
                    <a:pt x="778" y="151"/>
                  </a:lnTo>
                  <a:lnTo>
                    <a:pt x="765" y="140"/>
                  </a:lnTo>
                  <a:lnTo>
                    <a:pt x="749" y="128"/>
                  </a:lnTo>
                  <a:lnTo>
                    <a:pt x="734" y="117"/>
                  </a:lnTo>
                  <a:lnTo>
                    <a:pt x="717" y="107"/>
                  </a:lnTo>
                  <a:lnTo>
                    <a:pt x="701" y="96"/>
                  </a:lnTo>
                  <a:lnTo>
                    <a:pt x="684" y="88"/>
                  </a:lnTo>
                  <a:lnTo>
                    <a:pt x="667" y="79"/>
                  </a:lnTo>
                  <a:lnTo>
                    <a:pt x="648" y="72"/>
                  </a:lnTo>
                  <a:lnTo>
                    <a:pt x="629" y="65"/>
                  </a:lnTo>
                  <a:lnTo>
                    <a:pt x="609" y="59"/>
                  </a:lnTo>
                  <a:lnTo>
                    <a:pt x="590" y="53"/>
                  </a:lnTo>
                  <a:lnTo>
                    <a:pt x="570" y="49"/>
                  </a:lnTo>
                  <a:lnTo>
                    <a:pt x="549" y="45"/>
                  </a:lnTo>
                  <a:lnTo>
                    <a:pt x="529" y="42"/>
                  </a:lnTo>
                  <a:lnTo>
                    <a:pt x="507" y="40"/>
                  </a:lnTo>
                  <a:lnTo>
                    <a:pt x="485" y="39"/>
                  </a:lnTo>
                  <a:lnTo>
                    <a:pt x="464" y="39"/>
                  </a:lnTo>
                  <a:close/>
                  <a:moveTo>
                    <a:pt x="53" y="860"/>
                  </a:moveTo>
                  <a:lnTo>
                    <a:pt x="49" y="858"/>
                  </a:lnTo>
                  <a:lnTo>
                    <a:pt x="46" y="857"/>
                  </a:lnTo>
                  <a:lnTo>
                    <a:pt x="42" y="856"/>
                  </a:lnTo>
                  <a:lnTo>
                    <a:pt x="39" y="853"/>
                  </a:lnTo>
                  <a:lnTo>
                    <a:pt x="36" y="848"/>
                  </a:lnTo>
                  <a:lnTo>
                    <a:pt x="35" y="843"/>
                  </a:lnTo>
                  <a:lnTo>
                    <a:pt x="35" y="837"/>
                  </a:lnTo>
                  <a:lnTo>
                    <a:pt x="36" y="831"/>
                  </a:lnTo>
                  <a:lnTo>
                    <a:pt x="128" y="645"/>
                  </a:lnTo>
                  <a:lnTo>
                    <a:pt x="114" y="632"/>
                  </a:lnTo>
                  <a:lnTo>
                    <a:pt x="99" y="618"/>
                  </a:lnTo>
                  <a:lnTo>
                    <a:pt x="86" y="603"/>
                  </a:lnTo>
                  <a:lnTo>
                    <a:pt x="74" y="588"/>
                  </a:lnTo>
                  <a:lnTo>
                    <a:pt x="62" y="573"/>
                  </a:lnTo>
                  <a:lnTo>
                    <a:pt x="52" y="557"/>
                  </a:lnTo>
                  <a:lnTo>
                    <a:pt x="42" y="540"/>
                  </a:lnTo>
                  <a:lnTo>
                    <a:pt x="33" y="524"/>
                  </a:lnTo>
                  <a:lnTo>
                    <a:pt x="26" y="507"/>
                  </a:lnTo>
                  <a:lnTo>
                    <a:pt x="19" y="490"/>
                  </a:lnTo>
                  <a:lnTo>
                    <a:pt x="13" y="472"/>
                  </a:lnTo>
                  <a:lnTo>
                    <a:pt x="9" y="455"/>
                  </a:lnTo>
                  <a:lnTo>
                    <a:pt x="6" y="436"/>
                  </a:lnTo>
                  <a:lnTo>
                    <a:pt x="3" y="419"/>
                  </a:lnTo>
                  <a:lnTo>
                    <a:pt x="2" y="400"/>
                  </a:lnTo>
                  <a:lnTo>
                    <a:pt x="0" y="382"/>
                  </a:lnTo>
                  <a:lnTo>
                    <a:pt x="2" y="362"/>
                  </a:lnTo>
                  <a:lnTo>
                    <a:pt x="3" y="343"/>
                  </a:lnTo>
                  <a:lnTo>
                    <a:pt x="6" y="324"/>
                  </a:lnTo>
                  <a:lnTo>
                    <a:pt x="10" y="305"/>
                  </a:lnTo>
                  <a:lnTo>
                    <a:pt x="14" y="287"/>
                  </a:lnTo>
                  <a:lnTo>
                    <a:pt x="22" y="268"/>
                  </a:lnTo>
                  <a:lnTo>
                    <a:pt x="29" y="251"/>
                  </a:lnTo>
                  <a:lnTo>
                    <a:pt x="38" y="233"/>
                  </a:lnTo>
                  <a:lnTo>
                    <a:pt x="46" y="216"/>
                  </a:lnTo>
                  <a:lnTo>
                    <a:pt x="56" y="200"/>
                  </a:lnTo>
                  <a:lnTo>
                    <a:pt x="68" y="184"/>
                  </a:lnTo>
                  <a:lnTo>
                    <a:pt x="79" y="169"/>
                  </a:lnTo>
                  <a:lnTo>
                    <a:pt x="92" y="153"/>
                  </a:lnTo>
                  <a:lnTo>
                    <a:pt x="107" y="138"/>
                  </a:lnTo>
                  <a:lnTo>
                    <a:pt x="121" y="125"/>
                  </a:lnTo>
                  <a:lnTo>
                    <a:pt x="137" y="112"/>
                  </a:lnTo>
                  <a:lnTo>
                    <a:pt x="153" y="99"/>
                  </a:lnTo>
                  <a:lnTo>
                    <a:pt x="169" y="86"/>
                  </a:lnTo>
                  <a:lnTo>
                    <a:pt x="187" y="76"/>
                  </a:lnTo>
                  <a:lnTo>
                    <a:pt x="205" y="65"/>
                  </a:lnTo>
                  <a:lnTo>
                    <a:pt x="223" y="55"/>
                  </a:lnTo>
                  <a:lnTo>
                    <a:pt x="243" y="46"/>
                  </a:lnTo>
                  <a:lnTo>
                    <a:pt x="264" y="37"/>
                  </a:lnTo>
                  <a:lnTo>
                    <a:pt x="284" y="30"/>
                  </a:lnTo>
                  <a:lnTo>
                    <a:pt x="305" y="23"/>
                  </a:lnTo>
                  <a:lnTo>
                    <a:pt x="326" y="17"/>
                  </a:lnTo>
                  <a:lnTo>
                    <a:pt x="349" y="12"/>
                  </a:lnTo>
                  <a:lnTo>
                    <a:pt x="370" y="7"/>
                  </a:lnTo>
                  <a:lnTo>
                    <a:pt x="393" y="4"/>
                  </a:lnTo>
                  <a:lnTo>
                    <a:pt x="416" y="1"/>
                  </a:lnTo>
                  <a:lnTo>
                    <a:pt x="441" y="0"/>
                  </a:lnTo>
                  <a:lnTo>
                    <a:pt x="464" y="0"/>
                  </a:lnTo>
                  <a:lnTo>
                    <a:pt x="488" y="0"/>
                  </a:lnTo>
                  <a:lnTo>
                    <a:pt x="511" y="1"/>
                  </a:lnTo>
                  <a:lnTo>
                    <a:pt x="534" y="4"/>
                  </a:lnTo>
                  <a:lnTo>
                    <a:pt x="557" y="7"/>
                  </a:lnTo>
                  <a:lnTo>
                    <a:pt x="579" y="12"/>
                  </a:lnTo>
                  <a:lnTo>
                    <a:pt x="602" y="17"/>
                  </a:lnTo>
                  <a:lnTo>
                    <a:pt x="624" y="23"/>
                  </a:lnTo>
                  <a:lnTo>
                    <a:pt x="644" y="30"/>
                  </a:lnTo>
                  <a:lnTo>
                    <a:pt x="664" y="37"/>
                  </a:lnTo>
                  <a:lnTo>
                    <a:pt x="684" y="46"/>
                  </a:lnTo>
                  <a:lnTo>
                    <a:pt x="704" y="55"/>
                  </a:lnTo>
                  <a:lnTo>
                    <a:pt x="723" y="65"/>
                  </a:lnTo>
                  <a:lnTo>
                    <a:pt x="740" y="76"/>
                  </a:lnTo>
                  <a:lnTo>
                    <a:pt x="759" y="86"/>
                  </a:lnTo>
                  <a:lnTo>
                    <a:pt x="775" y="99"/>
                  </a:lnTo>
                  <a:lnTo>
                    <a:pt x="792" y="112"/>
                  </a:lnTo>
                  <a:lnTo>
                    <a:pt x="806" y="125"/>
                  </a:lnTo>
                  <a:lnTo>
                    <a:pt x="821" y="138"/>
                  </a:lnTo>
                  <a:lnTo>
                    <a:pt x="835" y="153"/>
                  </a:lnTo>
                  <a:lnTo>
                    <a:pt x="848" y="169"/>
                  </a:lnTo>
                  <a:lnTo>
                    <a:pt x="860" y="184"/>
                  </a:lnTo>
                  <a:lnTo>
                    <a:pt x="871" y="200"/>
                  </a:lnTo>
                  <a:lnTo>
                    <a:pt x="881" y="216"/>
                  </a:lnTo>
                  <a:lnTo>
                    <a:pt x="891" y="233"/>
                  </a:lnTo>
                  <a:lnTo>
                    <a:pt x="899" y="251"/>
                  </a:lnTo>
                  <a:lnTo>
                    <a:pt x="906" y="268"/>
                  </a:lnTo>
                  <a:lnTo>
                    <a:pt x="913" y="287"/>
                  </a:lnTo>
                  <a:lnTo>
                    <a:pt x="917" y="305"/>
                  </a:lnTo>
                  <a:lnTo>
                    <a:pt x="922" y="324"/>
                  </a:lnTo>
                  <a:lnTo>
                    <a:pt x="925" y="343"/>
                  </a:lnTo>
                  <a:lnTo>
                    <a:pt x="926" y="362"/>
                  </a:lnTo>
                  <a:lnTo>
                    <a:pt x="927" y="382"/>
                  </a:lnTo>
                  <a:lnTo>
                    <a:pt x="926" y="400"/>
                  </a:lnTo>
                  <a:lnTo>
                    <a:pt x="925" y="421"/>
                  </a:lnTo>
                  <a:lnTo>
                    <a:pt x="922" y="439"/>
                  </a:lnTo>
                  <a:lnTo>
                    <a:pt x="917" y="458"/>
                  </a:lnTo>
                  <a:lnTo>
                    <a:pt x="913" y="477"/>
                  </a:lnTo>
                  <a:lnTo>
                    <a:pt x="906" y="495"/>
                  </a:lnTo>
                  <a:lnTo>
                    <a:pt x="899" y="513"/>
                  </a:lnTo>
                  <a:lnTo>
                    <a:pt x="891" y="530"/>
                  </a:lnTo>
                  <a:lnTo>
                    <a:pt x="881" y="547"/>
                  </a:lnTo>
                  <a:lnTo>
                    <a:pt x="871" y="563"/>
                  </a:lnTo>
                  <a:lnTo>
                    <a:pt x="860" y="579"/>
                  </a:lnTo>
                  <a:lnTo>
                    <a:pt x="848" y="595"/>
                  </a:lnTo>
                  <a:lnTo>
                    <a:pt x="835" y="609"/>
                  </a:lnTo>
                  <a:lnTo>
                    <a:pt x="821" y="624"/>
                  </a:lnTo>
                  <a:lnTo>
                    <a:pt x="806" y="638"/>
                  </a:lnTo>
                  <a:lnTo>
                    <a:pt x="792" y="651"/>
                  </a:lnTo>
                  <a:lnTo>
                    <a:pt x="775" y="664"/>
                  </a:lnTo>
                  <a:lnTo>
                    <a:pt x="759" y="676"/>
                  </a:lnTo>
                  <a:lnTo>
                    <a:pt x="740" y="687"/>
                  </a:lnTo>
                  <a:lnTo>
                    <a:pt x="723" y="699"/>
                  </a:lnTo>
                  <a:lnTo>
                    <a:pt x="704" y="709"/>
                  </a:lnTo>
                  <a:lnTo>
                    <a:pt x="684" y="717"/>
                  </a:lnTo>
                  <a:lnTo>
                    <a:pt x="664" y="726"/>
                  </a:lnTo>
                  <a:lnTo>
                    <a:pt x="644" y="733"/>
                  </a:lnTo>
                  <a:lnTo>
                    <a:pt x="624" y="740"/>
                  </a:lnTo>
                  <a:lnTo>
                    <a:pt x="602" y="746"/>
                  </a:lnTo>
                  <a:lnTo>
                    <a:pt x="579" y="752"/>
                  </a:lnTo>
                  <a:lnTo>
                    <a:pt x="557" y="756"/>
                  </a:lnTo>
                  <a:lnTo>
                    <a:pt x="534" y="759"/>
                  </a:lnTo>
                  <a:lnTo>
                    <a:pt x="511" y="762"/>
                  </a:lnTo>
                  <a:lnTo>
                    <a:pt x="488" y="763"/>
                  </a:lnTo>
                  <a:lnTo>
                    <a:pt x="464" y="763"/>
                  </a:lnTo>
                  <a:lnTo>
                    <a:pt x="425" y="762"/>
                  </a:lnTo>
                  <a:lnTo>
                    <a:pt x="386" y="758"/>
                  </a:lnTo>
                  <a:lnTo>
                    <a:pt x="347" y="750"/>
                  </a:lnTo>
                  <a:lnTo>
                    <a:pt x="310" y="742"/>
                  </a:lnTo>
                  <a:lnTo>
                    <a:pt x="61" y="857"/>
                  </a:lnTo>
                  <a:lnTo>
                    <a:pt x="58" y="858"/>
                  </a:lnTo>
                  <a:lnTo>
                    <a:pt x="53" y="8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grpSp>
      <p:sp>
        <p:nvSpPr>
          <p:cNvPr id="32" name="Title 11"/>
          <p:cNvSpPr txBox="1"/>
          <p:nvPr/>
        </p:nvSpPr>
        <p:spPr>
          <a:xfrm>
            <a:off x="720896" y="1285334"/>
            <a:ext cx="2350154" cy="1900256"/>
          </a:xfrm>
          <a:prstGeom prst="rect">
            <a:avLst/>
          </a:prstGeom>
        </p:spPr>
        <p:txBody>
          <a:bodyPr wrap="square" anchor="ctr">
            <a:noAutofit/>
          </a:bodyPr>
          <a:lstStyle>
            <a:defPPr>
              <a:defRPr lang="en-US"/>
            </a:defPPr>
            <a:lvl1pPr fontAlgn="base">
              <a:spcBef>
                <a:spcPct val="0"/>
              </a:spcBef>
              <a:spcAft>
                <a:spcPct val="0"/>
              </a:spcAft>
              <a:defRPr sz="3600" b="1" kern="0" spc="-151">
                <a:solidFill>
                  <a:schemeClr val="accent1"/>
                </a:solidFill>
                <a:latin typeface="Lato" panose="020F0502020204030203" pitchFamily="34" charset="0"/>
                <a:ea typeface="Open Sans" panose="020B0606030504020204" pitchFamily="34" charset="0"/>
                <a:cs typeface="Lato" panose="020F0502020204030203" pitchFamily="34" charset="0"/>
              </a:defRPr>
            </a:lvl1pPr>
            <a:lvl2pPr algn="ctr" fontAlgn="base">
              <a:spcBef>
                <a:spcPct val="0"/>
              </a:spcBef>
              <a:spcAft>
                <a:spcPct val="0"/>
              </a:spcAft>
              <a:defRPr sz="4400">
                <a:latin typeface="Calibri" panose="020F0502020204030204" pitchFamily="34" charset="0"/>
                <a:ea typeface="ヒラギノ角ゴ ProN W3" charset="0"/>
                <a:cs typeface="ヒラギノ角ゴ ProN W3" charset="0"/>
              </a:defRPr>
            </a:lvl2pPr>
            <a:lvl3pPr algn="ctr" fontAlgn="base">
              <a:spcBef>
                <a:spcPct val="0"/>
              </a:spcBef>
              <a:spcAft>
                <a:spcPct val="0"/>
              </a:spcAft>
              <a:defRPr sz="4400">
                <a:latin typeface="Calibri" panose="020F0502020204030204" pitchFamily="34" charset="0"/>
                <a:ea typeface="ヒラギノ角ゴ ProN W3" charset="0"/>
                <a:cs typeface="ヒラギノ角ゴ ProN W3" charset="0"/>
              </a:defRPr>
            </a:lvl3pPr>
            <a:lvl4pPr algn="ctr" fontAlgn="base">
              <a:spcBef>
                <a:spcPct val="0"/>
              </a:spcBef>
              <a:spcAft>
                <a:spcPct val="0"/>
              </a:spcAft>
              <a:defRPr sz="4400">
                <a:latin typeface="Calibri" panose="020F0502020204030204" pitchFamily="34" charset="0"/>
                <a:ea typeface="ヒラギノ角ゴ ProN W3" charset="0"/>
                <a:cs typeface="ヒラギノ角ゴ ProN W3" charset="0"/>
              </a:defRPr>
            </a:lvl4pPr>
            <a:lvl5pPr algn="ctr" fontAlgn="base">
              <a:spcBef>
                <a:spcPct val="0"/>
              </a:spcBef>
              <a:spcAft>
                <a:spcPct val="0"/>
              </a:spcAft>
              <a:defRPr sz="4400">
                <a:latin typeface="Calibri" panose="020F0502020204030204" pitchFamily="34" charset="0"/>
                <a:ea typeface="ヒラギノ角ゴ ProN W3" charset="0"/>
                <a:cs typeface="ヒラギノ角ゴ ProN W3" charset="0"/>
              </a:defRPr>
            </a:lvl5pPr>
            <a:lvl6pPr marL="457200" algn="ctr" fontAlgn="base">
              <a:spcBef>
                <a:spcPct val="0"/>
              </a:spcBef>
              <a:spcAft>
                <a:spcPct val="0"/>
              </a:spcAft>
              <a:defRPr sz="4400">
                <a:latin typeface="Calibri" panose="020F0502020204030204" pitchFamily="34" charset="0"/>
                <a:ea typeface="ヒラギノ角ゴ ProN W3" charset="0"/>
                <a:cs typeface="ヒラギノ角ゴ ProN W3" charset="0"/>
              </a:defRPr>
            </a:lvl6pPr>
            <a:lvl7pPr marL="914400" algn="ctr" fontAlgn="base">
              <a:spcBef>
                <a:spcPct val="0"/>
              </a:spcBef>
              <a:spcAft>
                <a:spcPct val="0"/>
              </a:spcAft>
              <a:defRPr sz="4400">
                <a:latin typeface="Calibri" panose="020F0502020204030204" pitchFamily="34" charset="0"/>
                <a:ea typeface="ヒラギノ角ゴ ProN W3" charset="0"/>
                <a:cs typeface="ヒラギノ角ゴ ProN W3" charset="0"/>
              </a:defRPr>
            </a:lvl7pPr>
            <a:lvl8pPr marL="1371600" algn="ctr" fontAlgn="base">
              <a:spcBef>
                <a:spcPct val="0"/>
              </a:spcBef>
              <a:spcAft>
                <a:spcPct val="0"/>
              </a:spcAft>
              <a:defRPr sz="4400">
                <a:latin typeface="Calibri" panose="020F0502020204030204" pitchFamily="34" charset="0"/>
                <a:ea typeface="ヒラギノ角ゴ ProN W3" charset="0"/>
                <a:cs typeface="ヒラギノ角ゴ ProN W3" charset="0"/>
              </a:defRPr>
            </a:lvl8pPr>
            <a:lvl9pPr marL="1828800" algn="ctr" fontAlgn="base">
              <a:spcBef>
                <a:spcPct val="0"/>
              </a:spcBef>
              <a:spcAft>
                <a:spcPct val="0"/>
              </a:spcAft>
              <a:defRPr sz="4400">
                <a:latin typeface="Calibri" panose="020F0502020204030204" pitchFamily="34" charset="0"/>
                <a:ea typeface="ヒラギノ角ゴ ProN W3" charset="0"/>
                <a:cs typeface="ヒラギノ角ゴ ProN W3" charset="0"/>
              </a:defRPr>
            </a:lvl9pPr>
          </a:lstStyle>
          <a:p>
            <a:r>
              <a:rPr lang="en-US" sz="3000" dirty="0">
                <a:solidFill>
                  <a:srgbClr val="548235"/>
                </a:solidFill>
              </a:rPr>
              <a:t>Those Who Are Too Busy </a:t>
            </a:r>
            <a:r>
              <a:rPr lang="en-US" sz="3000" b="0" dirty="0">
                <a:solidFill>
                  <a:schemeClr val="tx1">
                    <a:lumMod val="75000"/>
                    <a:lumOff val="25000"/>
                  </a:schemeClr>
                </a:solidFill>
              </a:rPr>
              <a:t>To Be Looking For It</a:t>
            </a:r>
            <a:endParaRPr lang="en-US" sz="3000" b="0" dirty="0">
              <a:solidFill>
                <a:schemeClr val="tx1">
                  <a:lumMod val="75000"/>
                  <a:lumOff val="25000"/>
                </a:schemeClr>
              </a:solidFill>
            </a:endParaRPr>
          </a:p>
        </p:txBody>
      </p:sp>
      <p:sp>
        <p:nvSpPr>
          <p:cNvPr id="33" name="Rectangle 32"/>
          <p:cNvSpPr/>
          <p:nvPr/>
        </p:nvSpPr>
        <p:spPr>
          <a:xfrm>
            <a:off x="756522" y="3207361"/>
            <a:ext cx="2230411" cy="1131079"/>
          </a:xfrm>
          <a:prstGeom prst="rect">
            <a:avLst/>
          </a:prstGeom>
        </p:spPr>
        <p:txBody>
          <a:bodyPr wrap="square">
            <a:spAutoFit/>
          </a:bodyPr>
          <a:lstStyle/>
          <a:p>
            <a:pPr>
              <a:lnSpc>
                <a:spcPct val="150000"/>
              </a:lnSpc>
              <a:buClr>
                <a:srgbClr val="E24848"/>
              </a:buClr>
              <a:defRPr/>
            </a:pPr>
            <a:r>
              <a:rPr lang="en-US" sz="9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a:t>
            </a:r>
            <a:endParaRPr lang="en-US" sz="9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pic>
        <p:nvPicPr>
          <p:cNvPr id="3" name="图片占位符 2"/>
          <p:cNvPicPr>
            <a:picLocks noGrp="1" noChangeAspect="1"/>
          </p:cNvPicPr>
          <p:nvPr>
            <p:ph type="pic" sz="quarter" idx="22"/>
          </p:nvPr>
        </p:nvPicPr>
        <p:blipFill>
          <a:blip r:embed="rId1" cstate="print">
            <a:extLst>
              <a:ext uri="{28A0092B-C50C-407E-A947-70E740481C1C}">
                <a14:useLocalDpi xmlns:a14="http://schemas.microsoft.com/office/drawing/2010/main" val="0"/>
              </a:ext>
            </a:extLst>
          </a:blip>
          <a:srcRect l="8476" r="8476"/>
          <a:stretch>
            <a:fillRect/>
          </a:stretch>
        </p:blipFill>
        <p:spPr/>
      </p:pic>
      <p:pic>
        <p:nvPicPr>
          <p:cNvPr id="6" name="图片占位符 5"/>
          <p:cNvPicPr>
            <a:picLocks noGrp="1" noChangeAspect="1"/>
          </p:cNvPicPr>
          <p:nvPr>
            <p:ph type="pic" sz="quarter" idx="23"/>
          </p:nvPr>
        </p:nvPicPr>
        <p:blipFill>
          <a:blip r:embed="rId2" cstate="print">
            <a:extLst>
              <a:ext uri="{28A0092B-C50C-407E-A947-70E740481C1C}">
                <a14:useLocalDpi xmlns:a14="http://schemas.microsoft.com/office/drawing/2010/main" val="0"/>
              </a:ext>
            </a:extLst>
          </a:blip>
          <a:srcRect l="8476" r="8476"/>
          <a:stretch>
            <a:fillRect/>
          </a:stretch>
        </p:blipFill>
        <p:spPr/>
      </p:pic>
      <p:pic>
        <p:nvPicPr>
          <p:cNvPr id="8" name="图片占位符 7"/>
          <p:cNvPicPr>
            <a:picLocks noGrp="1" noChangeAspect="1"/>
          </p:cNvPicPr>
          <p:nvPr>
            <p:ph type="pic" sz="quarter" idx="24"/>
          </p:nvPr>
        </p:nvPicPr>
        <p:blipFill>
          <a:blip r:embed="rId3" cstate="print">
            <a:extLst>
              <a:ext uri="{28A0092B-C50C-407E-A947-70E740481C1C}">
                <a14:useLocalDpi xmlns:a14="http://schemas.microsoft.com/office/drawing/2010/main" val="0"/>
              </a:ext>
            </a:extLst>
          </a:blip>
          <a:srcRect l="8360" r="8360"/>
          <a:stretch>
            <a:fillRect/>
          </a:stretch>
        </p:blipFill>
        <p:spPr/>
      </p:pic>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占位符 5"/>
          <p:cNvPicPr>
            <a:picLocks noGrp="1" noChangeAspect="1"/>
          </p:cNvPicPr>
          <p:nvPr>
            <p:ph type="pic" sz="quarter" idx="22"/>
          </p:nvPr>
        </p:nvPicPr>
        <p:blipFill>
          <a:blip r:embed="rId1">
            <a:extLst>
              <a:ext uri="{28A0092B-C50C-407E-A947-70E740481C1C}">
                <a14:useLocalDpi xmlns:a14="http://schemas.microsoft.com/office/drawing/2010/main" val="0"/>
              </a:ext>
            </a:extLst>
          </a:blip>
          <a:srcRect l="16915" r="16915"/>
          <a:stretch>
            <a:fillRect/>
          </a:stretch>
        </p:blipFill>
        <p:spPr/>
      </p:pic>
      <p:sp>
        <p:nvSpPr>
          <p:cNvPr id="13" name="Rectangle 12"/>
          <p:cNvSpPr/>
          <p:nvPr/>
        </p:nvSpPr>
        <p:spPr>
          <a:xfrm>
            <a:off x="0" y="0"/>
            <a:ext cx="1982607" cy="2371725"/>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 name="Title 11"/>
          <p:cNvSpPr txBox="1"/>
          <p:nvPr/>
        </p:nvSpPr>
        <p:spPr>
          <a:xfrm>
            <a:off x="89653" y="387199"/>
            <a:ext cx="1624847" cy="814010"/>
          </a:xfrm>
          <a:prstGeom prst="rect">
            <a:avLst/>
          </a:prstGeom>
        </p:spPr>
        <p:txBody>
          <a:bodyPr vert="horz" wrap="square" lIns="68580" tIns="34290" rIns="68580" bIns="3429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500" b="1" dirty="0">
                <a:solidFill>
                  <a:schemeClr val="bg1"/>
                </a:solidFill>
                <a:latin typeface="Lato" panose="020F0502020204030203" pitchFamily="34" charset="0"/>
                <a:ea typeface="Roboto" panose="02000000000000000000" pitchFamily="2" charset="0"/>
                <a:cs typeface="Lato" panose="020F0502020204030203" pitchFamily="34" charset="0"/>
              </a:rPr>
              <a:t>Heads are Gonne Roll</a:t>
            </a:r>
            <a:endParaRPr lang="en-US" sz="1500" b="1" dirty="0">
              <a:solidFill>
                <a:schemeClr val="bg1"/>
              </a:solidFill>
              <a:latin typeface="Lato" panose="020F0502020204030203" pitchFamily="34" charset="0"/>
              <a:ea typeface="Roboto" panose="02000000000000000000" pitchFamily="2" charset="0"/>
              <a:cs typeface="Lato" panose="020F0502020204030203" pitchFamily="34" charset="0"/>
            </a:endParaRPr>
          </a:p>
        </p:txBody>
      </p:sp>
      <p:sp>
        <p:nvSpPr>
          <p:cNvPr id="17" name="Rectangle 16"/>
          <p:cNvSpPr/>
          <p:nvPr/>
        </p:nvSpPr>
        <p:spPr>
          <a:xfrm>
            <a:off x="2571750" y="2771775"/>
            <a:ext cx="2114550" cy="2371725"/>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8" name="Title 11"/>
          <p:cNvSpPr txBox="1"/>
          <p:nvPr/>
        </p:nvSpPr>
        <p:spPr>
          <a:xfrm>
            <a:off x="2747128" y="3066452"/>
            <a:ext cx="1624847" cy="814010"/>
          </a:xfrm>
          <a:prstGeom prst="rect">
            <a:avLst/>
          </a:prstGeom>
        </p:spPr>
        <p:txBody>
          <a:bodyPr vert="horz" wrap="square" lIns="68580" tIns="34290" rIns="68580" bIns="3429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500" b="1" dirty="0">
                <a:solidFill>
                  <a:schemeClr val="bg1"/>
                </a:solidFill>
                <a:latin typeface="Lato" panose="020F0502020204030203" pitchFamily="34" charset="0"/>
                <a:ea typeface="Roboto" panose="02000000000000000000" pitchFamily="2" charset="0"/>
                <a:cs typeface="Lato" panose="020F0502020204030203" pitchFamily="34" charset="0"/>
              </a:rPr>
              <a:t>Heads are Gonne Roll</a:t>
            </a:r>
            <a:endParaRPr lang="en-US" sz="1500" b="1" dirty="0">
              <a:solidFill>
                <a:schemeClr val="bg1"/>
              </a:solidFill>
              <a:latin typeface="Lato" panose="020F0502020204030203" pitchFamily="34" charset="0"/>
              <a:ea typeface="Roboto" panose="02000000000000000000" pitchFamily="2" charset="0"/>
              <a:cs typeface="Lato" panose="020F0502020204030203" pitchFamily="34" charset="0"/>
            </a:endParaRPr>
          </a:p>
        </p:txBody>
      </p:sp>
      <p:sp>
        <p:nvSpPr>
          <p:cNvPr id="439" name="Title 1"/>
          <p:cNvSpPr txBox="1"/>
          <p:nvPr/>
        </p:nvSpPr>
        <p:spPr>
          <a:xfrm>
            <a:off x="4861678" y="3028537"/>
            <a:ext cx="3264674" cy="48474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2700" b="1" spc="-113" dirty="0">
                <a:solidFill>
                  <a:srgbClr val="548235"/>
                </a:solidFill>
                <a:latin typeface="Lato" panose="020F0502020204030203" pitchFamily="34" charset="0"/>
                <a:ea typeface="Open Sans" panose="020B0606030504020204" pitchFamily="34" charset="0"/>
                <a:cs typeface="Lato" panose="020F0502020204030203" pitchFamily="34" charset="0"/>
              </a:rPr>
              <a:t>Our</a:t>
            </a:r>
            <a:r>
              <a:rPr lang="en-US" sz="2700" b="1" spc="-113" dirty="0">
                <a:solidFill>
                  <a:schemeClr val="accent1"/>
                </a:solidFill>
                <a:latin typeface="Lato" panose="020F0502020204030203" pitchFamily="34" charset="0"/>
                <a:ea typeface="Open Sans" panose="020B0606030504020204" pitchFamily="34" charset="0"/>
                <a:cs typeface="Lato" panose="020F0502020204030203" pitchFamily="34" charset="0"/>
              </a:rPr>
              <a:t> </a:t>
            </a:r>
            <a:r>
              <a:rPr lang="en-US" sz="2700" spc="-113" dirty="0">
                <a:solidFill>
                  <a:schemeClr val="tx1">
                    <a:lumMod val="75000"/>
                    <a:lumOff val="25000"/>
                  </a:schemeClr>
                </a:solidFill>
                <a:latin typeface="Lato" panose="020F0502020204030203" pitchFamily="34" charset="0"/>
                <a:ea typeface="Open Sans" panose="020B0606030504020204" pitchFamily="34" charset="0"/>
                <a:cs typeface="Lato" panose="020F0502020204030203" pitchFamily="34" charset="0"/>
              </a:rPr>
              <a:t>Portfolio</a:t>
            </a:r>
            <a:endParaRPr lang="en-US" sz="2700" spc="-113" dirty="0">
              <a:solidFill>
                <a:schemeClr val="tx1">
                  <a:lumMod val="75000"/>
                  <a:lumOff val="25000"/>
                </a:schemeClr>
              </a:solidFill>
              <a:latin typeface="Lato" panose="020F0502020204030203" pitchFamily="34" charset="0"/>
              <a:ea typeface="Open Sans" panose="020B0606030504020204" pitchFamily="34" charset="0"/>
              <a:cs typeface="Lato" panose="020F0502020204030203" pitchFamily="34" charset="0"/>
            </a:endParaRPr>
          </a:p>
        </p:txBody>
      </p:sp>
      <p:sp>
        <p:nvSpPr>
          <p:cNvPr id="440" name="Rectangle 439"/>
          <p:cNvSpPr/>
          <p:nvPr/>
        </p:nvSpPr>
        <p:spPr>
          <a:xfrm>
            <a:off x="4902021" y="3513285"/>
            <a:ext cx="1617008" cy="219291"/>
          </a:xfrm>
          <a:prstGeom prst="rect">
            <a:avLst/>
          </a:prstGeom>
        </p:spPr>
        <p:txBody>
          <a:bodyPr wrap="square">
            <a:spAutoFit/>
          </a:bodyPr>
          <a:lstStyle/>
          <a:p>
            <a:pP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32" name="Rectangle 31"/>
          <p:cNvSpPr/>
          <p:nvPr/>
        </p:nvSpPr>
        <p:spPr>
          <a:xfrm>
            <a:off x="675524" y="1049026"/>
            <a:ext cx="1038977" cy="1021755"/>
          </a:xfrm>
          <a:prstGeom prst="rect">
            <a:avLst/>
          </a:prstGeom>
        </p:spPr>
        <p:txBody>
          <a:bodyPr wrap="square">
            <a:spAutoFit/>
          </a:bodyPr>
          <a:lstStyle/>
          <a:p>
            <a:r>
              <a:rPr lang="en-US" sz="2100" b="1" dirty="0">
                <a:solidFill>
                  <a:schemeClr val="bg1"/>
                </a:solidFill>
                <a:latin typeface="Lato" panose="020F0502020204030203" pitchFamily="34" charset="0"/>
                <a:ea typeface="Roboto" panose="02000000000000000000" pitchFamily="2" charset="0"/>
                <a:cs typeface="Lato" panose="020F0502020204030203" pitchFamily="34" charset="0"/>
              </a:rPr>
              <a:t>48%</a:t>
            </a:r>
            <a:endParaRPr lang="en-US" sz="2100" b="1" dirty="0">
              <a:solidFill>
                <a:schemeClr val="bg1"/>
              </a:solidFill>
              <a:latin typeface="Lato" panose="020F0502020204030203" pitchFamily="34" charset="0"/>
              <a:ea typeface="Roboto" panose="02000000000000000000" pitchFamily="2" charset="0"/>
              <a:cs typeface="Lato" panose="020F0502020204030203" pitchFamily="34" charset="0"/>
            </a:endParaRPr>
          </a:p>
          <a:p>
            <a:r>
              <a:rPr lang="en-US" sz="790" b="1" dirty="0">
                <a:solidFill>
                  <a:schemeClr val="bg1"/>
                </a:solidFill>
                <a:latin typeface="Lato" panose="020F0502020204030203" pitchFamily="34" charset="0"/>
                <a:ea typeface="Roboto" panose="02000000000000000000" pitchFamily="2" charset="0"/>
                <a:cs typeface="Lato" panose="020F0502020204030203" pitchFamily="34" charset="0"/>
              </a:rPr>
              <a:t>INFOGRAPHIC</a:t>
            </a:r>
            <a:endParaRPr lang="en-US" sz="790" b="1" dirty="0">
              <a:solidFill>
                <a:schemeClr val="bg1"/>
              </a:solidFill>
              <a:latin typeface="Lato" panose="020F0502020204030203" pitchFamily="34" charset="0"/>
              <a:ea typeface="Roboto" panose="02000000000000000000" pitchFamily="2" charset="0"/>
              <a:cs typeface="Lato" panose="020F0502020204030203" pitchFamily="34" charset="0"/>
            </a:endParaRPr>
          </a:p>
          <a:p>
            <a:endParaRPr lang="en-US" sz="790" dirty="0">
              <a:solidFill>
                <a:schemeClr val="bg1"/>
              </a:solidFill>
              <a:latin typeface="Lato" panose="020F0502020204030203" pitchFamily="34" charset="0"/>
              <a:ea typeface="Roboto" panose="02000000000000000000" pitchFamily="2" charset="0"/>
              <a:cs typeface="Lato" panose="020F0502020204030203" pitchFamily="34" charset="0"/>
            </a:endParaRPr>
          </a:p>
          <a:p>
            <a:r>
              <a:rPr lang="en-US" sz="790" dirty="0">
                <a:solidFill>
                  <a:schemeClr val="bg1"/>
                </a:solidFill>
                <a:latin typeface="Lato" panose="020F0502020204030203" pitchFamily="34" charset="0"/>
                <a:ea typeface="Roboto" panose="02000000000000000000" pitchFamily="2" charset="0"/>
                <a:cs typeface="Lato" panose="020F0502020204030203" pitchFamily="34" charset="0"/>
              </a:rPr>
              <a:t>Conveniently iterate top-line alignments for wireless metrics. </a:t>
            </a:r>
            <a:endParaRPr lang="en-US" sz="790" dirty="0">
              <a:solidFill>
                <a:schemeClr val="bg1"/>
              </a:solidFill>
              <a:latin typeface="Lato" panose="020F0502020204030203" pitchFamily="34" charset="0"/>
              <a:ea typeface="Roboto" panose="02000000000000000000" pitchFamily="2" charset="0"/>
              <a:cs typeface="Lato" panose="020F0502020204030203" pitchFamily="34" charset="0"/>
            </a:endParaRPr>
          </a:p>
        </p:txBody>
      </p:sp>
      <p:sp>
        <p:nvSpPr>
          <p:cNvPr id="33" name="Rectangle 32"/>
          <p:cNvSpPr/>
          <p:nvPr/>
        </p:nvSpPr>
        <p:spPr>
          <a:xfrm>
            <a:off x="3375324" y="3792292"/>
            <a:ext cx="1101427" cy="1021755"/>
          </a:xfrm>
          <a:prstGeom prst="rect">
            <a:avLst/>
          </a:prstGeom>
        </p:spPr>
        <p:txBody>
          <a:bodyPr wrap="square">
            <a:spAutoFit/>
          </a:bodyPr>
          <a:lstStyle/>
          <a:p>
            <a:r>
              <a:rPr lang="en-US" sz="2100" b="1" dirty="0">
                <a:solidFill>
                  <a:schemeClr val="bg1"/>
                </a:solidFill>
                <a:latin typeface="Lato" panose="020F0502020204030203" pitchFamily="34" charset="0"/>
                <a:ea typeface="Roboto" panose="02000000000000000000" pitchFamily="2" charset="0"/>
                <a:cs typeface="Lato" panose="020F0502020204030203" pitchFamily="34" charset="0"/>
              </a:rPr>
              <a:t>41%</a:t>
            </a:r>
            <a:endParaRPr lang="en-US" sz="2100" b="1" dirty="0">
              <a:solidFill>
                <a:schemeClr val="bg1"/>
              </a:solidFill>
              <a:latin typeface="Lato" panose="020F0502020204030203" pitchFamily="34" charset="0"/>
              <a:ea typeface="Roboto" panose="02000000000000000000" pitchFamily="2" charset="0"/>
              <a:cs typeface="Lato" panose="020F0502020204030203" pitchFamily="34" charset="0"/>
            </a:endParaRPr>
          </a:p>
          <a:p>
            <a:r>
              <a:rPr lang="en-US" sz="790" b="1" dirty="0">
                <a:solidFill>
                  <a:schemeClr val="bg1"/>
                </a:solidFill>
                <a:latin typeface="Lato" panose="020F0502020204030203" pitchFamily="34" charset="0"/>
                <a:ea typeface="Roboto" panose="02000000000000000000" pitchFamily="2" charset="0"/>
                <a:cs typeface="Lato" panose="020F0502020204030203" pitchFamily="34" charset="0"/>
              </a:rPr>
              <a:t>PROFESSIONAL</a:t>
            </a:r>
            <a:endParaRPr lang="en-US" sz="790" b="1" dirty="0">
              <a:solidFill>
                <a:schemeClr val="bg1"/>
              </a:solidFill>
              <a:latin typeface="Lato" panose="020F0502020204030203" pitchFamily="34" charset="0"/>
              <a:ea typeface="Roboto" panose="02000000000000000000" pitchFamily="2" charset="0"/>
              <a:cs typeface="Lato" panose="020F0502020204030203" pitchFamily="34" charset="0"/>
            </a:endParaRPr>
          </a:p>
          <a:p>
            <a:endParaRPr lang="en-US" sz="790" dirty="0">
              <a:solidFill>
                <a:schemeClr val="bg1"/>
              </a:solidFill>
              <a:latin typeface="Lato" panose="020F0502020204030203" pitchFamily="34" charset="0"/>
              <a:ea typeface="Roboto" panose="02000000000000000000" pitchFamily="2" charset="0"/>
              <a:cs typeface="Lato" panose="020F0502020204030203" pitchFamily="34" charset="0"/>
            </a:endParaRPr>
          </a:p>
          <a:p>
            <a:r>
              <a:rPr lang="en-US" sz="790" dirty="0">
                <a:solidFill>
                  <a:schemeClr val="bg1"/>
                </a:solidFill>
                <a:latin typeface="Lato" panose="020F0502020204030203" pitchFamily="34" charset="0"/>
                <a:ea typeface="Roboto" panose="02000000000000000000" pitchFamily="2" charset="0"/>
                <a:cs typeface="Lato" panose="020F0502020204030203" pitchFamily="34" charset="0"/>
              </a:rPr>
              <a:t>Conveniently iterate top-line alignments for wireless metrics. </a:t>
            </a:r>
            <a:endParaRPr lang="en-US" sz="790" dirty="0">
              <a:solidFill>
                <a:schemeClr val="bg1"/>
              </a:solidFill>
              <a:latin typeface="Lato" panose="020F0502020204030203" pitchFamily="34" charset="0"/>
              <a:ea typeface="Roboto" panose="02000000000000000000" pitchFamily="2" charset="0"/>
              <a:cs typeface="Lato" panose="020F0502020204030203" pitchFamily="34" charset="0"/>
            </a:endParaRPr>
          </a:p>
        </p:txBody>
      </p:sp>
      <p:grpSp>
        <p:nvGrpSpPr>
          <p:cNvPr id="34" name="Group 33"/>
          <p:cNvGrpSpPr/>
          <p:nvPr/>
        </p:nvGrpSpPr>
        <p:grpSpPr>
          <a:xfrm>
            <a:off x="2857592" y="3994251"/>
            <a:ext cx="325979" cy="345153"/>
            <a:chOff x="9890125" y="3508375"/>
            <a:chExt cx="269876" cy="285750"/>
          </a:xfrm>
          <a:solidFill>
            <a:schemeClr val="bg1"/>
          </a:solidFill>
        </p:grpSpPr>
        <p:sp>
          <p:nvSpPr>
            <p:cNvPr id="35" name="Freeform 4634"/>
            <p:cNvSpPr>
              <a:spLocks noEditPoints="1"/>
            </p:cNvSpPr>
            <p:nvPr/>
          </p:nvSpPr>
          <p:spPr bwMode="auto">
            <a:xfrm>
              <a:off x="9890125" y="3508375"/>
              <a:ext cx="227013" cy="246063"/>
            </a:xfrm>
            <a:custGeom>
              <a:avLst/>
              <a:gdLst>
                <a:gd name="T0" fmla="*/ 204 w 715"/>
                <a:gd name="T1" fmla="*/ 264 h 774"/>
                <a:gd name="T2" fmla="*/ 205 w 715"/>
                <a:gd name="T3" fmla="*/ 66 h 774"/>
                <a:gd name="T4" fmla="*/ 211 w 715"/>
                <a:gd name="T5" fmla="*/ 49 h 774"/>
                <a:gd name="T6" fmla="*/ 223 w 715"/>
                <a:gd name="T7" fmla="*/ 38 h 774"/>
                <a:gd name="T8" fmla="*/ 240 w 715"/>
                <a:gd name="T9" fmla="*/ 31 h 774"/>
                <a:gd name="T10" fmla="*/ 278 w 715"/>
                <a:gd name="T11" fmla="*/ 30 h 774"/>
                <a:gd name="T12" fmla="*/ 296 w 715"/>
                <a:gd name="T13" fmla="*/ 33 h 774"/>
                <a:gd name="T14" fmla="*/ 311 w 715"/>
                <a:gd name="T15" fmla="*/ 42 h 774"/>
                <a:gd name="T16" fmla="*/ 320 w 715"/>
                <a:gd name="T17" fmla="*/ 57 h 774"/>
                <a:gd name="T18" fmla="*/ 323 w 715"/>
                <a:gd name="T19" fmla="*/ 75 h 774"/>
                <a:gd name="T20" fmla="*/ 714 w 715"/>
                <a:gd name="T21" fmla="*/ 473 h 774"/>
                <a:gd name="T22" fmla="*/ 715 w 715"/>
                <a:gd name="T23" fmla="*/ 464 h 774"/>
                <a:gd name="T24" fmla="*/ 711 w 715"/>
                <a:gd name="T25" fmla="*/ 456 h 774"/>
                <a:gd name="T26" fmla="*/ 377 w 715"/>
                <a:gd name="T27" fmla="*/ 108 h 774"/>
                <a:gd name="T28" fmla="*/ 372 w 715"/>
                <a:gd name="T29" fmla="*/ 106 h 774"/>
                <a:gd name="T30" fmla="*/ 366 w 715"/>
                <a:gd name="T31" fmla="*/ 106 h 774"/>
                <a:gd name="T32" fmla="*/ 361 w 715"/>
                <a:gd name="T33" fmla="*/ 108 h 774"/>
                <a:gd name="T34" fmla="*/ 354 w 715"/>
                <a:gd name="T35" fmla="*/ 114 h 774"/>
                <a:gd name="T36" fmla="*/ 354 w 715"/>
                <a:gd name="T37" fmla="*/ 67 h 774"/>
                <a:gd name="T38" fmla="*/ 350 w 715"/>
                <a:gd name="T39" fmla="*/ 53 h 774"/>
                <a:gd name="T40" fmla="*/ 345 w 715"/>
                <a:gd name="T41" fmla="*/ 39 h 774"/>
                <a:gd name="T42" fmla="*/ 337 w 715"/>
                <a:gd name="T43" fmla="*/ 27 h 774"/>
                <a:gd name="T44" fmla="*/ 327 w 715"/>
                <a:gd name="T45" fmla="*/ 16 h 774"/>
                <a:gd name="T46" fmla="*/ 314 w 715"/>
                <a:gd name="T47" fmla="*/ 9 h 774"/>
                <a:gd name="T48" fmla="*/ 301 w 715"/>
                <a:gd name="T49" fmla="*/ 3 h 774"/>
                <a:gd name="T50" fmla="*/ 286 w 715"/>
                <a:gd name="T51" fmla="*/ 0 h 774"/>
                <a:gd name="T52" fmla="*/ 249 w 715"/>
                <a:gd name="T53" fmla="*/ 0 h 774"/>
                <a:gd name="T54" fmla="*/ 233 w 715"/>
                <a:gd name="T55" fmla="*/ 1 h 774"/>
                <a:gd name="T56" fmla="*/ 219 w 715"/>
                <a:gd name="T57" fmla="*/ 5 h 774"/>
                <a:gd name="T58" fmla="*/ 207 w 715"/>
                <a:gd name="T59" fmla="*/ 12 h 774"/>
                <a:gd name="T60" fmla="*/ 196 w 715"/>
                <a:gd name="T61" fmla="*/ 22 h 774"/>
                <a:gd name="T62" fmla="*/ 185 w 715"/>
                <a:gd name="T63" fmla="*/ 32 h 774"/>
                <a:gd name="T64" fmla="*/ 179 w 715"/>
                <a:gd name="T65" fmla="*/ 46 h 774"/>
                <a:gd name="T66" fmla="*/ 174 w 715"/>
                <a:gd name="T67" fmla="*/ 59 h 774"/>
                <a:gd name="T68" fmla="*/ 173 w 715"/>
                <a:gd name="T69" fmla="*/ 75 h 774"/>
                <a:gd name="T70" fmla="*/ 27 w 715"/>
                <a:gd name="T71" fmla="*/ 440 h 774"/>
                <a:gd name="T72" fmla="*/ 16 w 715"/>
                <a:gd name="T73" fmla="*/ 455 h 774"/>
                <a:gd name="T74" fmla="*/ 7 w 715"/>
                <a:gd name="T75" fmla="*/ 469 h 774"/>
                <a:gd name="T76" fmla="*/ 3 w 715"/>
                <a:gd name="T77" fmla="*/ 486 h 774"/>
                <a:gd name="T78" fmla="*/ 0 w 715"/>
                <a:gd name="T79" fmla="*/ 504 h 774"/>
                <a:gd name="T80" fmla="*/ 3 w 715"/>
                <a:gd name="T81" fmla="*/ 521 h 774"/>
                <a:gd name="T82" fmla="*/ 7 w 715"/>
                <a:gd name="T83" fmla="*/ 538 h 774"/>
                <a:gd name="T84" fmla="*/ 16 w 715"/>
                <a:gd name="T85" fmla="*/ 554 h 774"/>
                <a:gd name="T86" fmla="*/ 27 w 715"/>
                <a:gd name="T87" fmla="*/ 568 h 774"/>
                <a:gd name="T88" fmla="*/ 215 w 715"/>
                <a:gd name="T89" fmla="*/ 754 h 774"/>
                <a:gd name="T90" fmla="*/ 230 w 715"/>
                <a:gd name="T91" fmla="*/ 764 h 774"/>
                <a:gd name="T92" fmla="*/ 245 w 715"/>
                <a:gd name="T93" fmla="*/ 771 h 774"/>
                <a:gd name="T94" fmla="*/ 262 w 715"/>
                <a:gd name="T95" fmla="*/ 774 h 774"/>
                <a:gd name="T96" fmla="*/ 280 w 715"/>
                <a:gd name="T97" fmla="*/ 774 h 774"/>
                <a:gd name="T98" fmla="*/ 297 w 715"/>
                <a:gd name="T99" fmla="*/ 771 h 774"/>
                <a:gd name="T100" fmla="*/ 313 w 715"/>
                <a:gd name="T101" fmla="*/ 764 h 774"/>
                <a:gd name="T102" fmla="*/ 328 w 715"/>
                <a:gd name="T103" fmla="*/ 754 h 774"/>
                <a:gd name="T104" fmla="*/ 601 w 715"/>
                <a:gd name="T105" fmla="*/ 482 h 774"/>
                <a:gd name="T106" fmla="*/ 705 w 715"/>
                <a:gd name="T107" fmla="*/ 481 h 774"/>
                <a:gd name="T108" fmla="*/ 712 w 715"/>
                <a:gd name="T109" fmla="*/ 476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5" h="774">
                  <a:moveTo>
                    <a:pt x="323" y="144"/>
                  </a:moveTo>
                  <a:lnTo>
                    <a:pt x="204" y="264"/>
                  </a:lnTo>
                  <a:lnTo>
                    <a:pt x="204" y="75"/>
                  </a:lnTo>
                  <a:lnTo>
                    <a:pt x="205" y="66"/>
                  </a:lnTo>
                  <a:lnTo>
                    <a:pt x="207" y="57"/>
                  </a:lnTo>
                  <a:lnTo>
                    <a:pt x="211" y="49"/>
                  </a:lnTo>
                  <a:lnTo>
                    <a:pt x="216" y="42"/>
                  </a:lnTo>
                  <a:lnTo>
                    <a:pt x="223" y="38"/>
                  </a:lnTo>
                  <a:lnTo>
                    <a:pt x="231" y="33"/>
                  </a:lnTo>
                  <a:lnTo>
                    <a:pt x="240" y="31"/>
                  </a:lnTo>
                  <a:lnTo>
                    <a:pt x="249" y="30"/>
                  </a:lnTo>
                  <a:lnTo>
                    <a:pt x="278" y="30"/>
                  </a:lnTo>
                  <a:lnTo>
                    <a:pt x="287" y="30"/>
                  </a:lnTo>
                  <a:lnTo>
                    <a:pt x="296" y="33"/>
                  </a:lnTo>
                  <a:lnTo>
                    <a:pt x="304" y="38"/>
                  </a:lnTo>
                  <a:lnTo>
                    <a:pt x="311" y="42"/>
                  </a:lnTo>
                  <a:lnTo>
                    <a:pt x="316" y="49"/>
                  </a:lnTo>
                  <a:lnTo>
                    <a:pt x="320" y="57"/>
                  </a:lnTo>
                  <a:lnTo>
                    <a:pt x="323" y="66"/>
                  </a:lnTo>
                  <a:lnTo>
                    <a:pt x="323" y="75"/>
                  </a:lnTo>
                  <a:lnTo>
                    <a:pt x="323" y="144"/>
                  </a:lnTo>
                  <a:close/>
                  <a:moveTo>
                    <a:pt x="714" y="473"/>
                  </a:moveTo>
                  <a:lnTo>
                    <a:pt x="715" y="468"/>
                  </a:lnTo>
                  <a:lnTo>
                    <a:pt x="715" y="464"/>
                  </a:lnTo>
                  <a:lnTo>
                    <a:pt x="714" y="459"/>
                  </a:lnTo>
                  <a:lnTo>
                    <a:pt x="711" y="456"/>
                  </a:lnTo>
                  <a:lnTo>
                    <a:pt x="380" y="109"/>
                  </a:lnTo>
                  <a:lnTo>
                    <a:pt x="377" y="108"/>
                  </a:lnTo>
                  <a:lnTo>
                    <a:pt x="375" y="106"/>
                  </a:lnTo>
                  <a:lnTo>
                    <a:pt x="372" y="106"/>
                  </a:lnTo>
                  <a:lnTo>
                    <a:pt x="370" y="105"/>
                  </a:lnTo>
                  <a:lnTo>
                    <a:pt x="366" y="106"/>
                  </a:lnTo>
                  <a:lnTo>
                    <a:pt x="363" y="106"/>
                  </a:lnTo>
                  <a:lnTo>
                    <a:pt x="361" y="108"/>
                  </a:lnTo>
                  <a:lnTo>
                    <a:pt x="358" y="109"/>
                  </a:lnTo>
                  <a:lnTo>
                    <a:pt x="354" y="114"/>
                  </a:lnTo>
                  <a:lnTo>
                    <a:pt x="354" y="75"/>
                  </a:lnTo>
                  <a:lnTo>
                    <a:pt x="354" y="67"/>
                  </a:lnTo>
                  <a:lnTo>
                    <a:pt x="353" y="59"/>
                  </a:lnTo>
                  <a:lnTo>
                    <a:pt x="350" y="53"/>
                  </a:lnTo>
                  <a:lnTo>
                    <a:pt x="348" y="46"/>
                  </a:lnTo>
                  <a:lnTo>
                    <a:pt x="345" y="39"/>
                  </a:lnTo>
                  <a:lnTo>
                    <a:pt x="341" y="32"/>
                  </a:lnTo>
                  <a:lnTo>
                    <a:pt x="337" y="27"/>
                  </a:lnTo>
                  <a:lnTo>
                    <a:pt x="332" y="22"/>
                  </a:lnTo>
                  <a:lnTo>
                    <a:pt x="327" y="16"/>
                  </a:lnTo>
                  <a:lnTo>
                    <a:pt x="321" y="12"/>
                  </a:lnTo>
                  <a:lnTo>
                    <a:pt x="314" y="9"/>
                  </a:lnTo>
                  <a:lnTo>
                    <a:pt x="307" y="5"/>
                  </a:lnTo>
                  <a:lnTo>
                    <a:pt x="301" y="3"/>
                  </a:lnTo>
                  <a:lnTo>
                    <a:pt x="294" y="1"/>
                  </a:lnTo>
                  <a:lnTo>
                    <a:pt x="286" y="0"/>
                  </a:lnTo>
                  <a:lnTo>
                    <a:pt x="278" y="0"/>
                  </a:lnTo>
                  <a:lnTo>
                    <a:pt x="249" y="0"/>
                  </a:lnTo>
                  <a:lnTo>
                    <a:pt x="241" y="0"/>
                  </a:lnTo>
                  <a:lnTo>
                    <a:pt x="233" y="1"/>
                  </a:lnTo>
                  <a:lnTo>
                    <a:pt x="226" y="3"/>
                  </a:lnTo>
                  <a:lnTo>
                    <a:pt x="219" y="5"/>
                  </a:lnTo>
                  <a:lnTo>
                    <a:pt x="213" y="9"/>
                  </a:lnTo>
                  <a:lnTo>
                    <a:pt x="207" y="12"/>
                  </a:lnTo>
                  <a:lnTo>
                    <a:pt x="200" y="16"/>
                  </a:lnTo>
                  <a:lnTo>
                    <a:pt x="196" y="22"/>
                  </a:lnTo>
                  <a:lnTo>
                    <a:pt x="190" y="27"/>
                  </a:lnTo>
                  <a:lnTo>
                    <a:pt x="185" y="32"/>
                  </a:lnTo>
                  <a:lnTo>
                    <a:pt x="182" y="39"/>
                  </a:lnTo>
                  <a:lnTo>
                    <a:pt x="179" y="46"/>
                  </a:lnTo>
                  <a:lnTo>
                    <a:pt x="176" y="53"/>
                  </a:lnTo>
                  <a:lnTo>
                    <a:pt x="174" y="59"/>
                  </a:lnTo>
                  <a:lnTo>
                    <a:pt x="173" y="67"/>
                  </a:lnTo>
                  <a:lnTo>
                    <a:pt x="173" y="75"/>
                  </a:lnTo>
                  <a:lnTo>
                    <a:pt x="173" y="294"/>
                  </a:lnTo>
                  <a:lnTo>
                    <a:pt x="27" y="440"/>
                  </a:lnTo>
                  <a:lnTo>
                    <a:pt x="21" y="447"/>
                  </a:lnTo>
                  <a:lnTo>
                    <a:pt x="16" y="455"/>
                  </a:lnTo>
                  <a:lnTo>
                    <a:pt x="12" y="461"/>
                  </a:lnTo>
                  <a:lnTo>
                    <a:pt x="7" y="469"/>
                  </a:lnTo>
                  <a:lnTo>
                    <a:pt x="5" y="478"/>
                  </a:lnTo>
                  <a:lnTo>
                    <a:pt x="3" y="486"/>
                  </a:lnTo>
                  <a:lnTo>
                    <a:pt x="0" y="495"/>
                  </a:lnTo>
                  <a:lnTo>
                    <a:pt x="0" y="504"/>
                  </a:lnTo>
                  <a:lnTo>
                    <a:pt x="0" y="512"/>
                  </a:lnTo>
                  <a:lnTo>
                    <a:pt x="3" y="521"/>
                  </a:lnTo>
                  <a:lnTo>
                    <a:pt x="5" y="530"/>
                  </a:lnTo>
                  <a:lnTo>
                    <a:pt x="7" y="538"/>
                  </a:lnTo>
                  <a:lnTo>
                    <a:pt x="12" y="546"/>
                  </a:lnTo>
                  <a:lnTo>
                    <a:pt x="16" y="554"/>
                  </a:lnTo>
                  <a:lnTo>
                    <a:pt x="21" y="561"/>
                  </a:lnTo>
                  <a:lnTo>
                    <a:pt x="27" y="568"/>
                  </a:lnTo>
                  <a:lnTo>
                    <a:pt x="208" y="748"/>
                  </a:lnTo>
                  <a:lnTo>
                    <a:pt x="215" y="754"/>
                  </a:lnTo>
                  <a:lnTo>
                    <a:pt x="222" y="760"/>
                  </a:lnTo>
                  <a:lnTo>
                    <a:pt x="230" y="764"/>
                  </a:lnTo>
                  <a:lnTo>
                    <a:pt x="237" y="767"/>
                  </a:lnTo>
                  <a:lnTo>
                    <a:pt x="245" y="771"/>
                  </a:lnTo>
                  <a:lnTo>
                    <a:pt x="253" y="773"/>
                  </a:lnTo>
                  <a:lnTo>
                    <a:pt x="262" y="774"/>
                  </a:lnTo>
                  <a:lnTo>
                    <a:pt x="271" y="774"/>
                  </a:lnTo>
                  <a:lnTo>
                    <a:pt x="280" y="774"/>
                  </a:lnTo>
                  <a:lnTo>
                    <a:pt x="288" y="773"/>
                  </a:lnTo>
                  <a:lnTo>
                    <a:pt x="297" y="771"/>
                  </a:lnTo>
                  <a:lnTo>
                    <a:pt x="305" y="767"/>
                  </a:lnTo>
                  <a:lnTo>
                    <a:pt x="313" y="764"/>
                  </a:lnTo>
                  <a:lnTo>
                    <a:pt x="321" y="760"/>
                  </a:lnTo>
                  <a:lnTo>
                    <a:pt x="328" y="754"/>
                  </a:lnTo>
                  <a:lnTo>
                    <a:pt x="335" y="748"/>
                  </a:lnTo>
                  <a:lnTo>
                    <a:pt x="601" y="482"/>
                  </a:lnTo>
                  <a:lnTo>
                    <a:pt x="700" y="482"/>
                  </a:lnTo>
                  <a:lnTo>
                    <a:pt x="705" y="481"/>
                  </a:lnTo>
                  <a:lnTo>
                    <a:pt x="708" y="478"/>
                  </a:lnTo>
                  <a:lnTo>
                    <a:pt x="712" y="476"/>
                  </a:lnTo>
                  <a:lnTo>
                    <a:pt x="714" y="47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36" name="Freeform 4635"/>
            <p:cNvSpPr/>
            <p:nvPr/>
          </p:nvSpPr>
          <p:spPr bwMode="auto">
            <a:xfrm>
              <a:off x="10091738" y="3689350"/>
              <a:ext cx="68263" cy="104775"/>
            </a:xfrm>
            <a:custGeom>
              <a:avLst/>
              <a:gdLst>
                <a:gd name="T0" fmla="*/ 119 w 212"/>
                <a:gd name="T1" fmla="*/ 7 h 331"/>
                <a:gd name="T2" fmla="*/ 117 w 212"/>
                <a:gd name="T3" fmla="*/ 5 h 331"/>
                <a:gd name="T4" fmla="*/ 113 w 212"/>
                <a:gd name="T5" fmla="*/ 2 h 331"/>
                <a:gd name="T6" fmla="*/ 110 w 212"/>
                <a:gd name="T7" fmla="*/ 1 h 331"/>
                <a:gd name="T8" fmla="*/ 107 w 212"/>
                <a:gd name="T9" fmla="*/ 0 h 331"/>
                <a:gd name="T10" fmla="*/ 102 w 212"/>
                <a:gd name="T11" fmla="*/ 1 h 331"/>
                <a:gd name="T12" fmla="*/ 99 w 212"/>
                <a:gd name="T13" fmla="*/ 2 h 331"/>
                <a:gd name="T14" fmla="*/ 95 w 212"/>
                <a:gd name="T15" fmla="*/ 5 h 331"/>
                <a:gd name="T16" fmla="*/ 93 w 212"/>
                <a:gd name="T17" fmla="*/ 7 h 331"/>
                <a:gd name="T18" fmla="*/ 86 w 212"/>
                <a:gd name="T19" fmla="*/ 19 h 331"/>
                <a:gd name="T20" fmla="*/ 75 w 212"/>
                <a:gd name="T21" fmla="*/ 41 h 331"/>
                <a:gd name="T22" fmla="*/ 60 w 212"/>
                <a:gd name="T23" fmla="*/ 69 h 331"/>
                <a:gd name="T24" fmla="*/ 43 w 212"/>
                <a:gd name="T25" fmla="*/ 102 h 331"/>
                <a:gd name="T26" fmla="*/ 28 w 212"/>
                <a:gd name="T27" fmla="*/ 137 h 331"/>
                <a:gd name="T28" fmla="*/ 14 w 212"/>
                <a:gd name="T29" fmla="*/ 171 h 331"/>
                <a:gd name="T30" fmla="*/ 8 w 212"/>
                <a:gd name="T31" fmla="*/ 186 h 331"/>
                <a:gd name="T32" fmla="*/ 5 w 212"/>
                <a:gd name="T33" fmla="*/ 201 h 331"/>
                <a:gd name="T34" fmla="*/ 2 w 212"/>
                <a:gd name="T35" fmla="*/ 215 h 331"/>
                <a:gd name="T36" fmla="*/ 0 w 212"/>
                <a:gd name="T37" fmla="*/ 226 h 331"/>
                <a:gd name="T38" fmla="*/ 2 w 212"/>
                <a:gd name="T39" fmla="*/ 237 h 331"/>
                <a:gd name="T40" fmla="*/ 3 w 212"/>
                <a:gd name="T41" fmla="*/ 247 h 331"/>
                <a:gd name="T42" fmla="*/ 5 w 212"/>
                <a:gd name="T43" fmla="*/ 258 h 331"/>
                <a:gd name="T44" fmla="*/ 8 w 212"/>
                <a:gd name="T45" fmla="*/ 268 h 331"/>
                <a:gd name="T46" fmla="*/ 13 w 212"/>
                <a:gd name="T47" fmla="*/ 277 h 331"/>
                <a:gd name="T48" fmla="*/ 19 w 212"/>
                <a:gd name="T49" fmla="*/ 286 h 331"/>
                <a:gd name="T50" fmla="*/ 24 w 212"/>
                <a:gd name="T51" fmla="*/ 294 h 331"/>
                <a:gd name="T52" fmla="*/ 31 w 212"/>
                <a:gd name="T53" fmla="*/ 302 h 331"/>
                <a:gd name="T54" fmla="*/ 38 w 212"/>
                <a:gd name="T55" fmla="*/ 308 h 331"/>
                <a:gd name="T56" fmla="*/ 46 w 212"/>
                <a:gd name="T57" fmla="*/ 314 h 331"/>
                <a:gd name="T58" fmla="*/ 55 w 212"/>
                <a:gd name="T59" fmla="*/ 319 h 331"/>
                <a:gd name="T60" fmla="*/ 64 w 212"/>
                <a:gd name="T61" fmla="*/ 323 h 331"/>
                <a:gd name="T62" fmla="*/ 74 w 212"/>
                <a:gd name="T63" fmla="*/ 326 h 331"/>
                <a:gd name="T64" fmla="*/ 84 w 212"/>
                <a:gd name="T65" fmla="*/ 329 h 331"/>
                <a:gd name="T66" fmla="*/ 95 w 212"/>
                <a:gd name="T67" fmla="*/ 331 h 331"/>
                <a:gd name="T68" fmla="*/ 107 w 212"/>
                <a:gd name="T69" fmla="*/ 331 h 331"/>
                <a:gd name="T70" fmla="*/ 118 w 212"/>
                <a:gd name="T71" fmla="*/ 331 h 331"/>
                <a:gd name="T72" fmla="*/ 128 w 212"/>
                <a:gd name="T73" fmla="*/ 329 h 331"/>
                <a:gd name="T74" fmla="*/ 138 w 212"/>
                <a:gd name="T75" fmla="*/ 326 h 331"/>
                <a:gd name="T76" fmla="*/ 148 w 212"/>
                <a:gd name="T77" fmla="*/ 323 h 331"/>
                <a:gd name="T78" fmla="*/ 157 w 212"/>
                <a:gd name="T79" fmla="*/ 319 h 331"/>
                <a:gd name="T80" fmla="*/ 167 w 212"/>
                <a:gd name="T81" fmla="*/ 314 h 331"/>
                <a:gd name="T82" fmla="*/ 174 w 212"/>
                <a:gd name="T83" fmla="*/ 307 h 331"/>
                <a:gd name="T84" fmla="*/ 182 w 212"/>
                <a:gd name="T85" fmla="*/ 302 h 331"/>
                <a:gd name="T86" fmla="*/ 189 w 212"/>
                <a:gd name="T87" fmla="*/ 294 h 331"/>
                <a:gd name="T88" fmla="*/ 195 w 212"/>
                <a:gd name="T89" fmla="*/ 286 h 331"/>
                <a:gd name="T90" fmla="*/ 199 w 212"/>
                <a:gd name="T91" fmla="*/ 277 h 331"/>
                <a:gd name="T92" fmla="*/ 204 w 212"/>
                <a:gd name="T93" fmla="*/ 268 h 331"/>
                <a:gd name="T94" fmla="*/ 207 w 212"/>
                <a:gd name="T95" fmla="*/ 258 h 331"/>
                <a:gd name="T96" fmla="*/ 209 w 212"/>
                <a:gd name="T97" fmla="*/ 247 h 331"/>
                <a:gd name="T98" fmla="*/ 212 w 212"/>
                <a:gd name="T99" fmla="*/ 237 h 331"/>
                <a:gd name="T100" fmla="*/ 212 w 212"/>
                <a:gd name="T101" fmla="*/ 226 h 331"/>
                <a:gd name="T102" fmla="*/ 211 w 212"/>
                <a:gd name="T103" fmla="*/ 215 h 331"/>
                <a:gd name="T104" fmla="*/ 208 w 212"/>
                <a:gd name="T105" fmla="*/ 201 h 331"/>
                <a:gd name="T106" fmla="*/ 204 w 212"/>
                <a:gd name="T107" fmla="*/ 186 h 331"/>
                <a:gd name="T108" fmla="*/ 198 w 212"/>
                <a:gd name="T109" fmla="*/ 171 h 331"/>
                <a:gd name="T110" fmla="*/ 185 w 212"/>
                <a:gd name="T111" fmla="*/ 137 h 331"/>
                <a:gd name="T112" fmla="*/ 169 w 212"/>
                <a:gd name="T113" fmla="*/ 102 h 331"/>
                <a:gd name="T114" fmla="*/ 153 w 212"/>
                <a:gd name="T115" fmla="*/ 69 h 331"/>
                <a:gd name="T116" fmla="*/ 138 w 212"/>
                <a:gd name="T117" fmla="*/ 41 h 331"/>
                <a:gd name="T118" fmla="*/ 126 w 212"/>
                <a:gd name="T119" fmla="*/ 19 h 331"/>
                <a:gd name="T120" fmla="*/ 119 w 212"/>
                <a:gd name="T121" fmla="*/ 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2" h="331">
                  <a:moveTo>
                    <a:pt x="119" y="7"/>
                  </a:moveTo>
                  <a:lnTo>
                    <a:pt x="117" y="5"/>
                  </a:lnTo>
                  <a:lnTo>
                    <a:pt x="113" y="2"/>
                  </a:lnTo>
                  <a:lnTo>
                    <a:pt x="110" y="1"/>
                  </a:lnTo>
                  <a:lnTo>
                    <a:pt x="107" y="0"/>
                  </a:lnTo>
                  <a:lnTo>
                    <a:pt x="102" y="1"/>
                  </a:lnTo>
                  <a:lnTo>
                    <a:pt x="99" y="2"/>
                  </a:lnTo>
                  <a:lnTo>
                    <a:pt x="95" y="5"/>
                  </a:lnTo>
                  <a:lnTo>
                    <a:pt x="93" y="7"/>
                  </a:lnTo>
                  <a:lnTo>
                    <a:pt x="86" y="19"/>
                  </a:lnTo>
                  <a:lnTo>
                    <a:pt x="75" y="41"/>
                  </a:lnTo>
                  <a:lnTo>
                    <a:pt x="60" y="69"/>
                  </a:lnTo>
                  <a:lnTo>
                    <a:pt x="43" y="102"/>
                  </a:lnTo>
                  <a:lnTo>
                    <a:pt x="28" y="137"/>
                  </a:lnTo>
                  <a:lnTo>
                    <a:pt x="14" y="171"/>
                  </a:lnTo>
                  <a:lnTo>
                    <a:pt x="8" y="186"/>
                  </a:lnTo>
                  <a:lnTo>
                    <a:pt x="5" y="201"/>
                  </a:lnTo>
                  <a:lnTo>
                    <a:pt x="2" y="215"/>
                  </a:lnTo>
                  <a:lnTo>
                    <a:pt x="0" y="226"/>
                  </a:lnTo>
                  <a:lnTo>
                    <a:pt x="2" y="237"/>
                  </a:lnTo>
                  <a:lnTo>
                    <a:pt x="3" y="247"/>
                  </a:lnTo>
                  <a:lnTo>
                    <a:pt x="5" y="258"/>
                  </a:lnTo>
                  <a:lnTo>
                    <a:pt x="8" y="268"/>
                  </a:lnTo>
                  <a:lnTo>
                    <a:pt x="13" y="277"/>
                  </a:lnTo>
                  <a:lnTo>
                    <a:pt x="19" y="286"/>
                  </a:lnTo>
                  <a:lnTo>
                    <a:pt x="24" y="294"/>
                  </a:lnTo>
                  <a:lnTo>
                    <a:pt x="31" y="302"/>
                  </a:lnTo>
                  <a:lnTo>
                    <a:pt x="38" y="308"/>
                  </a:lnTo>
                  <a:lnTo>
                    <a:pt x="46" y="314"/>
                  </a:lnTo>
                  <a:lnTo>
                    <a:pt x="55" y="319"/>
                  </a:lnTo>
                  <a:lnTo>
                    <a:pt x="64" y="323"/>
                  </a:lnTo>
                  <a:lnTo>
                    <a:pt x="74" y="326"/>
                  </a:lnTo>
                  <a:lnTo>
                    <a:pt x="84" y="329"/>
                  </a:lnTo>
                  <a:lnTo>
                    <a:pt x="95" y="331"/>
                  </a:lnTo>
                  <a:lnTo>
                    <a:pt x="107" y="331"/>
                  </a:lnTo>
                  <a:lnTo>
                    <a:pt x="118" y="331"/>
                  </a:lnTo>
                  <a:lnTo>
                    <a:pt x="128" y="329"/>
                  </a:lnTo>
                  <a:lnTo>
                    <a:pt x="138" y="326"/>
                  </a:lnTo>
                  <a:lnTo>
                    <a:pt x="148" y="323"/>
                  </a:lnTo>
                  <a:lnTo>
                    <a:pt x="157" y="319"/>
                  </a:lnTo>
                  <a:lnTo>
                    <a:pt x="167" y="314"/>
                  </a:lnTo>
                  <a:lnTo>
                    <a:pt x="174" y="307"/>
                  </a:lnTo>
                  <a:lnTo>
                    <a:pt x="182" y="302"/>
                  </a:lnTo>
                  <a:lnTo>
                    <a:pt x="189" y="294"/>
                  </a:lnTo>
                  <a:lnTo>
                    <a:pt x="195" y="286"/>
                  </a:lnTo>
                  <a:lnTo>
                    <a:pt x="199" y="277"/>
                  </a:lnTo>
                  <a:lnTo>
                    <a:pt x="204" y="268"/>
                  </a:lnTo>
                  <a:lnTo>
                    <a:pt x="207" y="258"/>
                  </a:lnTo>
                  <a:lnTo>
                    <a:pt x="209" y="247"/>
                  </a:lnTo>
                  <a:lnTo>
                    <a:pt x="212" y="237"/>
                  </a:lnTo>
                  <a:lnTo>
                    <a:pt x="212" y="226"/>
                  </a:lnTo>
                  <a:lnTo>
                    <a:pt x="211" y="215"/>
                  </a:lnTo>
                  <a:lnTo>
                    <a:pt x="208" y="201"/>
                  </a:lnTo>
                  <a:lnTo>
                    <a:pt x="204" y="186"/>
                  </a:lnTo>
                  <a:lnTo>
                    <a:pt x="198" y="171"/>
                  </a:lnTo>
                  <a:lnTo>
                    <a:pt x="185" y="137"/>
                  </a:lnTo>
                  <a:lnTo>
                    <a:pt x="169" y="102"/>
                  </a:lnTo>
                  <a:lnTo>
                    <a:pt x="153" y="69"/>
                  </a:lnTo>
                  <a:lnTo>
                    <a:pt x="138" y="41"/>
                  </a:lnTo>
                  <a:lnTo>
                    <a:pt x="126" y="19"/>
                  </a:lnTo>
                  <a:lnTo>
                    <a:pt x="119"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grpSp>
      <p:grpSp>
        <p:nvGrpSpPr>
          <p:cNvPr id="37" name="Group 36"/>
          <p:cNvGrpSpPr/>
          <p:nvPr/>
        </p:nvGrpSpPr>
        <p:grpSpPr>
          <a:xfrm>
            <a:off x="153075" y="1185863"/>
            <a:ext cx="347071" cy="341318"/>
            <a:chOff x="7591425" y="3513138"/>
            <a:chExt cx="287338" cy="282575"/>
          </a:xfrm>
          <a:solidFill>
            <a:schemeClr val="bg1"/>
          </a:solidFill>
        </p:grpSpPr>
        <p:sp>
          <p:nvSpPr>
            <p:cNvPr id="38" name="Freeform 4698"/>
            <p:cNvSpPr/>
            <p:nvPr/>
          </p:nvSpPr>
          <p:spPr bwMode="auto">
            <a:xfrm>
              <a:off x="7713663" y="3513138"/>
              <a:ext cx="165100" cy="185738"/>
            </a:xfrm>
            <a:custGeom>
              <a:avLst/>
              <a:gdLst>
                <a:gd name="T0" fmla="*/ 402 w 522"/>
                <a:gd name="T1" fmla="*/ 0 h 585"/>
                <a:gd name="T2" fmla="*/ 399 w 522"/>
                <a:gd name="T3" fmla="*/ 1 h 585"/>
                <a:gd name="T4" fmla="*/ 395 w 522"/>
                <a:gd name="T5" fmla="*/ 2 h 585"/>
                <a:gd name="T6" fmla="*/ 392 w 522"/>
                <a:gd name="T7" fmla="*/ 4 h 585"/>
                <a:gd name="T8" fmla="*/ 390 w 522"/>
                <a:gd name="T9" fmla="*/ 6 h 585"/>
                <a:gd name="T10" fmla="*/ 0 w 522"/>
                <a:gd name="T11" fmla="*/ 507 h 585"/>
                <a:gd name="T12" fmla="*/ 91 w 522"/>
                <a:gd name="T13" fmla="*/ 584 h 585"/>
                <a:gd name="T14" fmla="*/ 91 w 522"/>
                <a:gd name="T15" fmla="*/ 584 h 585"/>
                <a:gd name="T16" fmla="*/ 93 w 522"/>
                <a:gd name="T17" fmla="*/ 585 h 585"/>
                <a:gd name="T18" fmla="*/ 518 w 522"/>
                <a:gd name="T19" fmla="*/ 131 h 585"/>
                <a:gd name="T20" fmla="*/ 521 w 522"/>
                <a:gd name="T21" fmla="*/ 127 h 585"/>
                <a:gd name="T22" fmla="*/ 522 w 522"/>
                <a:gd name="T23" fmla="*/ 121 h 585"/>
                <a:gd name="T24" fmla="*/ 522 w 522"/>
                <a:gd name="T25" fmla="*/ 96 h 585"/>
                <a:gd name="T26" fmla="*/ 518 w 522"/>
                <a:gd name="T27" fmla="*/ 72 h 585"/>
                <a:gd name="T28" fmla="*/ 516 w 522"/>
                <a:gd name="T29" fmla="*/ 62 h 585"/>
                <a:gd name="T30" fmla="*/ 514 w 522"/>
                <a:gd name="T31" fmla="*/ 52 h 585"/>
                <a:gd name="T32" fmla="*/ 509 w 522"/>
                <a:gd name="T33" fmla="*/ 43 h 585"/>
                <a:gd name="T34" fmla="*/ 504 w 522"/>
                <a:gd name="T35" fmla="*/ 34 h 585"/>
                <a:gd name="T36" fmla="*/ 497 w 522"/>
                <a:gd name="T37" fmla="*/ 27 h 585"/>
                <a:gd name="T38" fmla="*/ 489 w 522"/>
                <a:gd name="T39" fmla="*/ 21 h 585"/>
                <a:gd name="T40" fmla="*/ 479 w 522"/>
                <a:gd name="T41" fmla="*/ 15 h 585"/>
                <a:gd name="T42" fmla="*/ 467 w 522"/>
                <a:gd name="T43" fmla="*/ 9 h 585"/>
                <a:gd name="T44" fmla="*/ 454 w 522"/>
                <a:gd name="T45" fmla="*/ 6 h 585"/>
                <a:gd name="T46" fmla="*/ 439 w 522"/>
                <a:gd name="T47" fmla="*/ 2 h 585"/>
                <a:gd name="T48" fmla="*/ 421 w 522"/>
                <a:gd name="T49" fmla="*/ 1 h 585"/>
                <a:gd name="T50" fmla="*/ 402 w 522"/>
                <a:gd name="T5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85">
                  <a:moveTo>
                    <a:pt x="402" y="0"/>
                  </a:moveTo>
                  <a:lnTo>
                    <a:pt x="399" y="1"/>
                  </a:lnTo>
                  <a:lnTo>
                    <a:pt x="395" y="2"/>
                  </a:lnTo>
                  <a:lnTo>
                    <a:pt x="392" y="4"/>
                  </a:lnTo>
                  <a:lnTo>
                    <a:pt x="390" y="6"/>
                  </a:lnTo>
                  <a:lnTo>
                    <a:pt x="0" y="507"/>
                  </a:lnTo>
                  <a:lnTo>
                    <a:pt x="91" y="584"/>
                  </a:lnTo>
                  <a:lnTo>
                    <a:pt x="91" y="584"/>
                  </a:lnTo>
                  <a:lnTo>
                    <a:pt x="93" y="585"/>
                  </a:lnTo>
                  <a:lnTo>
                    <a:pt x="518" y="131"/>
                  </a:lnTo>
                  <a:lnTo>
                    <a:pt x="521" y="127"/>
                  </a:lnTo>
                  <a:lnTo>
                    <a:pt x="522" y="121"/>
                  </a:lnTo>
                  <a:lnTo>
                    <a:pt x="522" y="96"/>
                  </a:lnTo>
                  <a:lnTo>
                    <a:pt x="518" y="72"/>
                  </a:lnTo>
                  <a:lnTo>
                    <a:pt x="516" y="62"/>
                  </a:lnTo>
                  <a:lnTo>
                    <a:pt x="514" y="52"/>
                  </a:lnTo>
                  <a:lnTo>
                    <a:pt x="509" y="43"/>
                  </a:lnTo>
                  <a:lnTo>
                    <a:pt x="504" y="34"/>
                  </a:lnTo>
                  <a:lnTo>
                    <a:pt x="497" y="27"/>
                  </a:lnTo>
                  <a:lnTo>
                    <a:pt x="489" y="21"/>
                  </a:lnTo>
                  <a:lnTo>
                    <a:pt x="479" y="15"/>
                  </a:lnTo>
                  <a:lnTo>
                    <a:pt x="467" y="9"/>
                  </a:lnTo>
                  <a:lnTo>
                    <a:pt x="454" y="6"/>
                  </a:lnTo>
                  <a:lnTo>
                    <a:pt x="439" y="2"/>
                  </a:lnTo>
                  <a:lnTo>
                    <a:pt x="421" y="1"/>
                  </a:lnTo>
                  <a:lnTo>
                    <a:pt x="40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solidFill>
                  <a:schemeClr val="bg1"/>
                </a:solidFill>
              </a:endParaRPr>
            </a:p>
          </p:txBody>
        </p:sp>
        <p:sp>
          <p:nvSpPr>
            <p:cNvPr id="39" name="Freeform 4699"/>
            <p:cNvSpPr/>
            <p:nvPr/>
          </p:nvSpPr>
          <p:spPr bwMode="auto">
            <a:xfrm>
              <a:off x="7591425" y="3686175"/>
              <a:ext cx="142875" cy="109538"/>
            </a:xfrm>
            <a:custGeom>
              <a:avLst/>
              <a:gdLst>
                <a:gd name="T0" fmla="*/ 345 w 447"/>
                <a:gd name="T1" fmla="*/ 7 h 342"/>
                <a:gd name="T2" fmla="*/ 322 w 447"/>
                <a:gd name="T3" fmla="*/ 1 h 342"/>
                <a:gd name="T4" fmla="*/ 298 w 447"/>
                <a:gd name="T5" fmla="*/ 0 h 342"/>
                <a:gd name="T6" fmla="*/ 260 w 447"/>
                <a:gd name="T7" fmla="*/ 4 h 342"/>
                <a:gd name="T8" fmla="*/ 225 w 447"/>
                <a:gd name="T9" fmla="*/ 17 h 342"/>
                <a:gd name="T10" fmla="*/ 194 w 447"/>
                <a:gd name="T11" fmla="*/ 36 h 342"/>
                <a:gd name="T12" fmla="*/ 170 w 447"/>
                <a:gd name="T13" fmla="*/ 62 h 342"/>
                <a:gd name="T14" fmla="*/ 161 w 447"/>
                <a:gd name="T15" fmla="*/ 77 h 342"/>
                <a:gd name="T16" fmla="*/ 153 w 447"/>
                <a:gd name="T17" fmla="*/ 93 h 342"/>
                <a:gd name="T18" fmla="*/ 140 w 447"/>
                <a:gd name="T19" fmla="*/ 129 h 342"/>
                <a:gd name="T20" fmla="*/ 126 w 447"/>
                <a:gd name="T21" fmla="*/ 170 h 342"/>
                <a:gd name="T22" fmla="*/ 116 w 447"/>
                <a:gd name="T23" fmla="*/ 189 h 342"/>
                <a:gd name="T24" fmla="*/ 105 w 447"/>
                <a:gd name="T25" fmla="*/ 205 h 342"/>
                <a:gd name="T26" fmla="*/ 89 w 447"/>
                <a:gd name="T27" fmla="*/ 219 h 342"/>
                <a:gd name="T28" fmla="*/ 70 w 447"/>
                <a:gd name="T29" fmla="*/ 229 h 342"/>
                <a:gd name="T30" fmla="*/ 46 w 447"/>
                <a:gd name="T31" fmla="*/ 235 h 342"/>
                <a:gd name="T32" fmla="*/ 16 w 447"/>
                <a:gd name="T33" fmla="*/ 236 h 342"/>
                <a:gd name="T34" fmla="*/ 8 w 447"/>
                <a:gd name="T35" fmla="*/ 238 h 342"/>
                <a:gd name="T36" fmla="*/ 1 w 447"/>
                <a:gd name="T37" fmla="*/ 245 h 342"/>
                <a:gd name="T38" fmla="*/ 0 w 447"/>
                <a:gd name="T39" fmla="*/ 253 h 342"/>
                <a:gd name="T40" fmla="*/ 5 w 447"/>
                <a:gd name="T41" fmla="*/ 262 h 342"/>
                <a:gd name="T42" fmla="*/ 25 w 447"/>
                <a:gd name="T43" fmla="*/ 280 h 342"/>
                <a:gd name="T44" fmla="*/ 46 w 447"/>
                <a:gd name="T45" fmla="*/ 296 h 342"/>
                <a:gd name="T46" fmla="*/ 69 w 447"/>
                <a:gd name="T47" fmla="*/ 309 h 342"/>
                <a:gd name="T48" fmla="*/ 93 w 447"/>
                <a:gd name="T49" fmla="*/ 322 h 342"/>
                <a:gd name="T50" fmla="*/ 116 w 447"/>
                <a:gd name="T51" fmla="*/ 330 h 342"/>
                <a:gd name="T52" fmla="*/ 141 w 447"/>
                <a:gd name="T53" fmla="*/ 336 h 342"/>
                <a:gd name="T54" fmla="*/ 167 w 447"/>
                <a:gd name="T55" fmla="*/ 341 h 342"/>
                <a:gd name="T56" fmla="*/ 193 w 447"/>
                <a:gd name="T57" fmla="*/ 342 h 342"/>
                <a:gd name="T58" fmla="*/ 234 w 447"/>
                <a:gd name="T59" fmla="*/ 339 h 342"/>
                <a:gd name="T60" fmla="*/ 273 w 447"/>
                <a:gd name="T61" fmla="*/ 330 h 342"/>
                <a:gd name="T62" fmla="*/ 312 w 447"/>
                <a:gd name="T63" fmla="*/ 315 h 342"/>
                <a:gd name="T64" fmla="*/ 347 w 447"/>
                <a:gd name="T65" fmla="*/ 296 h 342"/>
                <a:gd name="T66" fmla="*/ 379 w 447"/>
                <a:gd name="T67" fmla="*/ 272 h 342"/>
                <a:gd name="T68" fmla="*/ 404 w 447"/>
                <a:gd name="T69" fmla="*/ 246 h 342"/>
                <a:gd name="T70" fmla="*/ 426 w 447"/>
                <a:gd name="T71" fmla="*/ 216 h 342"/>
                <a:gd name="T72" fmla="*/ 441 w 447"/>
                <a:gd name="T73" fmla="*/ 183 h 342"/>
                <a:gd name="T74" fmla="*/ 446 w 447"/>
                <a:gd name="T75" fmla="*/ 157 h 342"/>
                <a:gd name="T76" fmla="*/ 447 w 447"/>
                <a:gd name="T77" fmla="*/ 131 h 342"/>
                <a:gd name="T78" fmla="*/ 443 w 447"/>
                <a:gd name="T79" fmla="*/ 105 h 342"/>
                <a:gd name="T80" fmla="*/ 433 w 447"/>
                <a:gd name="T81" fmla="*/ 8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47" h="342">
                  <a:moveTo>
                    <a:pt x="433" y="80"/>
                  </a:moveTo>
                  <a:lnTo>
                    <a:pt x="345" y="7"/>
                  </a:lnTo>
                  <a:lnTo>
                    <a:pt x="333" y="3"/>
                  </a:lnTo>
                  <a:lnTo>
                    <a:pt x="322" y="1"/>
                  </a:lnTo>
                  <a:lnTo>
                    <a:pt x="310" y="0"/>
                  </a:lnTo>
                  <a:lnTo>
                    <a:pt x="298" y="0"/>
                  </a:lnTo>
                  <a:lnTo>
                    <a:pt x="279" y="1"/>
                  </a:lnTo>
                  <a:lnTo>
                    <a:pt x="260" y="4"/>
                  </a:lnTo>
                  <a:lnTo>
                    <a:pt x="243" y="9"/>
                  </a:lnTo>
                  <a:lnTo>
                    <a:pt x="225" y="17"/>
                  </a:lnTo>
                  <a:lnTo>
                    <a:pt x="209" y="25"/>
                  </a:lnTo>
                  <a:lnTo>
                    <a:pt x="194" y="36"/>
                  </a:lnTo>
                  <a:lnTo>
                    <a:pt x="181" y="48"/>
                  </a:lnTo>
                  <a:lnTo>
                    <a:pt x="170" y="62"/>
                  </a:lnTo>
                  <a:lnTo>
                    <a:pt x="165" y="69"/>
                  </a:lnTo>
                  <a:lnTo>
                    <a:pt x="161" y="77"/>
                  </a:lnTo>
                  <a:lnTo>
                    <a:pt x="156" y="85"/>
                  </a:lnTo>
                  <a:lnTo>
                    <a:pt x="153" y="93"/>
                  </a:lnTo>
                  <a:lnTo>
                    <a:pt x="147" y="109"/>
                  </a:lnTo>
                  <a:lnTo>
                    <a:pt x="140" y="129"/>
                  </a:lnTo>
                  <a:lnTo>
                    <a:pt x="133" y="150"/>
                  </a:lnTo>
                  <a:lnTo>
                    <a:pt x="126" y="170"/>
                  </a:lnTo>
                  <a:lnTo>
                    <a:pt x="122" y="179"/>
                  </a:lnTo>
                  <a:lnTo>
                    <a:pt x="116" y="189"/>
                  </a:lnTo>
                  <a:lnTo>
                    <a:pt x="111" y="198"/>
                  </a:lnTo>
                  <a:lnTo>
                    <a:pt x="105" y="205"/>
                  </a:lnTo>
                  <a:lnTo>
                    <a:pt x="98" y="212"/>
                  </a:lnTo>
                  <a:lnTo>
                    <a:pt x="89" y="219"/>
                  </a:lnTo>
                  <a:lnTo>
                    <a:pt x="80" y="225"/>
                  </a:lnTo>
                  <a:lnTo>
                    <a:pt x="70" y="229"/>
                  </a:lnTo>
                  <a:lnTo>
                    <a:pt x="59" y="233"/>
                  </a:lnTo>
                  <a:lnTo>
                    <a:pt x="46" y="235"/>
                  </a:lnTo>
                  <a:lnTo>
                    <a:pt x="32" y="236"/>
                  </a:lnTo>
                  <a:lnTo>
                    <a:pt x="16" y="236"/>
                  </a:lnTo>
                  <a:lnTo>
                    <a:pt x="11" y="236"/>
                  </a:lnTo>
                  <a:lnTo>
                    <a:pt x="8" y="238"/>
                  </a:lnTo>
                  <a:lnTo>
                    <a:pt x="5" y="240"/>
                  </a:lnTo>
                  <a:lnTo>
                    <a:pt x="1" y="245"/>
                  </a:lnTo>
                  <a:lnTo>
                    <a:pt x="0" y="248"/>
                  </a:lnTo>
                  <a:lnTo>
                    <a:pt x="0" y="253"/>
                  </a:lnTo>
                  <a:lnTo>
                    <a:pt x="2" y="257"/>
                  </a:lnTo>
                  <a:lnTo>
                    <a:pt x="5" y="262"/>
                  </a:lnTo>
                  <a:lnTo>
                    <a:pt x="15" y="271"/>
                  </a:lnTo>
                  <a:lnTo>
                    <a:pt x="25" y="280"/>
                  </a:lnTo>
                  <a:lnTo>
                    <a:pt x="35" y="288"/>
                  </a:lnTo>
                  <a:lnTo>
                    <a:pt x="46" y="296"/>
                  </a:lnTo>
                  <a:lnTo>
                    <a:pt x="58" y="304"/>
                  </a:lnTo>
                  <a:lnTo>
                    <a:pt x="69" y="309"/>
                  </a:lnTo>
                  <a:lnTo>
                    <a:pt x="80" y="316"/>
                  </a:lnTo>
                  <a:lnTo>
                    <a:pt x="93" y="322"/>
                  </a:lnTo>
                  <a:lnTo>
                    <a:pt x="104" y="326"/>
                  </a:lnTo>
                  <a:lnTo>
                    <a:pt x="116" y="330"/>
                  </a:lnTo>
                  <a:lnTo>
                    <a:pt x="129" y="334"/>
                  </a:lnTo>
                  <a:lnTo>
                    <a:pt x="141" y="336"/>
                  </a:lnTo>
                  <a:lnTo>
                    <a:pt x="154" y="339"/>
                  </a:lnTo>
                  <a:lnTo>
                    <a:pt x="167" y="341"/>
                  </a:lnTo>
                  <a:lnTo>
                    <a:pt x="180" y="341"/>
                  </a:lnTo>
                  <a:lnTo>
                    <a:pt x="193" y="342"/>
                  </a:lnTo>
                  <a:lnTo>
                    <a:pt x="214" y="341"/>
                  </a:lnTo>
                  <a:lnTo>
                    <a:pt x="234" y="339"/>
                  </a:lnTo>
                  <a:lnTo>
                    <a:pt x="254" y="334"/>
                  </a:lnTo>
                  <a:lnTo>
                    <a:pt x="273" y="330"/>
                  </a:lnTo>
                  <a:lnTo>
                    <a:pt x="293" y="323"/>
                  </a:lnTo>
                  <a:lnTo>
                    <a:pt x="312" y="315"/>
                  </a:lnTo>
                  <a:lnTo>
                    <a:pt x="330" y="306"/>
                  </a:lnTo>
                  <a:lnTo>
                    <a:pt x="347" y="296"/>
                  </a:lnTo>
                  <a:lnTo>
                    <a:pt x="363" y="285"/>
                  </a:lnTo>
                  <a:lnTo>
                    <a:pt x="379" y="272"/>
                  </a:lnTo>
                  <a:lnTo>
                    <a:pt x="392" y="260"/>
                  </a:lnTo>
                  <a:lnTo>
                    <a:pt x="404" y="246"/>
                  </a:lnTo>
                  <a:lnTo>
                    <a:pt x="416" y="231"/>
                  </a:lnTo>
                  <a:lnTo>
                    <a:pt x="426" y="216"/>
                  </a:lnTo>
                  <a:lnTo>
                    <a:pt x="434" y="200"/>
                  </a:lnTo>
                  <a:lnTo>
                    <a:pt x="441" y="183"/>
                  </a:lnTo>
                  <a:lnTo>
                    <a:pt x="444" y="170"/>
                  </a:lnTo>
                  <a:lnTo>
                    <a:pt x="446" y="157"/>
                  </a:lnTo>
                  <a:lnTo>
                    <a:pt x="447" y="143"/>
                  </a:lnTo>
                  <a:lnTo>
                    <a:pt x="447" y="131"/>
                  </a:lnTo>
                  <a:lnTo>
                    <a:pt x="446" y="117"/>
                  </a:lnTo>
                  <a:lnTo>
                    <a:pt x="443" y="105"/>
                  </a:lnTo>
                  <a:lnTo>
                    <a:pt x="438" y="93"/>
                  </a:lnTo>
                  <a:lnTo>
                    <a:pt x="433" y="81"/>
                  </a:lnTo>
                  <a:lnTo>
                    <a:pt x="433" y="8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solidFill>
                  <a:schemeClr val="bg1"/>
                </a:solidFill>
              </a:endParaRPr>
            </a:p>
          </p:txBody>
        </p:sp>
      </p:grpSp>
      <p:sp>
        <p:nvSpPr>
          <p:cNvPr id="26" name="Rectangle 25"/>
          <p:cNvSpPr/>
          <p:nvPr/>
        </p:nvSpPr>
        <p:spPr>
          <a:xfrm>
            <a:off x="4901343" y="3709492"/>
            <a:ext cx="3537808" cy="715581"/>
          </a:xfrm>
          <a:prstGeom prst="rect">
            <a:avLst/>
          </a:prstGeom>
        </p:spPr>
        <p:txBody>
          <a:bodyPr wrap="square">
            <a:spAutoFit/>
          </a:bodyPr>
          <a:lstStyle/>
          <a:p>
            <a:pPr>
              <a:lnSpc>
                <a:spcPct val="150000"/>
              </a:lnSpc>
              <a:buClr>
                <a:srgbClr val="E24848"/>
              </a:buClr>
              <a:defRPr/>
            </a:pPr>
            <a:r>
              <a:rPr lang="en-US" sz="9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a:t>
            </a:r>
            <a:endParaRPr lang="en-US" sz="9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pic>
        <p:nvPicPr>
          <p:cNvPr id="3" name="图片占位符 2"/>
          <p:cNvPicPr>
            <a:picLocks noGrp="1" noChangeAspect="1"/>
          </p:cNvPicPr>
          <p:nvPr>
            <p:ph type="pic" sz="quarter" idx="23"/>
          </p:nvPr>
        </p:nvPicPr>
        <p:blipFill>
          <a:blip r:embed="rId2" cstate="print">
            <a:extLst>
              <a:ext uri="{28A0092B-C50C-407E-A947-70E740481C1C}">
                <a14:useLocalDpi xmlns:a14="http://schemas.microsoft.com/office/drawing/2010/main" val="0"/>
              </a:ext>
            </a:extLst>
          </a:blip>
          <a:srcRect t="12512" b="12512"/>
          <a:stretch>
            <a:fillRect/>
          </a:stretch>
        </p:blipFill>
        <p:spPr/>
      </p:pic>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flipH="1">
            <a:off x="811435" y="1403578"/>
            <a:ext cx="3049184" cy="3341912"/>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439" name="Title 1"/>
          <p:cNvSpPr txBox="1"/>
          <p:nvPr/>
        </p:nvSpPr>
        <p:spPr>
          <a:xfrm>
            <a:off x="678676" y="483253"/>
            <a:ext cx="3264674" cy="48474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2700" b="1" spc="-113" dirty="0">
                <a:solidFill>
                  <a:srgbClr val="548235"/>
                </a:solidFill>
                <a:latin typeface="Lato" panose="020F0502020204030203" pitchFamily="34" charset="0"/>
                <a:ea typeface="Open Sans" panose="020B0606030504020204" pitchFamily="34" charset="0"/>
                <a:cs typeface="Lato" panose="020F0502020204030203" pitchFamily="34" charset="0"/>
              </a:rPr>
              <a:t>Our </a:t>
            </a:r>
            <a:r>
              <a:rPr lang="en-US" sz="2700" spc="-113" dirty="0">
                <a:solidFill>
                  <a:schemeClr val="tx1">
                    <a:lumMod val="75000"/>
                    <a:lumOff val="25000"/>
                  </a:schemeClr>
                </a:solidFill>
                <a:latin typeface="Lato" panose="020F0502020204030203" pitchFamily="34" charset="0"/>
                <a:ea typeface="Open Sans" panose="020B0606030504020204" pitchFamily="34" charset="0"/>
                <a:cs typeface="Lato" panose="020F0502020204030203" pitchFamily="34" charset="0"/>
              </a:rPr>
              <a:t>Portfolio</a:t>
            </a:r>
            <a:endParaRPr lang="en-US" sz="2700" spc="-113" dirty="0">
              <a:solidFill>
                <a:schemeClr val="tx1">
                  <a:lumMod val="75000"/>
                  <a:lumOff val="25000"/>
                </a:schemeClr>
              </a:solidFill>
              <a:latin typeface="Lato" panose="020F0502020204030203" pitchFamily="34" charset="0"/>
              <a:ea typeface="Open Sans" panose="020B0606030504020204" pitchFamily="34" charset="0"/>
              <a:cs typeface="Lato" panose="020F0502020204030203" pitchFamily="34" charset="0"/>
            </a:endParaRPr>
          </a:p>
        </p:txBody>
      </p:sp>
      <p:sp>
        <p:nvSpPr>
          <p:cNvPr id="440" name="Rectangle 439"/>
          <p:cNvSpPr/>
          <p:nvPr/>
        </p:nvSpPr>
        <p:spPr>
          <a:xfrm>
            <a:off x="719019" y="968001"/>
            <a:ext cx="1617008" cy="219291"/>
          </a:xfrm>
          <a:prstGeom prst="rect">
            <a:avLst/>
          </a:prstGeom>
        </p:spPr>
        <p:txBody>
          <a:bodyPr wrap="square">
            <a:spAutoFit/>
          </a:bodyPr>
          <a:lstStyle/>
          <a:p>
            <a:pP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6" name="Rectangle 5"/>
          <p:cNvSpPr/>
          <p:nvPr/>
        </p:nvSpPr>
        <p:spPr>
          <a:xfrm>
            <a:off x="3837664" y="1403578"/>
            <a:ext cx="1545772" cy="1707695"/>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7" name="Rectangle 6"/>
          <p:cNvSpPr/>
          <p:nvPr/>
        </p:nvSpPr>
        <p:spPr>
          <a:xfrm>
            <a:off x="3911659" y="2259617"/>
            <a:ext cx="1181621" cy="715581"/>
          </a:xfrm>
          <a:prstGeom prst="rect">
            <a:avLst/>
          </a:prstGeom>
          <a:noFill/>
        </p:spPr>
        <p:txBody>
          <a:bodyPr wrap="square">
            <a:spAutoFit/>
          </a:bodyPr>
          <a:lstStyle/>
          <a:p>
            <a:pPr>
              <a:buClr>
                <a:srgbClr val="E24848"/>
              </a:buClr>
              <a:defRPr/>
            </a:pPr>
            <a:r>
              <a:rPr lang="en-US" sz="900" b="1" noProof="1">
                <a:solidFill>
                  <a:schemeClr val="bg1"/>
                </a:solidFill>
                <a:latin typeface="Lato" panose="020F0502020204030203" pitchFamily="34" charset="0"/>
                <a:ea typeface="Open Sans" panose="020B0606030504020204" pitchFamily="34" charset="0"/>
                <a:cs typeface="Lato" panose="020F0502020204030203" pitchFamily="34" charset="0"/>
              </a:rPr>
              <a:t>Felasd</a:t>
            </a:r>
            <a:endParaRPr lang="en-US" sz="900" b="1" noProof="1">
              <a:solidFill>
                <a:schemeClr val="bg1"/>
              </a:solidFill>
              <a:latin typeface="Lato" panose="020F0502020204030203" pitchFamily="34" charset="0"/>
              <a:ea typeface="Open Sans" panose="020B0606030504020204" pitchFamily="34" charset="0"/>
              <a:cs typeface="Lato" panose="020F0502020204030203" pitchFamily="34" charset="0"/>
            </a:endParaRPr>
          </a:p>
          <a:p>
            <a:pPr>
              <a:buClr>
                <a:srgbClr val="E24848"/>
              </a:buClr>
              <a:defRPr/>
            </a:pPr>
            <a:endParaRPr lang="en-US" sz="900" b="1" noProof="1">
              <a:solidFill>
                <a:schemeClr val="bg1"/>
              </a:solidFill>
              <a:latin typeface="Lato" panose="020F0502020204030203" pitchFamily="34" charset="0"/>
              <a:ea typeface="Open Sans" panose="020B0606030504020204" pitchFamily="34" charset="0"/>
              <a:cs typeface="Lato" panose="020F0502020204030203" pitchFamily="34" charset="0"/>
            </a:endParaRPr>
          </a:p>
          <a:p>
            <a:pPr>
              <a:buClr>
                <a:srgbClr val="E24848"/>
              </a:buClr>
              <a:defRPr/>
            </a:pPr>
            <a:r>
              <a:rPr lang="en-US" sz="750" noProof="1">
                <a:solidFill>
                  <a:schemeClr val="bg1"/>
                </a:solidFill>
                <a:latin typeface="Lato" panose="020F0502020204030203" pitchFamily="34" charset="0"/>
                <a:ea typeface="Open Sans" panose="020B0606030504020204" pitchFamily="34" charset="0"/>
                <a:cs typeface="Lato" panose="020F0502020204030203" pitchFamily="34" charset="0"/>
              </a:rPr>
              <a:t>Conveniently iterate top-line alignments for wireless metrics</a:t>
            </a:r>
            <a:endParaRPr lang="en-US" sz="750" noProof="1">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10" name="Title 1"/>
          <p:cNvSpPr txBox="1"/>
          <p:nvPr/>
        </p:nvSpPr>
        <p:spPr>
          <a:xfrm>
            <a:off x="5559574" y="1478454"/>
            <a:ext cx="3148088" cy="754767"/>
          </a:xfrm>
          <a:prstGeom prst="rect">
            <a:avLst/>
          </a:prstGeom>
        </p:spPr>
        <p:txBody>
          <a:bodyPr wrap="square" anchor="t">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1500" dirty="0">
                <a:solidFill>
                  <a:schemeClr val="tx1">
                    <a:lumMod val="75000"/>
                    <a:lumOff val="25000"/>
                  </a:schemeClr>
                </a:solidFill>
                <a:latin typeface="Lato" panose="020F0502020204030203" pitchFamily="34" charset="0"/>
                <a:ea typeface="Open Sans" panose="020B0606030504020204" pitchFamily="34" charset="0"/>
                <a:cs typeface="Lato" panose="020F0502020204030203" pitchFamily="34" charset="0"/>
              </a:rPr>
              <a:t>Join with us and we’ll make the world in our hand. It’s using to make your look good.</a:t>
            </a:r>
            <a:endParaRPr lang="en-US" sz="1500" dirty="0">
              <a:solidFill>
                <a:schemeClr val="tx1">
                  <a:lumMod val="75000"/>
                  <a:lumOff val="25000"/>
                </a:schemeClr>
              </a:solidFill>
              <a:latin typeface="Lato" panose="020F0502020204030203" pitchFamily="34" charset="0"/>
              <a:ea typeface="Open Sans" panose="020B0606030504020204" pitchFamily="34" charset="0"/>
              <a:cs typeface="Lato" panose="020F0502020204030203" pitchFamily="34" charset="0"/>
            </a:endParaRPr>
          </a:p>
        </p:txBody>
      </p:sp>
      <p:sp>
        <p:nvSpPr>
          <p:cNvPr id="11" name="Rectangle 10"/>
          <p:cNvSpPr/>
          <p:nvPr/>
        </p:nvSpPr>
        <p:spPr>
          <a:xfrm>
            <a:off x="5559573" y="2299621"/>
            <a:ext cx="3148088" cy="646331"/>
          </a:xfrm>
          <a:prstGeom prst="rect">
            <a:avLst/>
          </a:prstGeom>
        </p:spPr>
        <p:txBody>
          <a:bodyPr wrap="square">
            <a:spAutoFit/>
          </a:bodyPr>
          <a:lstStyle/>
          <a:p>
            <a:pPr algn="just">
              <a:buClr>
                <a:srgbClr val="E24848"/>
              </a:buClr>
              <a:defRPr/>
            </a:pPr>
            <a:r>
              <a:rPr lang="en-US" sz="9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a:t>
            </a:r>
            <a:endParaRPr lang="en-US" sz="9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graphicFrame>
        <p:nvGraphicFramePr>
          <p:cNvPr id="12" name="Chart 11"/>
          <p:cNvGraphicFramePr/>
          <p:nvPr/>
        </p:nvGraphicFramePr>
        <p:xfrm>
          <a:off x="3929346" y="3224613"/>
          <a:ext cx="4778314" cy="1347037"/>
        </p:xfrm>
        <a:graphic>
          <a:graphicData uri="http://schemas.openxmlformats.org/drawingml/2006/chart">
            <c:chart xmlns:c="http://schemas.openxmlformats.org/drawingml/2006/chart" xmlns:r="http://schemas.openxmlformats.org/officeDocument/2006/relationships" r:id="rId1"/>
          </a:graphicData>
        </a:graphic>
      </p:graphicFrame>
      <p:sp>
        <p:nvSpPr>
          <p:cNvPr id="13" name="Freeform 57"/>
          <p:cNvSpPr>
            <a:spLocks noEditPoints="1"/>
          </p:cNvSpPr>
          <p:nvPr/>
        </p:nvSpPr>
        <p:spPr bwMode="auto">
          <a:xfrm>
            <a:off x="4958328" y="1522121"/>
            <a:ext cx="269903" cy="346472"/>
          </a:xfrm>
          <a:custGeom>
            <a:avLst/>
            <a:gdLst>
              <a:gd name="T0" fmla="*/ 616 w 708"/>
              <a:gd name="T1" fmla="*/ 486 h 905"/>
              <a:gd name="T2" fmla="*/ 664 w 708"/>
              <a:gd name="T3" fmla="*/ 521 h 905"/>
              <a:gd name="T4" fmla="*/ 678 w 708"/>
              <a:gd name="T5" fmla="*/ 583 h 905"/>
              <a:gd name="T6" fmla="*/ 654 w 708"/>
              <a:gd name="T7" fmla="*/ 638 h 905"/>
              <a:gd name="T8" fmla="*/ 598 w 708"/>
              <a:gd name="T9" fmla="*/ 663 h 905"/>
              <a:gd name="T10" fmla="*/ 523 w 708"/>
              <a:gd name="T11" fmla="*/ 838 h 905"/>
              <a:gd name="T12" fmla="*/ 497 w 708"/>
              <a:gd name="T13" fmla="*/ 868 h 905"/>
              <a:gd name="T14" fmla="*/ 130 w 708"/>
              <a:gd name="T15" fmla="*/ 874 h 905"/>
              <a:gd name="T16" fmla="*/ 93 w 708"/>
              <a:gd name="T17" fmla="*/ 857 h 905"/>
              <a:gd name="T18" fmla="*/ 76 w 708"/>
              <a:gd name="T19" fmla="*/ 821 h 905"/>
              <a:gd name="T20" fmla="*/ 422 w 708"/>
              <a:gd name="T21" fmla="*/ 422 h 905"/>
              <a:gd name="T22" fmla="*/ 514 w 708"/>
              <a:gd name="T23" fmla="*/ 422 h 905"/>
              <a:gd name="T24" fmla="*/ 49 w 708"/>
              <a:gd name="T25" fmla="*/ 292 h 905"/>
              <a:gd name="T26" fmla="*/ 407 w 708"/>
              <a:gd name="T27" fmla="*/ 91 h 905"/>
              <a:gd name="T28" fmla="*/ 318 w 708"/>
              <a:gd name="T29" fmla="*/ 100 h 905"/>
              <a:gd name="T30" fmla="*/ 323 w 708"/>
              <a:gd name="T31" fmla="*/ 119 h 905"/>
              <a:gd name="T32" fmla="*/ 359 w 708"/>
              <a:gd name="T33" fmla="*/ 151 h 905"/>
              <a:gd name="T34" fmla="*/ 347 w 708"/>
              <a:gd name="T35" fmla="*/ 166 h 905"/>
              <a:gd name="T36" fmla="*/ 359 w 708"/>
              <a:gd name="T37" fmla="*/ 181 h 905"/>
              <a:gd name="T38" fmla="*/ 323 w 708"/>
              <a:gd name="T39" fmla="*/ 214 h 905"/>
              <a:gd name="T40" fmla="*/ 318 w 708"/>
              <a:gd name="T41" fmla="*/ 233 h 905"/>
              <a:gd name="T42" fmla="*/ 407 w 708"/>
              <a:gd name="T43" fmla="*/ 241 h 905"/>
              <a:gd name="T44" fmla="*/ 349 w 708"/>
              <a:gd name="T45" fmla="*/ 308 h 905"/>
              <a:gd name="T46" fmla="*/ 351 w 708"/>
              <a:gd name="T47" fmla="*/ 327 h 905"/>
              <a:gd name="T48" fmla="*/ 257 w 708"/>
              <a:gd name="T49" fmla="*/ 392 h 905"/>
              <a:gd name="T50" fmla="*/ 547 w 708"/>
              <a:gd name="T51" fmla="*/ 237 h 905"/>
              <a:gd name="T52" fmla="*/ 556 w 708"/>
              <a:gd name="T53" fmla="*/ 117 h 905"/>
              <a:gd name="T54" fmla="*/ 580 w 708"/>
              <a:gd name="T55" fmla="*/ 57 h 905"/>
              <a:gd name="T56" fmla="*/ 612 w 708"/>
              <a:gd name="T57" fmla="*/ 72 h 905"/>
              <a:gd name="T58" fmla="*/ 632 w 708"/>
              <a:gd name="T59" fmla="*/ 155 h 905"/>
              <a:gd name="T60" fmla="*/ 607 w 708"/>
              <a:gd name="T61" fmla="*/ 207 h 905"/>
              <a:gd name="T62" fmla="*/ 577 w 708"/>
              <a:gd name="T63" fmla="*/ 214 h 905"/>
              <a:gd name="T64" fmla="*/ 532 w 708"/>
              <a:gd name="T65" fmla="*/ 184 h 905"/>
              <a:gd name="T66" fmla="*/ 558 w 708"/>
              <a:gd name="T67" fmla="*/ 407 h 905"/>
              <a:gd name="T68" fmla="*/ 546 w 708"/>
              <a:gd name="T69" fmla="*/ 393 h 905"/>
              <a:gd name="T70" fmla="*/ 618 w 708"/>
              <a:gd name="T71" fmla="*/ 235 h 905"/>
              <a:gd name="T72" fmla="*/ 651 w 708"/>
              <a:gd name="T73" fmla="*/ 198 h 905"/>
              <a:gd name="T74" fmla="*/ 663 w 708"/>
              <a:gd name="T75" fmla="*/ 135 h 905"/>
              <a:gd name="T76" fmla="*/ 636 w 708"/>
              <a:gd name="T77" fmla="*/ 55 h 905"/>
              <a:gd name="T78" fmla="*/ 556 w 708"/>
              <a:gd name="T79" fmla="*/ 3 h 905"/>
              <a:gd name="T80" fmla="*/ 537 w 708"/>
              <a:gd name="T81" fmla="*/ 22 h 905"/>
              <a:gd name="T82" fmla="*/ 550 w 708"/>
              <a:gd name="T83" fmla="*/ 60 h 905"/>
              <a:gd name="T84" fmla="*/ 520 w 708"/>
              <a:gd name="T85" fmla="*/ 113 h 905"/>
              <a:gd name="T86" fmla="*/ 499 w 708"/>
              <a:gd name="T87" fmla="*/ 167 h 905"/>
              <a:gd name="T88" fmla="*/ 516 w 708"/>
              <a:gd name="T89" fmla="*/ 215 h 905"/>
              <a:gd name="T90" fmla="*/ 433 w 708"/>
              <a:gd name="T91" fmla="*/ 5 h 905"/>
              <a:gd name="T92" fmla="*/ 235 w 708"/>
              <a:gd name="T93" fmla="*/ 1 h 905"/>
              <a:gd name="T94" fmla="*/ 227 w 708"/>
              <a:gd name="T95" fmla="*/ 392 h 905"/>
              <a:gd name="T96" fmla="*/ 133 w 708"/>
              <a:gd name="T97" fmla="*/ 217 h 905"/>
              <a:gd name="T98" fmla="*/ 128 w 708"/>
              <a:gd name="T99" fmla="*/ 213 h 905"/>
              <a:gd name="T100" fmla="*/ 2 w 708"/>
              <a:gd name="T101" fmla="*/ 159 h 905"/>
              <a:gd name="T102" fmla="*/ 16 w 708"/>
              <a:gd name="T103" fmla="*/ 291 h 905"/>
              <a:gd name="T104" fmla="*/ 51 w 708"/>
              <a:gd name="T105" fmla="*/ 395 h 905"/>
              <a:gd name="T106" fmla="*/ 46 w 708"/>
              <a:gd name="T107" fmla="*/ 824 h 905"/>
              <a:gd name="T108" fmla="*/ 72 w 708"/>
              <a:gd name="T109" fmla="*/ 879 h 905"/>
              <a:gd name="T110" fmla="*/ 127 w 708"/>
              <a:gd name="T111" fmla="*/ 905 h 905"/>
              <a:gd name="T112" fmla="*/ 512 w 708"/>
              <a:gd name="T113" fmla="*/ 894 h 905"/>
              <a:gd name="T114" fmla="*/ 551 w 708"/>
              <a:gd name="T115" fmla="*/ 850 h 905"/>
              <a:gd name="T116" fmla="*/ 601 w 708"/>
              <a:gd name="T117" fmla="*/ 693 h 905"/>
              <a:gd name="T118" fmla="*/ 674 w 708"/>
              <a:gd name="T119" fmla="*/ 659 h 905"/>
              <a:gd name="T120" fmla="*/ 708 w 708"/>
              <a:gd name="T121" fmla="*/ 586 h 905"/>
              <a:gd name="T122" fmla="*/ 689 w 708"/>
              <a:gd name="T123" fmla="*/ 505 h 905"/>
              <a:gd name="T124" fmla="*/ 625 w 708"/>
              <a:gd name="T125" fmla="*/ 45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8" h="905">
                <a:moveTo>
                  <a:pt x="588" y="664"/>
                </a:moveTo>
                <a:lnTo>
                  <a:pt x="558" y="664"/>
                </a:lnTo>
                <a:lnTo>
                  <a:pt x="558" y="482"/>
                </a:lnTo>
                <a:lnTo>
                  <a:pt x="588" y="482"/>
                </a:lnTo>
                <a:lnTo>
                  <a:pt x="598" y="483"/>
                </a:lnTo>
                <a:lnTo>
                  <a:pt x="607" y="484"/>
                </a:lnTo>
                <a:lnTo>
                  <a:pt x="616" y="486"/>
                </a:lnTo>
                <a:lnTo>
                  <a:pt x="625" y="490"/>
                </a:lnTo>
                <a:lnTo>
                  <a:pt x="632" y="493"/>
                </a:lnTo>
                <a:lnTo>
                  <a:pt x="640" y="497"/>
                </a:lnTo>
                <a:lnTo>
                  <a:pt x="647" y="502"/>
                </a:lnTo>
                <a:lnTo>
                  <a:pt x="654" y="508"/>
                </a:lnTo>
                <a:lnTo>
                  <a:pt x="659" y="514"/>
                </a:lnTo>
                <a:lnTo>
                  <a:pt x="664" y="521"/>
                </a:lnTo>
                <a:lnTo>
                  <a:pt x="669" y="528"/>
                </a:lnTo>
                <a:lnTo>
                  <a:pt x="672" y="537"/>
                </a:lnTo>
                <a:lnTo>
                  <a:pt x="675" y="544"/>
                </a:lnTo>
                <a:lnTo>
                  <a:pt x="677" y="554"/>
                </a:lnTo>
                <a:lnTo>
                  <a:pt x="678" y="564"/>
                </a:lnTo>
                <a:lnTo>
                  <a:pt x="678" y="573"/>
                </a:lnTo>
                <a:lnTo>
                  <a:pt x="678" y="583"/>
                </a:lnTo>
                <a:lnTo>
                  <a:pt x="677" y="592"/>
                </a:lnTo>
                <a:lnTo>
                  <a:pt x="675" y="601"/>
                </a:lnTo>
                <a:lnTo>
                  <a:pt x="672" y="610"/>
                </a:lnTo>
                <a:lnTo>
                  <a:pt x="669" y="617"/>
                </a:lnTo>
                <a:lnTo>
                  <a:pt x="664" y="625"/>
                </a:lnTo>
                <a:lnTo>
                  <a:pt x="659" y="631"/>
                </a:lnTo>
                <a:lnTo>
                  <a:pt x="654" y="638"/>
                </a:lnTo>
                <a:lnTo>
                  <a:pt x="647" y="644"/>
                </a:lnTo>
                <a:lnTo>
                  <a:pt x="640" y="649"/>
                </a:lnTo>
                <a:lnTo>
                  <a:pt x="632" y="653"/>
                </a:lnTo>
                <a:lnTo>
                  <a:pt x="625" y="657"/>
                </a:lnTo>
                <a:lnTo>
                  <a:pt x="616" y="659"/>
                </a:lnTo>
                <a:lnTo>
                  <a:pt x="607" y="662"/>
                </a:lnTo>
                <a:lnTo>
                  <a:pt x="598" y="663"/>
                </a:lnTo>
                <a:lnTo>
                  <a:pt x="588" y="664"/>
                </a:lnTo>
                <a:lnTo>
                  <a:pt x="588" y="664"/>
                </a:lnTo>
                <a:close/>
                <a:moveTo>
                  <a:pt x="528" y="814"/>
                </a:moveTo>
                <a:lnTo>
                  <a:pt x="528" y="821"/>
                </a:lnTo>
                <a:lnTo>
                  <a:pt x="527" y="827"/>
                </a:lnTo>
                <a:lnTo>
                  <a:pt x="526" y="833"/>
                </a:lnTo>
                <a:lnTo>
                  <a:pt x="523" y="838"/>
                </a:lnTo>
                <a:lnTo>
                  <a:pt x="520" y="843"/>
                </a:lnTo>
                <a:lnTo>
                  <a:pt x="518" y="849"/>
                </a:lnTo>
                <a:lnTo>
                  <a:pt x="515" y="853"/>
                </a:lnTo>
                <a:lnTo>
                  <a:pt x="511" y="857"/>
                </a:lnTo>
                <a:lnTo>
                  <a:pt x="506" y="862"/>
                </a:lnTo>
                <a:lnTo>
                  <a:pt x="502" y="865"/>
                </a:lnTo>
                <a:lnTo>
                  <a:pt x="497" y="868"/>
                </a:lnTo>
                <a:lnTo>
                  <a:pt x="491" y="870"/>
                </a:lnTo>
                <a:lnTo>
                  <a:pt x="486" y="872"/>
                </a:lnTo>
                <a:lnTo>
                  <a:pt x="480" y="873"/>
                </a:lnTo>
                <a:lnTo>
                  <a:pt x="474" y="874"/>
                </a:lnTo>
                <a:lnTo>
                  <a:pt x="467" y="874"/>
                </a:lnTo>
                <a:lnTo>
                  <a:pt x="135" y="874"/>
                </a:lnTo>
                <a:lnTo>
                  <a:pt x="130" y="874"/>
                </a:lnTo>
                <a:lnTo>
                  <a:pt x="123" y="873"/>
                </a:lnTo>
                <a:lnTo>
                  <a:pt x="118" y="872"/>
                </a:lnTo>
                <a:lnTo>
                  <a:pt x="111" y="870"/>
                </a:lnTo>
                <a:lnTo>
                  <a:pt x="106" y="867"/>
                </a:lnTo>
                <a:lnTo>
                  <a:pt x="102" y="865"/>
                </a:lnTo>
                <a:lnTo>
                  <a:pt x="97" y="861"/>
                </a:lnTo>
                <a:lnTo>
                  <a:pt x="93" y="857"/>
                </a:lnTo>
                <a:lnTo>
                  <a:pt x="89" y="853"/>
                </a:lnTo>
                <a:lnTo>
                  <a:pt x="86" y="848"/>
                </a:lnTo>
                <a:lnTo>
                  <a:pt x="82" y="843"/>
                </a:lnTo>
                <a:lnTo>
                  <a:pt x="80" y="838"/>
                </a:lnTo>
                <a:lnTo>
                  <a:pt x="78" y="833"/>
                </a:lnTo>
                <a:lnTo>
                  <a:pt x="76" y="826"/>
                </a:lnTo>
                <a:lnTo>
                  <a:pt x="76" y="821"/>
                </a:lnTo>
                <a:lnTo>
                  <a:pt x="75" y="814"/>
                </a:lnTo>
                <a:lnTo>
                  <a:pt x="75" y="422"/>
                </a:lnTo>
                <a:lnTo>
                  <a:pt x="90" y="422"/>
                </a:lnTo>
                <a:lnTo>
                  <a:pt x="211" y="422"/>
                </a:lnTo>
                <a:lnTo>
                  <a:pt x="211" y="422"/>
                </a:lnTo>
                <a:lnTo>
                  <a:pt x="242" y="422"/>
                </a:lnTo>
                <a:lnTo>
                  <a:pt x="422" y="422"/>
                </a:lnTo>
                <a:lnTo>
                  <a:pt x="435" y="422"/>
                </a:lnTo>
                <a:lnTo>
                  <a:pt x="435" y="422"/>
                </a:lnTo>
                <a:lnTo>
                  <a:pt x="435" y="422"/>
                </a:lnTo>
                <a:lnTo>
                  <a:pt x="436" y="422"/>
                </a:lnTo>
                <a:lnTo>
                  <a:pt x="514" y="422"/>
                </a:lnTo>
                <a:lnTo>
                  <a:pt x="514" y="422"/>
                </a:lnTo>
                <a:lnTo>
                  <a:pt x="514" y="422"/>
                </a:lnTo>
                <a:lnTo>
                  <a:pt x="528" y="422"/>
                </a:lnTo>
                <a:lnTo>
                  <a:pt x="528" y="814"/>
                </a:lnTo>
                <a:close/>
                <a:moveTo>
                  <a:pt x="49" y="292"/>
                </a:moveTo>
                <a:lnTo>
                  <a:pt x="115" y="249"/>
                </a:lnTo>
                <a:lnTo>
                  <a:pt x="187" y="392"/>
                </a:lnTo>
                <a:lnTo>
                  <a:pt x="100" y="392"/>
                </a:lnTo>
                <a:lnTo>
                  <a:pt x="49" y="292"/>
                </a:lnTo>
                <a:close/>
                <a:moveTo>
                  <a:pt x="92" y="227"/>
                </a:moveTo>
                <a:lnTo>
                  <a:pt x="42" y="260"/>
                </a:lnTo>
                <a:lnTo>
                  <a:pt x="34" y="194"/>
                </a:lnTo>
                <a:lnTo>
                  <a:pt x="92" y="227"/>
                </a:lnTo>
                <a:close/>
                <a:moveTo>
                  <a:pt x="257" y="30"/>
                </a:moveTo>
                <a:lnTo>
                  <a:pt x="407" y="30"/>
                </a:lnTo>
                <a:lnTo>
                  <a:pt x="407" y="91"/>
                </a:lnTo>
                <a:lnTo>
                  <a:pt x="332" y="91"/>
                </a:lnTo>
                <a:lnTo>
                  <a:pt x="329" y="91"/>
                </a:lnTo>
                <a:lnTo>
                  <a:pt x="325" y="92"/>
                </a:lnTo>
                <a:lnTo>
                  <a:pt x="323" y="93"/>
                </a:lnTo>
                <a:lnTo>
                  <a:pt x="321" y="95"/>
                </a:lnTo>
                <a:lnTo>
                  <a:pt x="319" y="97"/>
                </a:lnTo>
                <a:lnTo>
                  <a:pt x="318" y="100"/>
                </a:lnTo>
                <a:lnTo>
                  <a:pt x="317" y="102"/>
                </a:lnTo>
                <a:lnTo>
                  <a:pt x="317" y="106"/>
                </a:lnTo>
                <a:lnTo>
                  <a:pt x="317" y="109"/>
                </a:lnTo>
                <a:lnTo>
                  <a:pt x="318" y="111"/>
                </a:lnTo>
                <a:lnTo>
                  <a:pt x="319" y="114"/>
                </a:lnTo>
                <a:lnTo>
                  <a:pt x="321" y="116"/>
                </a:lnTo>
                <a:lnTo>
                  <a:pt x="323" y="119"/>
                </a:lnTo>
                <a:lnTo>
                  <a:pt x="325" y="120"/>
                </a:lnTo>
                <a:lnTo>
                  <a:pt x="329" y="121"/>
                </a:lnTo>
                <a:lnTo>
                  <a:pt x="332" y="121"/>
                </a:lnTo>
                <a:lnTo>
                  <a:pt x="407" y="121"/>
                </a:lnTo>
                <a:lnTo>
                  <a:pt x="407" y="151"/>
                </a:lnTo>
                <a:lnTo>
                  <a:pt x="362" y="151"/>
                </a:lnTo>
                <a:lnTo>
                  <a:pt x="359" y="151"/>
                </a:lnTo>
                <a:lnTo>
                  <a:pt x="356" y="152"/>
                </a:lnTo>
                <a:lnTo>
                  <a:pt x="353" y="153"/>
                </a:lnTo>
                <a:lnTo>
                  <a:pt x="351" y="155"/>
                </a:lnTo>
                <a:lnTo>
                  <a:pt x="349" y="157"/>
                </a:lnTo>
                <a:lnTo>
                  <a:pt x="348" y="160"/>
                </a:lnTo>
                <a:lnTo>
                  <a:pt x="347" y="163"/>
                </a:lnTo>
                <a:lnTo>
                  <a:pt x="347" y="166"/>
                </a:lnTo>
                <a:lnTo>
                  <a:pt x="347" y="169"/>
                </a:lnTo>
                <a:lnTo>
                  <a:pt x="348" y="172"/>
                </a:lnTo>
                <a:lnTo>
                  <a:pt x="349" y="174"/>
                </a:lnTo>
                <a:lnTo>
                  <a:pt x="351" y="177"/>
                </a:lnTo>
                <a:lnTo>
                  <a:pt x="353" y="179"/>
                </a:lnTo>
                <a:lnTo>
                  <a:pt x="356" y="180"/>
                </a:lnTo>
                <a:lnTo>
                  <a:pt x="359" y="181"/>
                </a:lnTo>
                <a:lnTo>
                  <a:pt x="362" y="181"/>
                </a:lnTo>
                <a:lnTo>
                  <a:pt x="407" y="181"/>
                </a:lnTo>
                <a:lnTo>
                  <a:pt x="407" y="211"/>
                </a:lnTo>
                <a:lnTo>
                  <a:pt x="332" y="211"/>
                </a:lnTo>
                <a:lnTo>
                  <a:pt x="329" y="211"/>
                </a:lnTo>
                <a:lnTo>
                  <a:pt x="325" y="212"/>
                </a:lnTo>
                <a:lnTo>
                  <a:pt x="323" y="214"/>
                </a:lnTo>
                <a:lnTo>
                  <a:pt x="321" y="215"/>
                </a:lnTo>
                <a:lnTo>
                  <a:pt x="319" y="217"/>
                </a:lnTo>
                <a:lnTo>
                  <a:pt x="318" y="221"/>
                </a:lnTo>
                <a:lnTo>
                  <a:pt x="317" y="223"/>
                </a:lnTo>
                <a:lnTo>
                  <a:pt x="317" y="226"/>
                </a:lnTo>
                <a:lnTo>
                  <a:pt x="317" y="229"/>
                </a:lnTo>
                <a:lnTo>
                  <a:pt x="318" y="233"/>
                </a:lnTo>
                <a:lnTo>
                  <a:pt x="319" y="235"/>
                </a:lnTo>
                <a:lnTo>
                  <a:pt x="321" y="237"/>
                </a:lnTo>
                <a:lnTo>
                  <a:pt x="323" y="239"/>
                </a:lnTo>
                <a:lnTo>
                  <a:pt x="325" y="240"/>
                </a:lnTo>
                <a:lnTo>
                  <a:pt x="329" y="241"/>
                </a:lnTo>
                <a:lnTo>
                  <a:pt x="332" y="241"/>
                </a:lnTo>
                <a:lnTo>
                  <a:pt x="407" y="241"/>
                </a:lnTo>
                <a:lnTo>
                  <a:pt x="407" y="301"/>
                </a:lnTo>
                <a:lnTo>
                  <a:pt x="362" y="301"/>
                </a:lnTo>
                <a:lnTo>
                  <a:pt x="359" y="302"/>
                </a:lnTo>
                <a:lnTo>
                  <a:pt x="356" y="302"/>
                </a:lnTo>
                <a:lnTo>
                  <a:pt x="353" y="305"/>
                </a:lnTo>
                <a:lnTo>
                  <a:pt x="351" y="306"/>
                </a:lnTo>
                <a:lnTo>
                  <a:pt x="349" y="308"/>
                </a:lnTo>
                <a:lnTo>
                  <a:pt x="348" y="311"/>
                </a:lnTo>
                <a:lnTo>
                  <a:pt x="347" y="313"/>
                </a:lnTo>
                <a:lnTo>
                  <a:pt x="347" y="316"/>
                </a:lnTo>
                <a:lnTo>
                  <a:pt x="347" y="320"/>
                </a:lnTo>
                <a:lnTo>
                  <a:pt x="348" y="323"/>
                </a:lnTo>
                <a:lnTo>
                  <a:pt x="349" y="325"/>
                </a:lnTo>
                <a:lnTo>
                  <a:pt x="351" y="327"/>
                </a:lnTo>
                <a:lnTo>
                  <a:pt x="353" y="329"/>
                </a:lnTo>
                <a:lnTo>
                  <a:pt x="356" y="330"/>
                </a:lnTo>
                <a:lnTo>
                  <a:pt x="359" y="331"/>
                </a:lnTo>
                <a:lnTo>
                  <a:pt x="362" y="331"/>
                </a:lnTo>
                <a:lnTo>
                  <a:pt x="407" y="331"/>
                </a:lnTo>
                <a:lnTo>
                  <a:pt x="407" y="392"/>
                </a:lnTo>
                <a:lnTo>
                  <a:pt x="257" y="392"/>
                </a:lnTo>
                <a:lnTo>
                  <a:pt x="257" y="30"/>
                </a:lnTo>
                <a:close/>
                <a:moveTo>
                  <a:pt x="547" y="237"/>
                </a:moveTo>
                <a:lnTo>
                  <a:pt x="554" y="240"/>
                </a:lnTo>
                <a:lnTo>
                  <a:pt x="561" y="241"/>
                </a:lnTo>
                <a:lnTo>
                  <a:pt x="504" y="392"/>
                </a:lnTo>
                <a:lnTo>
                  <a:pt x="461" y="392"/>
                </a:lnTo>
                <a:lnTo>
                  <a:pt x="547" y="237"/>
                </a:lnTo>
                <a:lnTo>
                  <a:pt x="547" y="237"/>
                </a:lnTo>
                <a:lnTo>
                  <a:pt x="547" y="237"/>
                </a:lnTo>
                <a:lnTo>
                  <a:pt x="547" y="237"/>
                </a:lnTo>
                <a:close/>
                <a:moveTo>
                  <a:pt x="533" y="149"/>
                </a:moveTo>
                <a:lnTo>
                  <a:pt x="540" y="137"/>
                </a:lnTo>
                <a:lnTo>
                  <a:pt x="549" y="125"/>
                </a:lnTo>
                <a:lnTo>
                  <a:pt x="556" y="117"/>
                </a:lnTo>
                <a:lnTo>
                  <a:pt x="561" y="109"/>
                </a:lnTo>
                <a:lnTo>
                  <a:pt x="568" y="100"/>
                </a:lnTo>
                <a:lnTo>
                  <a:pt x="572" y="91"/>
                </a:lnTo>
                <a:lnTo>
                  <a:pt x="576" y="80"/>
                </a:lnTo>
                <a:lnTo>
                  <a:pt x="579" y="69"/>
                </a:lnTo>
                <a:lnTo>
                  <a:pt x="580" y="63"/>
                </a:lnTo>
                <a:lnTo>
                  <a:pt x="580" y="57"/>
                </a:lnTo>
                <a:lnTo>
                  <a:pt x="580" y="51"/>
                </a:lnTo>
                <a:lnTo>
                  <a:pt x="579" y="44"/>
                </a:lnTo>
                <a:lnTo>
                  <a:pt x="587" y="49"/>
                </a:lnTo>
                <a:lnTo>
                  <a:pt x="594" y="54"/>
                </a:lnTo>
                <a:lnTo>
                  <a:pt x="601" y="60"/>
                </a:lnTo>
                <a:lnTo>
                  <a:pt x="606" y="66"/>
                </a:lnTo>
                <a:lnTo>
                  <a:pt x="612" y="72"/>
                </a:lnTo>
                <a:lnTo>
                  <a:pt x="616" y="80"/>
                </a:lnTo>
                <a:lnTo>
                  <a:pt x="620" y="86"/>
                </a:lnTo>
                <a:lnTo>
                  <a:pt x="623" y="94"/>
                </a:lnTo>
                <a:lnTo>
                  <a:pt x="629" y="109"/>
                </a:lnTo>
                <a:lnTo>
                  <a:pt x="632" y="124"/>
                </a:lnTo>
                <a:lnTo>
                  <a:pt x="633" y="140"/>
                </a:lnTo>
                <a:lnTo>
                  <a:pt x="632" y="155"/>
                </a:lnTo>
                <a:lnTo>
                  <a:pt x="631" y="165"/>
                </a:lnTo>
                <a:lnTo>
                  <a:pt x="628" y="176"/>
                </a:lnTo>
                <a:lnTo>
                  <a:pt x="623" y="186"/>
                </a:lnTo>
                <a:lnTo>
                  <a:pt x="618" y="195"/>
                </a:lnTo>
                <a:lnTo>
                  <a:pt x="615" y="199"/>
                </a:lnTo>
                <a:lnTo>
                  <a:pt x="612" y="203"/>
                </a:lnTo>
                <a:lnTo>
                  <a:pt x="607" y="207"/>
                </a:lnTo>
                <a:lnTo>
                  <a:pt x="603" y="209"/>
                </a:lnTo>
                <a:lnTo>
                  <a:pt x="599" y="211"/>
                </a:lnTo>
                <a:lnTo>
                  <a:pt x="593" y="213"/>
                </a:lnTo>
                <a:lnTo>
                  <a:pt x="588" y="214"/>
                </a:lnTo>
                <a:lnTo>
                  <a:pt x="583" y="214"/>
                </a:lnTo>
                <a:lnTo>
                  <a:pt x="583" y="214"/>
                </a:lnTo>
                <a:lnTo>
                  <a:pt x="577" y="214"/>
                </a:lnTo>
                <a:lnTo>
                  <a:pt x="571" y="213"/>
                </a:lnTo>
                <a:lnTo>
                  <a:pt x="565" y="212"/>
                </a:lnTo>
                <a:lnTo>
                  <a:pt x="559" y="209"/>
                </a:lnTo>
                <a:lnTo>
                  <a:pt x="550" y="205"/>
                </a:lnTo>
                <a:lnTo>
                  <a:pt x="543" y="199"/>
                </a:lnTo>
                <a:lnTo>
                  <a:pt x="536" y="192"/>
                </a:lnTo>
                <a:lnTo>
                  <a:pt x="532" y="184"/>
                </a:lnTo>
                <a:lnTo>
                  <a:pt x="530" y="176"/>
                </a:lnTo>
                <a:lnTo>
                  <a:pt x="529" y="167"/>
                </a:lnTo>
                <a:lnTo>
                  <a:pt x="530" y="157"/>
                </a:lnTo>
                <a:lnTo>
                  <a:pt x="533" y="149"/>
                </a:lnTo>
                <a:close/>
                <a:moveTo>
                  <a:pt x="588" y="452"/>
                </a:moveTo>
                <a:lnTo>
                  <a:pt x="558" y="452"/>
                </a:lnTo>
                <a:lnTo>
                  <a:pt x="558" y="407"/>
                </a:lnTo>
                <a:lnTo>
                  <a:pt x="558" y="404"/>
                </a:lnTo>
                <a:lnTo>
                  <a:pt x="557" y="401"/>
                </a:lnTo>
                <a:lnTo>
                  <a:pt x="556" y="399"/>
                </a:lnTo>
                <a:lnTo>
                  <a:pt x="554" y="396"/>
                </a:lnTo>
                <a:lnTo>
                  <a:pt x="551" y="395"/>
                </a:lnTo>
                <a:lnTo>
                  <a:pt x="548" y="393"/>
                </a:lnTo>
                <a:lnTo>
                  <a:pt x="546" y="393"/>
                </a:lnTo>
                <a:lnTo>
                  <a:pt x="543" y="392"/>
                </a:lnTo>
                <a:lnTo>
                  <a:pt x="536" y="392"/>
                </a:lnTo>
                <a:lnTo>
                  <a:pt x="592" y="244"/>
                </a:lnTo>
                <a:lnTo>
                  <a:pt x="599" y="242"/>
                </a:lnTo>
                <a:lnTo>
                  <a:pt x="605" y="241"/>
                </a:lnTo>
                <a:lnTo>
                  <a:pt x="612" y="238"/>
                </a:lnTo>
                <a:lnTo>
                  <a:pt x="618" y="235"/>
                </a:lnTo>
                <a:lnTo>
                  <a:pt x="623" y="231"/>
                </a:lnTo>
                <a:lnTo>
                  <a:pt x="629" y="227"/>
                </a:lnTo>
                <a:lnTo>
                  <a:pt x="634" y="223"/>
                </a:lnTo>
                <a:lnTo>
                  <a:pt x="639" y="217"/>
                </a:lnTo>
                <a:lnTo>
                  <a:pt x="644" y="211"/>
                </a:lnTo>
                <a:lnTo>
                  <a:pt x="647" y="206"/>
                </a:lnTo>
                <a:lnTo>
                  <a:pt x="651" y="198"/>
                </a:lnTo>
                <a:lnTo>
                  <a:pt x="655" y="192"/>
                </a:lnTo>
                <a:lnTo>
                  <a:pt x="657" y="184"/>
                </a:lnTo>
                <a:lnTo>
                  <a:pt x="659" y="176"/>
                </a:lnTo>
                <a:lnTo>
                  <a:pt x="661" y="167"/>
                </a:lnTo>
                <a:lnTo>
                  <a:pt x="662" y="158"/>
                </a:lnTo>
                <a:lnTo>
                  <a:pt x="663" y="147"/>
                </a:lnTo>
                <a:lnTo>
                  <a:pt x="663" y="135"/>
                </a:lnTo>
                <a:lnTo>
                  <a:pt x="662" y="123"/>
                </a:lnTo>
                <a:lnTo>
                  <a:pt x="661" y="111"/>
                </a:lnTo>
                <a:lnTo>
                  <a:pt x="658" y="99"/>
                </a:lnTo>
                <a:lnTo>
                  <a:pt x="654" y="87"/>
                </a:lnTo>
                <a:lnTo>
                  <a:pt x="649" y="77"/>
                </a:lnTo>
                <a:lnTo>
                  <a:pt x="643" y="66"/>
                </a:lnTo>
                <a:lnTo>
                  <a:pt x="636" y="55"/>
                </a:lnTo>
                <a:lnTo>
                  <a:pt x="628" y="45"/>
                </a:lnTo>
                <a:lnTo>
                  <a:pt x="619" y="36"/>
                </a:lnTo>
                <a:lnTo>
                  <a:pt x="608" y="27"/>
                </a:lnTo>
                <a:lnTo>
                  <a:pt x="598" y="20"/>
                </a:lnTo>
                <a:lnTo>
                  <a:pt x="585" y="13"/>
                </a:lnTo>
                <a:lnTo>
                  <a:pt x="571" y="8"/>
                </a:lnTo>
                <a:lnTo>
                  <a:pt x="556" y="3"/>
                </a:lnTo>
                <a:lnTo>
                  <a:pt x="551" y="2"/>
                </a:lnTo>
                <a:lnTo>
                  <a:pt x="547" y="3"/>
                </a:lnTo>
                <a:lnTo>
                  <a:pt x="543" y="6"/>
                </a:lnTo>
                <a:lnTo>
                  <a:pt x="540" y="9"/>
                </a:lnTo>
                <a:lnTo>
                  <a:pt x="537" y="13"/>
                </a:lnTo>
                <a:lnTo>
                  <a:pt x="537" y="17"/>
                </a:lnTo>
                <a:lnTo>
                  <a:pt x="537" y="22"/>
                </a:lnTo>
                <a:lnTo>
                  <a:pt x="540" y="26"/>
                </a:lnTo>
                <a:lnTo>
                  <a:pt x="543" y="33"/>
                </a:lnTo>
                <a:lnTo>
                  <a:pt x="546" y="38"/>
                </a:lnTo>
                <a:lnTo>
                  <a:pt x="548" y="44"/>
                </a:lnTo>
                <a:lnTo>
                  <a:pt x="549" y="50"/>
                </a:lnTo>
                <a:lnTo>
                  <a:pt x="550" y="55"/>
                </a:lnTo>
                <a:lnTo>
                  <a:pt x="550" y="60"/>
                </a:lnTo>
                <a:lnTo>
                  <a:pt x="549" y="65"/>
                </a:lnTo>
                <a:lnTo>
                  <a:pt x="548" y="70"/>
                </a:lnTo>
                <a:lnTo>
                  <a:pt x="545" y="79"/>
                </a:lnTo>
                <a:lnTo>
                  <a:pt x="540" y="88"/>
                </a:lnTo>
                <a:lnTo>
                  <a:pt x="533" y="97"/>
                </a:lnTo>
                <a:lnTo>
                  <a:pt x="526" y="107"/>
                </a:lnTo>
                <a:lnTo>
                  <a:pt x="520" y="113"/>
                </a:lnTo>
                <a:lnTo>
                  <a:pt x="515" y="121"/>
                </a:lnTo>
                <a:lnTo>
                  <a:pt x="509" y="128"/>
                </a:lnTo>
                <a:lnTo>
                  <a:pt x="505" y="137"/>
                </a:lnTo>
                <a:lnTo>
                  <a:pt x="503" y="144"/>
                </a:lnTo>
                <a:lnTo>
                  <a:pt x="501" y="152"/>
                </a:lnTo>
                <a:lnTo>
                  <a:pt x="500" y="159"/>
                </a:lnTo>
                <a:lnTo>
                  <a:pt x="499" y="167"/>
                </a:lnTo>
                <a:lnTo>
                  <a:pt x="499" y="174"/>
                </a:lnTo>
                <a:lnTo>
                  <a:pt x="500" y="182"/>
                </a:lnTo>
                <a:lnTo>
                  <a:pt x="502" y="190"/>
                </a:lnTo>
                <a:lnTo>
                  <a:pt x="504" y="196"/>
                </a:lnTo>
                <a:lnTo>
                  <a:pt x="507" y="202"/>
                </a:lnTo>
                <a:lnTo>
                  <a:pt x="512" y="209"/>
                </a:lnTo>
                <a:lnTo>
                  <a:pt x="516" y="215"/>
                </a:lnTo>
                <a:lnTo>
                  <a:pt x="521" y="221"/>
                </a:lnTo>
                <a:lnTo>
                  <a:pt x="437" y="373"/>
                </a:lnTo>
                <a:lnTo>
                  <a:pt x="437" y="15"/>
                </a:lnTo>
                <a:lnTo>
                  <a:pt x="437" y="12"/>
                </a:lnTo>
                <a:lnTo>
                  <a:pt x="436" y="9"/>
                </a:lnTo>
                <a:lnTo>
                  <a:pt x="434" y="7"/>
                </a:lnTo>
                <a:lnTo>
                  <a:pt x="433" y="5"/>
                </a:lnTo>
                <a:lnTo>
                  <a:pt x="431" y="2"/>
                </a:lnTo>
                <a:lnTo>
                  <a:pt x="428" y="1"/>
                </a:lnTo>
                <a:lnTo>
                  <a:pt x="426" y="0"/>
                </a:lnTo>
                <a:lnTo>
                  <a:pt x="422" y="0"/>
                </a:lnTo>
                <a:lnTo>
                  <a:pt x="242" y="0"/>
                </a:lnTo>
                <a:lnTo>
                  <a:pt x="238" y="0"/>
                </a:lnTo>
                <a:lnTo>
                  <a:pt x="235" y="1"/>
                </a:lnTo>
                <a:lnTo>
                  <a:pt x="233" y="2"/>
                </a:lnTo>
                <a:lnTo>
                  <a:pt x="231" y="5"/>
                </a:lnTo>
                <a:lnTo>
                  <a:pt x="229" y="7"/>
                </a:lnTo>
                <a:lnTo>
                  <a:pt x="228" y="9"/>
                </a:lnTo>
                <a:lnTo>
                  <a:pt x="227" y="12"/>
                </a:lnTo>
                <a:lnTo>
                  <a:pt x="227" y="15"/>
                </a:lnTo>
                <a:lnTo>
                  <a:pt x="227" y="392"/>
                </a:lnTo>
                <a:lnTo>
                  <a:pt x="220" y="392"/>
                </a:lnTo>
                <a:lnTo>
                  <a:pt x="134" y="220"/>
                </a:lnTo>
                <a:lnTo>
                  <a:pt x="134" y="219"/>
                </a:lnTo>
                <a:lnTo>
                  <a:pt x="133" y="219"/>
                </a:lnTo>
                <a:lnTo>
                  <a:pt x="133" y="219"/>
                </a:lnTo>
                <a:lnTo>
                  <a:pt x="133" y="217"/>
                </a:lnTo>
                <a:lnTo>
                  <a:pt x="133" y="217"/>
                </a:lnTo>
                <a:lnTo>
                  <a:pt x="132" y="217"/>
                </a:lnTo>
                <a:lnTo>
                  <a:pt x="131" y="215"/>
                </a:lnTo>
                <a:lnTo>
                  <a:pt x="130" y="214"/>
                </a:lnTo>
                <a:lnTo>
                  <a:pt x="129" y="214"/>
                </a:lnTo>
                <a:lnTo>
                  <a:pt x="129" y="213"/>
                </a:lnTo>
                <a:lnTo>
                  <a:pt x="129" y="213"/>
                </a:lnTo>
                <a:lnTo>
                  <a:pt x="128" y="213"/>
                </a:lnTo>
                <a:lnTo>
                  <a:pt x="22" y="153"/>
                </a:lnTo>
                <a:lnTo>
                  <a:pt x="19" y="151"/>
                </a:lnTo>
                <a:lnTo>
                  <a:pt x="15" y="151"/>
                </a:lnTo>
                <a:lnTo>
                  <a:pt x="10" y="152"/>
                </a:lnTo>
                <a:lnTo>
                  <a:pt x="6" y="153"/>
                </a:lnTo>
                <a:lnTo>
                  <a:pt x="4" y="156"/>
                </a:lnTo>
                <a:lnTo>
                  <a:pt x="2" y="159"/>
                </a:lnTo>
                <a:lnTo>
                  <a:pt x="0" y="164"/>
                </a:lnTo>
                <a:lnTo>
                  <a:pt x="0" y="168"/>
                </a:lnTo>
                <a:lnTo>
                  <a:pt x="15" y="288"/>
                </a:lnTo>
                <a:lnTo>
                  <a:pt x="15" y="288"/>
                </a:lnTo>
                <a:lnTo>
                  <a:pt x="15" y="288"/>
                </a:lnTo>
                <a:lnTo>
                  <a:pt x="16" y="290"/>
                </a:lnTo>
                <a:lnTo>
                  <a:pt x="16" y="291"/>
                </a:lnTo>
                <a:lnTo>
                  <a:pt x="16" y="292"/>
                </a:lnTo>
                <a:lnTo>
                  <a:pt x="17" y="294"/>
                </a:lnTo>
                <a:lnTo>
                  <a:pt x="66" y="392"/>
                </a:lnTo>
                <a:lnTo>
                  <a:pt x="60" y="392"/>
                </a:lnTo>
                <a:lnTo>
                  <a:pt x="57" y="393"/>
                </a:lnTo>
                <a:lnTo>
                  <a:pt x="54" y="393"/>
                </a:lnTo>
                <a:lnTo>
                  <a:pt x="51" y="395"/>
                </a:lnTo>
                <a:lnTo>
                  <a:pt x="49" y="396"/>
                </a:lnTo>
                <a:lnTo>
                  <a:pt x="48" y="399"/>
                </a:lnTo>
                <a:lnTo>
                  <a:pt x="46" y="401"/>
                </a:lnTo>
                <a:lnTo>
                  <a:pt x="46" y="405"/>
                </a:lnTo>
                <a:lnTo>
                  <a:pt x="45" y="407"/>
                </a:lnTo>
                <a:lnTo>
                  <a:pt x="45" y="814"/>
                </a:lnTo>
                <a:lnTo>
                  <a:pt x="46" y="824"/>
                </a:lnTo>
                <a:lnTo>
                  <a:pt x="47" y="833"/>
                </a:lnTo>
                <a:lnTo>
                  <a:pt x="49" y="841"/>
                </a:lnTo>
                <a:lnTo>
                  <a:pt x="52" y="850"/>
                </a:lnTo>
                <a:lnTo>
                  <a:pt x="56" y="857"/>
                </a:lnTo>
                <a:lnTo>
                  <a:pt x="60" y="865"/>
                </a:lnTo>
                <a:lnTo>
                  <a:pt x="65" y="872"/>
                </a:lnTo>
                <a:lnTo>
                  <a:pt x="72" y="879"/>
                </a:lnTo>
                <a:lnTo>
                  <a:pt x="78" y="884"/>
                </a:lnTo>
                <a:lnTo>
                  <a:pt x="85" y="890"/>
                </a:lnTo>
                <a:lnTo>
                  <a:pt x="92" y="894"/>
                </a:lnTo>
                <a:lnTo>
                  <a:pt x="100" y="898"/>
                </a:lnTo>
                <a:lnTo>
                  <a:pt x="108" y="900"/>
                </a:lnTo>
                <a:lnTo>
                  <a:pt x="117" y="902"/>
                </a:lnTo>
                <a:lnTo>
                  <a:pt x="127" y="905"/>
                </a:lnTo>
                <a:lnTo>
                  <a:pt x="135" y="905"/>
                </a:lnTo>
                <a:lnTo>
                  <a:pt x="467" y="905"/>
                </a:lnTo>
                <a:lnTo>
                  <a:pt x="477" y="905"/>
                </a:lnTo>
                <a:lnTo>
                  <a:pt x="486" y="902"/>
                </a:lnTo>
                <a:lnTo>
                  <a:pt x="494" y="900"/>
                </a:lnTo>
                <a:lnTo>
                  <a:pt x="503" y="898"/>
                </a:lnTo>
                <a:lnTo>
                  <a:pt x="512" y="894"/>
                </a:lnTo>
                <a:lnTo>
                  <a:pt x="519" y="890"/>
                </a:lnTo>
                <a:lnTo>
                  <a:pt x="526" y="884"/>
                </a:lnTo>
                <a:lnTo>
                  <a:pt x="532" y="879"/>
                </a:lnTo>
                <a:lnTo>
                  <a:pt x="537" y="872"/>
                </a:lnTo>
                <a:lnTo>
                  <a:pt x="543" y="866"/>
                </a:lnTo>
                <a:lnTo>
                  <a:pt x="547" y="858"/>
                </a:lnTo>
                <a:lnTo>
                  <a:pt x="551" y="850"/>
                </a:lnTo>
                <a:lnTo>
                  <a:pt x="554" y="842"/>
                </a:lnTo>
                <a:lnTo>
                  <a:pt x="556" y="833"/>
                </a:lnTo>
                <a:lnTo>
                  <a:pt x="558" y="824"/>
                </a:lnTo>
                <a:lnTo>
                  <a:pt x="558" y="814"/>
                </a:lnTo>
                <a:lnTo>
                  <a:pt x="558" y="694"/>
                </a:lnTo>
                <a:lnTo>
                  <a:pt x="588" y="694"/>
                </a:lnTo>
                <a:lnTo>
                  <a:pt x="601" y="693"/>
                </a:lnTo>
                <a:lnTo>
                  <a:pt x="613" y="692"/>
                </a:lnTo>
                <a:lnTo>
                  <a:pt x="625" y="688"/>
                </a:lnTo>
                <a:lnTo>
                  <a:pt x="636" y="684"/>
                </a:lnTo>
                <a:lnTo>
                  <a:pt x="647" y="680"/>
                </a:lnTo>
                <a:lnTo>
                  <a:pt x="657" y="673"/>
                </a:lnTo>
                <a:lnTo>
                  <a:pt x="666" y="667"/>
                </a:lnTo>
                <a:lnTo>
                  <a:pt x="674" y="659"/>
                </a:lnTo>
                <a:lnTo>
                  <a:pt x="683" y="651"/>
                </a:lnTo>
                <a:lnTo>
                  <a:pt x="689" y="642"/>
                </a:lnTo>
                <a:lnTo>
                  <a:pt x="694" y="631"/>
                </a:lnTo>
                <a:lnTo>
                  <a:pt x="700" y="622"/>
                </a:lnTo>
                <a:lnTo>
                  <a:pt x="703" y="610"/>
                </a:lnTo>
                <a:lnTo>
                  <a:pt x="706" y="598"/>
                </a:lnTo>
                <a:lnTo>
                  <a:pt x="708" y="586"/>
                </a:lnTo>
                <a:lnTo>
                  <a:pt x="708" y="573"/>
                </a:lnTo>
                <a:lnTo>
                  <a:pt x="708" y="561"/>
                </a:lnTo>
                <a:lnTo>
                  <a:pt x="706" y="548"/>
                </a:lnTo>
                <a:lnTo>
                  <a:pt x="703" y="536"/>
                </a:lnTo>
                <a:lnTo>
                  <a:pt x="700" y="525"/>
                </a:lnTo>
                <a:lnTo>
                  <a:pt x="694" y="514"/>
                </a:lnTo>
                <a:lnTo>
                  <a:pt x="689" y="505"/>
                </a:lnTo>
                <a:lnTo>
                  <a:pt x="683" y="495"/>
                </a:lnTo>
                <a:lnTo>
                  <a:pt x="674" y="486"/>
                </a:lnTo>
                <a:lnTo>
                  <a:pt x="666" y="479"/>
                </a:lnTo>
                <a:lnTo>
                  <a:pt x="657" y="472"/>
                </a:lnTo>
                <a:lnTo>
                  <a:pt x="647" y="466"/>
                </a:lnTo>
                <a:lnTo>
                  <a:pt x="636" y="462"/>
                </a:lnTo>
                <a:lnTo>
                  <a:pt x="625" y="457"/>
                </a:lnTo>
                <a:lnTo>
                  <a:pt x="613" y="455"/>
                </a:lnTo>
                <a:lnTo>
                  <a:pt x="601" y="453"/>
                </a:lnTo>
                <a:lnTo>
                  <a:pt x="588" y="452"/>
                </a:lnTo>
                <a:close/>
              </a:path>
            </a:pathLst>
          </a:custGeom>
          <a:solidFill>
            <a:schemeClr val="bg1"/>
          </a:solidFill>
          <a:ln>
            <a:noFill/>
          </a:ln>
        </p:spPr>
        <p:txBody>
          <a:bodyPr vert="horz" wrap="square" lIns="68580" tIns="34290" rIns="68580" bIns="34290" numCol="1" anchor="t" anchorCtr="0" compatLnSpc="1"/>
          <a:lstStyle/>
          <a:p>
            <a:endParaRPr lang="en-US" sz="1015"/>
          </a:p>
        </p:txBody>
      </p:sp>
      <p:pic>
        <p:nvPicPr>
          <p:cNvPr id="3" name="图片占位符 2"/>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24346" r="24346"/>
          <a:stretch>
            <a:fillRect/>
          </a:stretch>
        </p:blipFill>
        <p:spPr/>
      </p:pic>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占位符 2"/>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t="2638" b="2638"/>
          <a:stretch>
            <a:fillRect/>
          </a:stretch>
        </p:blipFill>
        <p:spPr/>
      </p:pic>
      <p:sp>
        <p:nvSpPr>
          <p:cNvPr id="9" name="Rectangle 8"/>
          <p:cNvSpPr/>
          <p:nvPr/>
        </p:nvSpPr>
        <p:spPr>
          <a:xfrm>
            <a:off x="183356" y="233734"/>
            <a:ext cx="3176588" cy="4676033"/>
          </a:xfrm>
          <a:prstGeom prst="rect">
            <a:avLst/>
          </a:prstGeom>
          <a:solidFill>
            <a:srgbClr val="548235">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0" name="Rectangle 9"/>
          <p:cNvSpPr/>
          <p:nvPr/>
        </p:nvSpPr>
        <p:spPr>
          <a:xfrm>
            <a:off x="5826682" y="483252"/>
            <a:ext cx="2830371" cy="2287848"/>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1" name="Title 1"/>
          <p:cNvSpPr txBox="1"/>
          <p:nvPr/>
        </p:nvSpPr>
        <p:spPr>
          <a:xfrm>
            <a:off x="5920608" y="647389"/>
            <a:ext cx="2500919" cy="784830"/>
          </a:xfrm>
          <a:prstGeom prst="rect">
            <a:avLst/>
          </a:prstGeom>
          <a:noFill/>
        </p:spPr>
        <p:txBody>
          <a:bodyPr wrap="square">
            <a:spAutoFit/>
          </a:bodyPr>
          <a:lstStyle>
            <a:defPPr>
              <a:defRPr lang="en-US"/>
            </a:defPPr>
            <a:lvl1pPr>
              <a:defRPr sz="960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500" b="1" dirty="0">
                <a:solidFill>
                  <a:schemeClr val="bg1"/>
                </a:solidFill>
                <a:latin typeface="Lato" panose="020F0502020204030203" pitchFamily="34" charset="0"/>
                <a:cs typeface="Lato" panose="020F0502020204030203" pitchFamily="34" charset="0"/>
              </a:rPr>
              <a:t>WE LERN FROM THE BEST, SUCCESS SEEMS TO BE CONNECTED WITH ACTION </a:t>
            </a:r>
            <a:endParaRPr lang="en-US" sz="1500" b="1" dirty="0">
              <a:solidFill>
                <a:schemeClr val="bg1"/>
              </a:solidFill>
              <a:latin typeface="Lato" panose="020F0502020204030203" pitchFamily="34" charset="0"/>
              <a:cs typeface="Lato" panose="020F0502020204030203" pitchFamily="34" charset="0"/>
            </a:endParaRPr>
          </a:p>
        </p:txBody>
      </p:sp>
      <p:sp>
        <p:nvSpPr>
          <p:cNvPr id="12" name="Rectangle 11"/>
          <p:cNvSpPr/>
          <p:nvPr/>
        </p:nvSpPr>
        <p:spPr>
          <a:xfrm>
            <a:off x="5920607" y="1715532"/>
            <a:ext cx="2121203" cy="230833"/>
          </a:xfrm>
          <a:prstGeom prst="rect">
            <a:avLst/>
          </a:prstGeom>
        </p:spPr>
        <p:txBody>
          <a:bodyPr wrap="square">
            <a:noAutofit/>
          </a:bodyPr>
          <a:lstStyle/>
          <a:p>
            <a:pPr>
              <a:buClr>
                <a:srgbClr val="E24848"/>
              </a:buClr>
              <a:defRPr/>
            </a:pPr>
            <a:r>
              <a:rPr lang="en-US" sz="900" noProof="1">
                <a:solidFill>
                  <a:schemeClr val="bg1"/>
                </a:solidFill>
                <a:latin typeface="+mj-lt"/>
                <a:ea typeface="Open Sans Light" panose="020B0306030504020204" pitchFamily="34" charset="0"/>
                <a:cs typeface="Open Sans Light" panose="020B0306030504020204" pitchFamily="34" charset="0"/>
              </a:rPr>
              <a:t>INSERT  YOUR GREAT SUBTITLE HERE</a:t>
            </a:r>
            <a:endParaRPr lang="en-US" sz="900" noProof="1">
              <a:solidFill>
                <a:schemeClr val="bg1"/>
              </a:solidFill>
              <a:latin typeface="+mj-lt"/>
              <a:ea typeface="Open Sans Light" panose="020B0306030504020204" pitchFamily="34" charset="0"/>
              <a:cs typeface="Open Sans Light" panose="020B0306030504020204" pitchFamily="34" charset="0"/>
            </a:endParaRPr>
          </a:p>
        </p:txBody>
      </p:sp>
      <p:sp>
        <p:nvSpPr>
          <p:cNvPr id="13" name="Rectangle 12"/>
          <p:cNvSpPr/>
          <p:nvPr/>
        </p:nvSpPr>
        <p:spPr>
          <a:xfrm>
            <a:off x="5920608" y="1957490"/>
            <a:ext cx="2211847" cy="727122"/>
          </a:xfrm>
          <a:prstGeom prst="rect">
            <a:avLst/>
          </a:prstGeom>
        </p:spPr>
        <p:txBody>
          <a:bodyPr wrap="square">
            <a:spAutoFit/>
          </a:bodyPr>
          <a:lstStyle/>
          <a:p>
            <a:pPr>
              <a:buClr>
                <a:srgbClr val="E24848"/>
              </a:buClr>
              <a:defRPr/>
            </a:pPr>
            <a:r>
              <a:rPr lang="en-US" sz="825"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ermentuLorem ipsum dolor sit amet, consectetur adipiscing elit. Nulla imperdiet volutpat dui</a:t>
            </a:r>
            <a:endParaRPr lang="en-US" sz="825" noProof="1">
              <a:solidFill>
                <a:schemeClr val="bg1"/>
              </a:solidFill>
              <a:latin typeface="+mj-lt"/>
              <a:ea typeface="Open Sans Light" panose="020B0306030504020204" pitchFamily="34" charset="0"/>
              <a:cs typeface="Open Sans Light" panose="020B0306030504020204" pitchFamily="34" charset="0"/>
            </a:endParaRPr>
          </a:p>
        </p:txBody>
      </p:sp>
      <p:graphicFrame>
        <p:nvGraphicFramePr>
          <p:cNvPr id="14" name="Chart 13"/>
          <p:cNvGraphicFramePr/>
          <p:nvPr/>
        </p:nvGraphicFramePr>
        <p:xfrm>
          <a:off x="391843" y="1316970"/>
          <a:ext cx="2759615" cy="1817914"/>
        </p:xfrm>
        <a:graphic>
          <a:graphicData uri="http://schemas.openxmlformats.org/drawingml/2006/chart">
            <c:chart xmlns:c="http://schemas.openxmlformats.org/drawingml/2006/chart" xmlns:r="http://schemas.openxmlformats.org/officeDocument/2006/relationships" r:id="rId1"/>
          </a:graphicData>
        </a:graphic>
      </p:graphicFrame>
      <p:sp>
        <p:nvSpPr>
          <p:cNvPr id="5" name="Title 1"/>
          <p:cNvSpPr txBox="1"/>
          <p:nvPr/>
        </p:nvSpPr>
        <p:spPr>
          <a:xfrm>
            <a:off x="678676" y="483253"/>
            <a:ext cx="3264674" cy="48474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2700" b="1" spc="-113" dirty="0">
                <a:solidFill>
                  <a:schemeClr val="bg1"/>
                </a:solidFill>
                <a:latin typeface="Lato" panose="020F0502020204030203" pitchFamily="34" charset="0"/>
                <a:ea typeface="Open Sans" panose="020B0606030504020204" pitchFamily="34" charset="0"/>
                <a:cs typeface="Lato" panose="020F0502020204030203" pitchFamily="34" charset="0"/>
              </a:rPr>
              <a:t>Our </a:t>
            </a:r>
            <a:r>
              <a:rPr lang="en-US" sz="2700" spc="-113" dirty="0">
                <a:solidFill>
                  <a:schemeClr val="bg1"/>
                </a:solidFill>
                <a:latin typeface="Lato" panose="020F0502020204030203" pitchFamily="34" charset="0"/>
                <a:ea typeface="Open Sans" panose="020B0606030504020204" pitchFamily="34" charset="0"/>
                <a:cs typeface="Lato" panose="020F0502020204030203" pitchFamily="34" charset="0"/>
              </a:rPr>
              <a:t>Portfolio</a:t>
            </a:r>
            <a:endParaRPr lang="en-US" sz="2700" spc="-113"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6" name="Rectangle 5"/>
          <p:cNvSpPr/>
          <p:nvPr/>
        </p:nvSpPr>
        <p:spPr>
          <a:xfrm>
            <a:off x="719019" y="968001"/>
            <a:ext cx="1617008" cy="219291"/>
          </a:xfrm>
          <a:prstGeom prst="rect">
            <a:avLst/>
          </a:prstGeom>
        </p:spPr>
        <p:txBody>
          <a:bodyPr wrap="square">
            <a:spAutoFit/>
          </a:bodyPr>
          <a:lstStyle/>
          <a:p>
            <a:pPr>
              <a:buClr>
                <a:srgbClr val="E24848"/>
              </a:buClr>
              <a:defRPr/>
            </a:pPr>
            <a:r>
              <a:rPr lang="en-US" sz="825" noProof="1">
                <a:solidFill>
                  <a:schemeClr val="bg1"/>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bg1"/>
              </a:solidFill>
              <a:latin typeface="+mj-lt"/>
              <a:ea typeface="Open Sans Light" panose="020B0306030504020204" pitchFamily="34" charset="0"/>
              <a:cs typeface="Open Sans Light" panose="020B0306030504020204" pitchFamily="34" charset="0"/>
            </a:endParaRPr>
          </a:p>
        </p:txBody>
      </p:sp>
      <p:sp>
        <p:nvSpPr>
          <p:cNvPr id="15" name="Rectangle 14"/>
          <p:cNvSpPr/>
          <p:nvPr/>
        </p:nvSpPr>
        <p:spPr>
          <a:xfrm>
            <a:off x="501940" y="3491826"/>
            <a:ext cx="2121203" cy="230833"/>
          </a:xfrm>
          <a:prstGeom prst="rect">
            <a:avLst/>
          </a:prstGeom>
        </p:spPr>
        <p:txBody>
          <a:bodyPr wrap="square">
            <a:noAutofit/>
          </a:bodyPr>
          <a:lstStyle/>
          <a:p>
            <a:pPr>
              <a:buClr>
                <a:srgbClr val="E24848"/>
              </a:buClr>
              <a:defRPr/>
            </a:pPr>
            <a:r>
              <a:rPr lang="en-US" sz="900" noProof="1">
                <a:solidFill>
                  <a:schemeClr val="bg1"/>
                </a:solidFill>
                <a:latin typeface="+mj-lt"/>
                <a:ea typeface="Open Sans Light" panose="020B0306030504020204" pitchFamily="34" charset="0"/>
                <a:cs typeface="Open Sans Light" panose="020B0306030504020204" pitchFamily="34" charset="0"/>
              </a:rPr>
              <a:t>INSERT  YOUR GREAT SUBTITLE HERE</a:t>
            </a:r>
            <a:endParaRPr lang="en-US" sz="900" noProof="1">
              <a:solidFill>
                <a:schemeClr val="bg1"/>
              </a:solidFill>
              <a:latin typeface="+mj-lt"/>
              <a:ea typeface="Open Sans Light" panose="020B0306030504020204" pitchFamily="34" charset="0"/>
              <a:cs typeface="Open Sans Light" panose="020B0306030504020204" pitchFamily="34" charset="0"/>
            </a:endParaRPr>
          </a:p>
        </p:txBody>
      </p:sp>
      <p:sp>
        <p:nvSpPr>
          <p:cNvPr id="16" name="Rectangle 15"/>
          <p:cNvSpPr/>
          <p:nvPr/>
        </p:nvSpPr>
        <p:spPr>
          <a:xfrm>
            <a:off x="501941" y="3733784"/>
            <a:ext cx="2211847" cy="727122"/>
          </a:xfrm>
          <a:prstGeom prst="rect">
            <a:avLst/>
          </a:prstGeom>
        </p:spPr>
        <p:txBody>
          <a:bodyPr wrap="square">
            <a:spAutoFit/>
          </a:bodyPr>
          <a:lstStyle/>
          <a:p>
            <a:pPr>
              <a:buClr>
                <a:srgbClr val="E24848"/>
              </a:buClr>
              <a:defRPr/>
            </a:pPr>
            <a:r>
              <a:rPr lang="en-US" sz="825"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ermentuLorem ipsum dolor sit amet, consectetur adipiscing elit. Nulla imperdiet volutpat dui</a:t>
            </a:r>
            <a:endParaRPr lang="en-US" sz="825" noProof="1">
              <a:solidFill>
                <a:schemeClr val="bg1"/>
              </a:solidFill>
              <a:latin typeface="+mj-lt"/>
              <a:ea typeface="Open Sans Light" panose="020B0306030504020204" pitchFamily="34" charset="0"/>
              <a:cs typeface="Open Sans Light" panose="020B0306030504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占位符 2"/>
          <p:cNvPicPr>
            <a:picLocks noGrp="1" noChangeAspect="1"/>
          </p:cNvPicPr>
          <p:nvPr>
            <p:ph type="pic" sz="quarter" idx="14"/>
          </p:nvPr>
        </p:nvPicPr>
        <p:blipFill>
          <a:blip r:embed="rId1" cstate="print">
            <a:extLst>
              <a:ext uri="{28A0092B-C50C-407E-A947-70E740481C1C}">
                <a14:useLocalDpi xmlns:a14="http://schemas.microsoft.com/office/drawing/2010/main" val="0"/>
              </a:ext>
            </a:extLst>
          </a:blip>
          <a:srcRect t="22037" b="22037"/>
          <a:stretch>
            <a:fillRect/>
          </a:stretch>
        </p:blipFill>
        <p:spPr/>
      </p:pic>
      <p:sp>
        <p:nvSpPr>
          <p:cNvPr id="20" name="Rectangle 19"/>
          <p:cNvSpPr/>
          <p:nvPr/>
        </p:nvSpPr>
        <p:spPr>
          <a:xfrm>
            <a:off x="0" y="-1774"/>
            <a:ext cx="9144000" cy="2876550"/>
          </a:xfrm>
          <a:prstGeom prst="rect">
            <a:avLst/>
          </a:prstGeom>
          <a:solidFill>
            <a:schemeClr val="tx1">
              <a:lumMod val="85000"/>
              <a:lumOff val="15000"/>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7" name="Rectangle 6"/>
          <p:cNvSpPr/>
          <p:nvPr/>
        </p:nvSpPr>
        <p:spPr>
          <a:xfrm>
            <a:off x="2692209" y="1727917"/>
            <a:ext cx="1901559" cy="1863747"/>
          </a:xfrm>
          <a:prstGeom prst="rect">
            <a:avLst/>
          </a:prstGeom>
          <a:solidFill>
            <a:srgbClr val="548235"/>
          </a:solidFill>
          <a:ln w="28575">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9" name="Rectangle 8"/>
          <p:cNvSpPr/>
          <p:nvPr/>
        </p:nvSpPr>
        <p:spPr>
          <a:xfrm>
            <a:off x="5116282" y="1727917"/>
            <a:ext cx="3621650" cy="1863747"/>
          </a:xfrm>
          <a:prstGeom prst="rect">
            <a:avLst/>
          </a:prstGeom>
          <a:solidFill>
            <a:srgbClr val="548235"/>
          </a:solidFill>
          <a:ln w="28575">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grpSp>
        <p:nvGrpSpPr>
          <p:cNvPr id="11" name="Group 10"/>
          <p:cNvGrpSpPr/>
          <p:nvPr/>
        </p:nvGrpSpPr>
        <p:grpSpPr>
          <a:xfrm>
            <a:off x="2984683" y="1960491"/>
            <a:ext cx="286172" cy="416251"/>
            <a:chOff x="3720306" y="3668315"/>
            <a:chExt cx="314325" cy="457200"/>
          </a:xfrm>
          <a:solidFill>
            <a:schemeClr val="bg1"/>
          </a:solidFill>
        </p:grpSpPr>
        <p:sp>
          <p:nvSpPr>
            <p:cNvPr id="12" name="Freeform 114"/>
            <p:cNvSpPr>
              <a:spLocks noEditPoints="1"/>
            </p:cNvSpPr>
            <p:nvPr/>
          </p:nvSpPr>
          <p:spPr bwMode="auto">
            <a:xfrm>
              <a:off x="3720306" y="3668315"/>
              <a:ext cx="314325" cy="457200"/>
            </a:xfrm>
            <a:custGeom>
              <a:avLst/>
              <a:gdLst>
                <a:gd name="T0" fmla="*/ 184 w 793"/>
                <a:gd name="T1" fmla="*/ 669 h 1152"/>
                <a:gd name="T2" fmla="*/ 103 w 793"/>
                <a:gd name="T3" fmla="*/ 514 h 1152"/>
                <a:gd name="T4" fmla="*/ 78 w 793"/>
                <a:gd name="T5" fmla="*/ 439 h 1152"/>
                <a:gd name="T6" fmla="*/ 75 w 793"/>
                <a:gd name="T7" fmla="*/ 363 h 1152"/>
                <a:gd name="T8" fmla="*/ 92 w 793"/>
                <a:gd name="T9" fmla="*/ 284 h 1152"/>
                <a:gd name="T10" fmla="*/ 128 w 793"/>
                <a:gd name="T11" fmla="*/ 215 h 1152"/>
                <a:gd name="T12" fmla="*/ 180 w 793"/>
                <a:gd name="T13" fmla="*/ 156 h 1152"/>
                <a:gd name="T14" fmla="*/ 242 w 793"/>
                <a:gd name="T15" fmla="*/ 112 h 1152"/>
                <a:gd name="T16" fmla="*/ 316 w 793"/>
                <a:gd name="T17" fmla="*/ 82 h 1152"/>
                <a:gd name="T18" fmla="*/ 397 w 793"/>
                <a:gd name="T19" fmla="*/ 72 h 1152"/>
                <a:gd name="T20" fmla="*/ 478 w 793"/>
                <a:gd name="T21" fmla="*/ 82 h 1152"/>
                <a:gd name="T22" fmla="*/ 551 w 793"/>
                <a:gd name="T23" fmla="*/ 112 h 1152"/>
                <a:gd name="T24" fmla="*/ 615 w 793"/>
                <a:gd name="T25" fmla="*/ 156 h 1152"/>
                <a:gd name="T26" fmla="*/ 666 w 793"/>
                <a:gd name="T27" fmla="*/ 215 h 1152"/>
                <a:gd name="T28" fmla="*/ 701 w 793"/>
                <a:gd name="T29" fmla="*/ 284 h 1152"/>
                <a:gd name="T30" fmla="*/ 720 w 793"/>
                <a:gd name="T31" fmla="*/ 363 h 1152"/>
                <a:gd name="T32" fmla="*/ 717 w 793"/>
                <a:gd name="T33" fmla="*/ 438 h 1152"/>
                <a:gd name="T34" fmla="*/ 691 w 793"/>
                <a:gd name="T35" fmla="*/ 513 h 1152"/>
                <a:gd name="T36" fmla="*/ 610 w 793"/>
                <a:gd name="T37" fmla="*/ 669 h 1152"/>
                <a:gd name="T38" fmla="*/ 397 w 793"/>
                <a:gd name="T39" fmla="*/ 1080 h 1152"/>
                <a:gd name="T40" fmla="*/ 346 w 793"/>
                <a:gd name="T41" fmla="*/ 1067 h 1152"/>
                <a:gd name="T42" fmla="*/ 469 w 793"/>
                <a:gd name="T43" fmla="*/ 1036 h 1152"/>
                <a:gd name="T44" fmla="*/ 445 w 793"/>
                <a:gd name="T45" fmla="*/ 1071 h 1152"/>
                <a:gd name="T46" fmla="*/ 412 w 793"/>
                <a:gd name="T47" fmla="*/ 1079 h 1152"/>
                <a:gd name="T48" fmla="*/ 263 w 793"/>
                <a:gd name="T49" fmla="*/ 846 h 1152"/>
                <a:gd name="T50" fmla="*/ 528 w 793"/>
                <a:gd name="T51" fmla="*/ 857 h 1152"/>
                <a:gd name="T52" fmla="*/ 307 w 793"/>
                <a:gd name="T53" fmla="*/ 986 h 1152"/>
                <a:gd name="T54" fmla="*/ 290 w 793"/>
                <a:gd name="T55" fmla="*/ 931 h 1152"/>
                <a:gd name="T56" fmla="*/ 496 w 793"/>
                <a:gd name="T57" fmla="*/ 958 h 1152"/>
                <a:gd name="T58" fmla="*/ 376 w 793"/>
                <a:gd name="T59" fmla="*/ 0 h 1152"/>
                <a:gd name="T60" fmla="*/ 279 w 793"/>
                <a:gd name="T61" fmla="*/ 18 h 1152"/>
                <a:gd name="T62" fmla="*/ 192 w 793"/>
                <a:gd name="T63" fmla="*/ 58 h 1152"/>
                <a:gd name="T64" fmla="*/ 117 w 793"/>
                <a:gd name="T65" fmla="*/ 116 h 1152"/>
                <a:gd name="T66" fmla="*/ 59 w 793"/>
                <a:gd name="T67" fmla="*/ 190 h 1152"/>
                <a:gd name="T68" fmla="*/ 19 w 793"/>
                <a:gd name="T69" fmla="*/ 278 h 1152"/>
                <a:gd name="T70" fmla="*/ 2 w 793"/>
                <a:gd name="T71" fmla="*/ 375 h 1152"/>
                <a:gd name="T72" fmla="*/ 7 w 793"/>
                <a:gd name="T73" fmla="*/ 451 h 1152"/>
                <a:gd name="T74" fmla="*/ 59 w 793"/>
                <a:gd name="T75" fmla="*/ 589 h 1152"/>
                <a:gd name="T76" fmla="*/ 160 w 793"/>
                <a:gd name="T77" fmla="*/ 778 h 1152"/>
                <a:gd name="T78" fmla="*/ 234 w 793"/>
                <a:gd name="T79" fmla="*/ 994 h 1152"/>
                <a:gd name="T80" fmla="*/ 270 w 793"/>
                <a:gd name="T81" fmla="*/ 1086 h 1152"/>
                <a:gd name="T82" fmla="*/ 302 w 793"/>
                <a:gd name="T83" fmla="*/ 1125 h 1152"/>
                <a:gd name="T84" fmla="*/ 347 w 793"/>
                <a:gd name="T85" fmla="*/ 1146 h 1152"/>
                <a:gd name="T86" fmla="*/ 411 w 793"/>
                <a:gd name="T87" fmla="*/ 1152 h 1152"/>
                <a:gd name="T88" fmla="*/ 467 w 793"/>
                <a:gd name="T89" fmla="*/ 1140 h 1152"/>
                <a:gd name="T90" fmla="*/ 507 w 793"/>
                <a:gd name="T91" fmla="*/ 1111 h 1152"/>
                <a:gd name="T92" fmla="*/ 535 w 793"/>
                <a:gd name="T93" fmla="*/ 1066 h 1152"/>
                <a:gd name="T94" fmla="*/ 578 w 793"/>
                <a:gd name="T95" fmla="*/ 935 h 1152"/>
                <a:gd name="T96" fmla="*/ 633 w 793"/>
                <a:gd name="T97" fmla="*/ 779 h 1152"/>
                <a:gd name="T98" fmla="*/ 735 w 793"/>
                <a:gd name="T99" fmla="*/ 589 h 1152"/>
                <a:gd name="T100" fmla="*/ 787 w 793"/>
                <a:gd name="T101" fmla="*/ 451 h 1152"/>
                <a:gd name="T102" fmla="*/ 792 w 793"/>
                <a:gd name="T103" fmla="*/ 375 h 1152"/>
                <a:gd name="T104" fmla="*/ 775 w 793"/>
                <a:gd name="T105" fmla="*/ 278 h 1152"/>
                <a:gd name="T106" fmla="*/ 736 w 793"/>
                <a:gd name="T107" fmla="*/ 190 h 1152"/>
                <a:gd name="T108" fmla="*/ 677 w 793"/>
                <a:gd name="T109" fmla="*/ 116 h 1152"/>
                <a:gd name="T110" fmla="*/ 602 w 793"/>
                <a:gd name="T111" fmla="*/ 58 h 1152"/>
                <a:gd name="T112" fmla="*/ 515 w 793"/>
                <a:gd name="T113" fmla="*/ 18 h 1152"/>
                <a:gd name="T114" fmla="*/ 417 w 793"/>
                <a:gd name="T115"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3" h="1152">
                  <a:moveTo>
                    <a:pt x="565" y="756"/>
                  </a:moveTo>
                  <a:lnTo>
                    <a:pt x="229" y="756"/>
                  </a:lnTo>
                  <a:lnTo>
                    <a:pt x="215" y="727"/>
                  </a:lnTo>
                  <a:lnTo>
                    <a:pt x="200" y="698"/>
                  </a:lnTo>
                  <a:lnTo>
                    <a:pt x="184" y="669"/>
                  </a:lnTo>
                  <a:lnTo>
                    <a:pt x="169" y="640"/>
                  </a:lnTo>
                  <a:lnTo>
                    <a:pt x="151" y="608"/>
                  </a:lnTo>
                  <a:lnTo>
                    <a:pt x="133" y="577"/>
                  </a:lnTo>
                  <a:lnTo>
                    <a:pt x="117" y="545"/>
                  </a:lnTo>
                  <a:lnTo>
                    <a:pt x="103" y="514"/>
                  </a:lnTo>
                  <a:lnTo>
                    <a:pt x="97" y="498"/>
                  </a:lnTo>
                  <a:lnTo>
                    <a:pt x="91" y="483"/>
                  </a:lnTo>
                  <a:lnTo>
                    <a:pt x="86" y="468"/>
                  </a:lnTo>
                  <a:lnTo>
                    <a:pt x="81" y="453"/>
                  </a:lnTo>
                  <a:lnTo>
                    <a:pt x="78" y="439"/>
                  </a:lnTo>
                  <a:lnTo>
                    <a:pt x="75" y="424"/>
                  </a:lnTo>
                  <a:lnTo>
                    <a:pt x="74" y="410"/>
                  </a:lnTo>
                  <a:lnTo>
                    <a:pt x="73" y="396"/>
                  </a:lnTo>
                  <a:lnTo>
                    <a:pt x="74" y="379"/>
                  </a:lnTo>
                  <a:lnTo>
                    <a:pt x="75" y="363"/>
                  </a:lnTo>
                  <a:lnTo>
                    <a:pt x="77" y="347"/>
                  </a:lnTo>
                  <a:lnTo>
                    <a:pt x="79" y="331"/>
                  </a:lnTo>
                  <a:lnTo>
                    <a:pt x="84" y="315"/>
                  </a:lnTo>
                  <a:lnTo>
                    <a:pt x="88" y="300"/>
                  </a:lnTo>
                  <a:lnTo>
                    <a:pt x="92" y="284"/>
                  </a:lnTo>
                  <a:lnTo>
                    <a:pt x="99" y="270"/>
                  </a:lnTo>
                  <a:lnTo>
                    <a:pt x="105" y="255"/>
                  </a:lnTo>
                  <a:lnTo>
                    <a:pt x="112" y="241"/>
                  </a:lnTo>
                  <a:lnTo>
                    <a:pt x="120" y="228"/>
                  </a:lnTo>
                  <a:lnTo>
                    <a:pt x="128" y="215"/>
                  </a:lnTo>
                  <a:lnTo>
                    <a:pt x="138" y="202"/>
                  </a:lnTo>
                  <a:lnTo>
                    <a:pt x="147" y="190"/>
                  </a:lnTo>
                  <a:lnTo>
                    <a:pt x="157" y="179"/>
                  </a:lnTo>
                  <a:lnTo>
                    <a:pt x="168" y="167"/>
                  </a:lnTo>
                  <a:lnTo>
                    <a:pt x="180" y="156"/>
                  </a:lnTo>
                  <a:lnTo>
                    <a:pt x="191" y="146"/>
                  </a:lnTo>
                  <a:lnTo>
                    <a:pt x="204" y="136"/>
                  </a:lnTo>
                  <a:lnTo>
                    <a:pt x="216" y="128"/>
                  </a:lnTo>
                  <a:lnTo>
                    <a:pt x="229" y="119"/>
                  </a:lnTo>
                  <a:lnTo>
                    <a:pt x="242" y="112"/>
                  </a:lnTo>
                  <a:lnTo>
                    <a:pt x="256" y="104"/>
                  </a:lnTo>
                  <a:lnTo>
                    <a:pt x="270" y="98"/>
                  </a:lnTo>
                  <a:lnTo>
                    <a:pt x="286" y="91"/>
                  </a:lnTo>
                  <a:lnTo>
                    <a:pt x="301" y="87"/>
                  </a:lnTo>
                  <a:lnTo>
                    <a:pt x="316" y="82"/>
                  </a:lnTo>
                  <a:lnTo>
                    <a:pt x="332" y="78"/>
                  </a:lnTo>
                  <a:lnTo>
                    <a:pt x="348" y="76"/>
                  </a:lnTo>
                  <a:lnTo>
                    <a:pt x="364" y="74"/>
                  </a:lnTo>
                  <a:lnTo>
                    <a:pt x="381" y="73"/>
                  </a:lnTo>
                  <a:lnTo>
                    <a:pt x="397" y="72"/>
                  </a:lnTo>
                  <a:lnTo>
                    <a:pt x="414" y="73"/>
                  </a:lnTo>
                  <a:lnTo>
                    <a:pt x="430" y="74"/>
                  </a:lnTo>
                  <a:lnTo>
                    <a:pt x="447" y="76"/>
                  </a:lnTo>
                  <a:lnTo>
                    <a:pt x="463" y="78"/>
                  </a:lnTo>
                  <a:lnTo>
                    <a:pt x="478" y="82"/>
                  </a:lnTo>
                  <a:lnTo>
                    <a:pt x="493" y="87"/>
                  </a:lnTo>
                  <a:lnTo>
                    <a:pt x="508" y="91"/>
                  </a:lnTo>
                  <a:lnTo>
                    <a:pt x="523" y="98"/>
                  </a:lnTo>
                  <a:lnTo>
                    <a:pt x="537" y="104"/>
                  </a:lnTo>
                  <a:lnTo>
                    <a:pt x="551" y="112"/>
                  </a:lnTo>
                  <a:lnTo>
                    <a:pt x="565" y="119"/>
                  </a:lnTo>
                  <a:lnTo>
                    <a:pt x="578" y="128"/>
                  </a:lnTo>
                  <a:lnTo>
                    <a:pt x="591" y="136"/>
                  </a:lnTo>
                  <a:lnTo>
                    <a:pt x="603" y="146"/>
                  </a:lnTo>
                  <a:lnTo>
                    <a:pt x="615" y="156"/>
                  </a:lnTo>
                  <a:lnTo>
                    <a:pt x="626" y="167"/>
                  </a:lnTo>
                  <a:lnTo>
                    <a:pt x="637" y="179"/>
                  </a:lnTo>
                  <a:lnTo>
                    <a:pt x="647" y="190"/>
                  </a:lnTo>
                  <a:lnTo>
                    <a:pt x="656" y="202"/>
                  </a:lnTo>
                  <a:lnTo>
                    <a:pt x="666" y="215"/>
                  </a:lnTo>
                  <a:lnTo>
                    <a:pt x="674" y="228"/>
                  </a:lnTo>
                  <a:lnTo>
                    <a:pt x="682" y="241"/>
                  </a:lnTo>
                  <a:lnTo>
                    <a:pt x="688" y="255"/>
                  </a:lnTo>
                  <a:lnTo>
                    <a:pt x="696" y="270"/>
                  </a:lnTo>
                  <a:lnTo>
                    <a:pt x="701" y="284"/>
                  </a:lnTo>
                  <a:lnTo>
                    <a:pt x="707" y="300"/>
                  </a:lnTo>
                  <a:lnTo>
                    <a:pt x="711" y="315"/>
                  </a:lnTo>
                  <a:lnTo>
                    <a:pt x="714" y="331"/>
                  </a:lnTo>
                  <a:lnTo>
                    <a:pt x="718" y="347"/>
                  </a:lnTo>
                  <a:lnTo>
                    <a:pt x="720" y="363"/>
                  </a:lnTo>
                  <a:lnTo>
                    <a:pt x="721" y="379"/>
                  </a:lnTo>
                  <a:lnTo>
                    <a:pt x="721" y="396"/>
                  </a:lnTo>
                  <a:lnTo>
                    <a:pt x="721" y="410"/>
                  </a:lnTo>
                  <a:lnTo>
                    <a:pt x="719" y="424"/>
                  </a:lnTo>
                  <a:lnTo>
                    <a:pt x="717" y="438"/>
                  </a:lnTo>
                  <a:lnTo>
                    <a:pt x="712" y="453"/>
                  </a:lnTo>
                  <a:lnTo>
                    <a:pt x="708" y="468"/>
                  </a:lnTo>
                  <a:lnTo>
                    <a:pt x="704" y="483"/>
                  </a:lnTo>
                  <a:lnTo>
                    <a:pt x="697" y="498"/>
                  </a:lnTo>
                  <a:lnTo>
                    <a:pt x="691" y="513"/>
                  </a:lnTo>
                  <a:lnTo>
                    <a:pt x="677" y="545"/>
                  </a:lnTo>
                  <a:lnTo>
                    <a:pt x="660" y="577"/>
                  </a:lnTo>
                  <a:lnTo>
                    <a:pt x="643" y="608"/>
                  </a:lnTo>
                  <a:lnTo>
                    <a:pt x="626" y="641"/>
                  </a:lnTo>
                  <a:lnTo>
                    <a:pt x="610" y="669"/>
                  </a:lnTo>
                  <a:lnTo>
                    <a:pt x="594" y="698"/>
                  </a:lnTo>
                  <a:lnTo>
                    <a:pt x="579" y="727"/>
                  </a:lnTo>
                  <a:lnTo>
                    <a:pt x="565" y="756"/>
                  </a:lnTo>
                  <a:lnTo>
                    <a:pt x="565" y="756"/>
                  </a:lnTo>
                  <a:close/>
                  <a:moveTo>
                    <a:pt x="397" y="1080"/>
                  </a:moveTo>
                  <a:lnTo>
                    <a:pt x="384" y="1079"/>
                  </a:lnTo>
                  <a:lnTo>
                    <a:pt x="373" y="1078"/>
                  </a:lnTo>
                  <a:lnTo>
                    <a:pt x="363" y="1076"/>
                  </a:lnTo>
                  <a:lnTo>
                    <a:pt x="355" y="1073"/>
                  </a:lnTo>
                  <a:lnTo>
                    <a:pt x="346" y="1067"/>
                  </a:lnTo>
                  <a:lnTo>
                    <a:pt x="339" y="1059"/>
                  </a:lnTo>
                  <a:lnTo>
                    <a:pt x="332" y="1049"/>
                  </a:lnTo>
                  <a:lnTo>
                    <a:pt x="326" y="1035"/>
                  </a:lnTo>
                  <a:lnTo>
                    <a:pt x="478" y="1016"/>
                  </a:lnTo>
                  <a:lnTo>
                    <a:pt x="469" y="1036"/>
                  </a:lnTo>
                  <a:lnTo>
                    <a:pt x="462" y="1051"/>
                  </a:lnTo>
                  <a:lnTo>
                    <a:pt x="457" y="1057"/>
                  </a:lnTo>
                  <a:lnTo>
                    <a:pt x="454" y="1062"/>
                  </a:lnTo>
                  <a:lnTo>
                    <a:pt x="450" y="1066"/>
                  </a:lnTo>
                  <a:lnTo>
                    <a:pt x="445" y="1071"/>
                  </a:lnTo>
                  <a:lnTo>
                    <a:pt x="440" y="1073"/>
                  </a:lnTo>
                  <a:lnTo>
                    <a:pt x="436" y="1075"/>
                  </a:lnTo>
                  <a:lnTo>
                    <a:pt x="430" y="1077"/>
                  </a:lnTo>
                  <a:lnTo>
                    <a:pt x="425" y="1078"/>
                  </a:lnTo>
                  <a:lnTo>
                    <a:pt x="412" y="1079"/>
                  </a:lnTo>
                  <a:lnTo>
                    <a:pt x="397" y="1080"/>
                  </a:lnTo>
                  <a:close/>
                  <a:moveTo>
                    <a:pt x="279" y="897"/>
                  </a:moveTo>
                  <a:lnTo>
                    <a:pt x="275" y="881"/>
                  </a:lnTo>
                  <a:lnTo>
                    <a:pt x="269" y="863"/>
                  </a:lnTo>
                  <a:lnTo>
                    <a:pt x="263" y="846"/>
                  </a:lnTo>
                  <a:lnTo>
                    <a:pt x="258" y="828"/>
                  </a:lnTo>
                  <a:lnTo>
                    <a:pt x="537" y="828"/>
                  </a:lnTo>
                  <a:lnTo>
                    <a:pt x="534" y="837"/>
                  </a:lnTo>
                  <a:lnTo>
                    <a:pt x="531" y="847"/>
                  </a:lnTo>
                  <a:lnTo>
                    <a:pt x="528" y="857"/>
                  </a:lnTo>
                  <a:lnTo>
                    <a:pt x="524" y="867"/>
                  </a:lnTo>
                  <a:lnTo>
                    <a:pt x="279" y="897"/>
                  </a:lnTo>
                  <a:close/>
                  <a:moveTo>
                    <a:pt x="491" y="978"/>
                  </a:moveTo>
                  <a:lnTo>
                    <a:pt x="312" y="1000"/>
                  </a:lnTo>
                  <a:lnTo>
                    <a:pt x="307" y="986"/>
                  </a:lnTo>
                  <a:lnTo>
                    <a:pt x="302" y="970"/>
                  </a:lnTo>
                  <a:lnTo>
                    <a:pt x="296" y="952"/>
                  </a:lnTo>
                  <a:lnTo>
                    <a:pt x="290" y="932"/>
                  </a:lnTo>
                  <a:lnTo>
                    <a:pt x="290" y="931"/>
                  </a:lnTo>
                  <a:lnTo>
                    <a:pt x="290" y="931"/>
                  </a:lnTo>
                  <a:lnTo>
                    <a:pt x="512" y="903"/>
                  </a:lnTo>
                  <a:lnTo>
                    <a:pt x="508" y="919"/>
                  </a:lnTo>
                  <a:lnTo>
                    <a:pt x="504" y="936"/>
                  </a:lnTo>
                  <a:lnTo>
                    <a:pt x="499" y="946"/>
                  </a:lnTo>
                  <a:lnTo>
                    <a:pt x="496" y="958"/>
                  </a:lnTo>
                  <a:lnTo>
                    <a:pt x="493" y="968"/>
                  </a:lnTo>
                  <a:lnTo>
                    <a:pt x="491" y="978"/>
                  </a:lnTo>
                  <a:lnTo>
                    <a:pt x="491" y="978"/>
                  </a:lnTo>
                  <a:close/>
                  <a:moveTo>
                    <a:pt x="397" y="0"/>
                  </a:moveTo>
                  <a:lnTo>
                    <a:pt x="376" y="0"/>
                  </a:lnTo>
                  <a:lnTo>
                    <a:pt x="357" y="1"/>
                  </a:lnTo>
                  <a:lnTo>
                    <a:pt x="336" y="5"/>
                  </a:lnTo>
                  <a:lnTo>
                    <a:pt x="317" y="8"/>
                  </a:lnTo>
                  <a:lnTo>
                    <a:pt x="299" y="12"/>
                  </a:lnTo>
                  <a:lnTo>
                    <a:pt x="279" y="18"/>
                  </a:lnTo>
                  <a:lnTo>
                    <a:pt x="261" y="24"/>
                  </a:lnTo>
                  <a:lnTo>
                    <a:pt x="242" y="31"/>
                  </a:lnTo>
                  <a:lnTo>
                    <a:pt x="225" y="39"/>
                  </a:lnTo>
                  <a:lnTo>
                    <a:pt x="208" y="48"/>
                  </a:lnTo>
                  <a:lnTo>
                    <a:pt x="192" y="58"/>
                  </a:lnTo>
                  <a:lnTo>
                    <a:pt x="175" y="67"/>
                  </a:lnTo>
                  <a:lnTo>
                    <a:pt x="160" y="78"/>
                  </a:lnTo>
                  <a:lnTo>
                    <a:pt x="145" y="90"/>
                  </a:lnTo>
                  <a:lnTo>
                    <a:pt x="131" y="103"/>
                  </a:lnTo>
                  <a:lnTo>
                    <a:pt x="117" y="116"/>
                  </a:lnTo>
                  <a:lnTo>
                    <a:pt x="104" y="130"/>
                  </a:lnTo>
                  <a:lnTo>
                    <a:pt x="91" y="144"/>
                  </a:lnTo>
                  <a:lnTo>
                    <a:pt x="79" y="159"/>
                  </a:lnTo>
                  <a:lnTo>
                    <a:pt x="69" y="174"/>
                  </a:lnTo>
                  <a:lnTo>
                    <a:pt x="59" y="190"/>
                  </a:lnTo>
                  <a:lnTo>
                    <a:pt x="49" y="207"/>
                  </a:lnTo>
                  <a:lnTo>
                    <a:pt x="40" y="224"/>
                  </a:lnTo>
                  <a:lnTo>
                    <a:pt x="32" y="242"/>
                  </a:lnTo>
                  <a:lnTo>
                    <a:pt x="25" y="260"/>
                  </a:lnTo>
                  <a:lnTo>
                    <a:pt x="19" y="278"/>
                  </a:lnTo>
                  <a:lnTo>
                    <a:pt x="13" y="297"/>
                  </a:lnTo>
                  <a:lnTo>
                    <a:pt x="9" y="316"/>
                  </a:lnTo>
                  <a:lnTo>
                    <a:pt x="6" y="335"/>
                  </a:lnTo>
                  <a:lnTo>
                    <a:pt x="3" y="356"/>
                  </a:lnTo>
                  <a:lnTo>
                    <a:pt x="2" y="375"/>
                  </a:lnTo>
                  <a:lnTo>
                    <a:pt x="0" y="396"/>
                  </a:lnTo>
                  <a:lnTo>
                    <a:pt x="2" y="410"/>
                  </a:lnTo>
                  <a:lnTo>
                    <a:pt x="3" y="424"/>
                  </a:lnTo>
                  <a:lnTo>
                    <a:pt x="5" y="437"/>
                  </a:lnTo>
                  <a:lnTo>
                    <a:pt x="7" y="451"/>
                  </a:lnTo>
                  <a:lnTo>
                    <a:pt x="13" y="479"/>
                  </a:lnTo>
                  <a:lnTo>
                    <a:pt x="22" y="506"/>
                  </a:lnTo>
                  <a:lnTo>
                    <a:pt x="33" y="534"/>
                  </a:lnTo>
                  <a:lnTo>
                    <a:pt x="46" y="561"/>
                  </a:lnTo>
                  <a:lnTo>
                    <a:pt x="59" y="589"/>
                  </a:lnTo>
                  <a:lnTo>
                    <a:pt x="74" y="617"/>
                  </a:lnTo>
                  <a:lnTo>
                    <a:pt x="103" y="671"/>
                  </a:lnTo>
                  <a:lnTo>
                    <a:pt x="133" y="725"/>
                  </a:lnTo>
                  <a:lnTo>
                    <a:pt x="147" y="752"/>
                  </a:lnTo>
                  <a:lnTo>
                    <a:pt x="160" y="778"/>
                  </a:lnTo>
                  <a:lnTo>
                    <a:pt x="172" y="804"/>
                  </a:lnTo>
                  <a:lnTo>
                    <a:pt x="182" y="830"/>
                  </a:lnTo>
                  <a:lnTo>
                    <a:pt x="206" y="901"/>
                  </a:lnTo>
                  <a:lnTo>
                    <a:pt x="225" y="965"/>
                  </a:lnTo>
                  <a:lnTo>
                    <a:pt x="234" y="994"/>
                  </a:lnTo>
                  <a:lnTo>
                    <a:pt x="242" y="1020"/>
                  </a:lnTo>
                  <a:lnTo>
                    <a:pt x="251" y="1045"/>
                  </a:lnTo>
                  <a:lnTo>
                    <a:pt x="260" y="1066"/>
                  </a:lnTo>
                  <a:lnTo>
                    <a:pt x="265" y="1076"/>
                  </a:lnTo>
                  <a:lnTo>
                    <a:pt x="270" y="1086"/>
                  </a:lnTo>
                  <a:lnTo>
                    <a:pt x="276" y="1094"/>
                  </a:lnTo>
                  <a:lnTo>
                    <a:pt x="281" y="1103"/>
                  </a:lnTo>
                  <a:lnTo>
                    <a:pt x="288" y="1111"/>
                  </a:lnTo>
                  <a:lnTo>
                    <a:pt x="295" y="1118"/>
                  </a:lnTo>
                  <a:lnTo>
                    <a:pt x="302" y="1125"/>
                  </a:lnTo>
                  <a:lnTo>
                    <a:pt x="310" y="1130"/>
                  </a:lnTo>
                  <a:lnTo>
                    <a:pt x="318" y="1135"/>
                  </a:lnTo>
                  <a:lnTo>
                    <a:pt x="328" y="1140"/>
                  </a:lnTo>
                  <a:lnTo>
                    <a:pt x="337" y="1143"/>
                  </a:lnTo>
                  <a:lnTo>
                    <a:pt x="347" y="1146"/>
                  </a:lnTo>
                  <a:lnTo>
                    <a:pt x="359" y="1148"/>
                  </a:lnTo>
                  <a:lnTo>
                    <a:pt x="371" y="1151"/>
                  </a:lnTo>
                  <a:lnTo>
                    <a:pt x="383" y="1152"/>
                  </a:lnTo>
                  <a:lnTo>
                    <a:pt x="397" y="1152"/>
                  </a:lnTo>
                  <a:lnTo>
                    <a:pt x="411" y="1152"/>
                  </a:lnTo>
                  <a:lnTo>
                    <a:pt x="424" y="1151"/>
                  </a:lnTo>
                  <a:lnTo>
                    <a:pt x="436" y="1148"/>
                  </a:lnTo>
                  <a:lnTo>
                    <a:pt x="448" y="1146"/>
                  </a:lnTo>
                  <a:lnTo>
                    <a:pt x="457" y="1143"/>
                  </a:lnTo>
                  <a:lnTo>
                    <a:pt x="467" y="1140"/>
                  </a:lnTo>
                  <a:lnTo>
                    <a:pt x="477" y="1135"/>
                  </a:lnTo>
                  <a:lnTo>
                    <a:pt x="485" y="1130"/>
                  </a:lnTo>
                  <a:lnTo>
                    <a:pt x="493" y="1125"/>
                  </a:lnTo>
                  <a:lnTo>
                    <a:pt x="501" y="1118"/>
                  </a:lnTo>
                  <a:lnTo>
                    <a:pt x="507" y="1111"/>
                  </a:lnTo>
                  <a:lnTo>
                    <a:pt x="513" y="1103"/>
                  </a:lnTo>
                  <a:lnTo>
                    <a:pt x="519" y="1095"/>
                  </a:lnTo>
                  <a:lnTo>
                    <a:pt x="524" y="1086"/>
                  </a:lnTo>
                  <a:lnTo>
                    <a:pt x="530" y="1077"/>
                  </a:lnTo>
                  <a:lnTo>
                    <a:pt x="535" y="1066"/>
                  </a:lnTo>
                  <a:lnTo>
                    <a:pt x="544" y="1045"/>
                  </a:lnTo>
                  <a:lnTo>
                    <a:pt x="552" y="1021"/>
                  </a:lnTo>
                  <a:lnTo>
                    <a:pt x="561" y="994"/>
                  </a:lnTo>
                  <a:lnTo>
                    <a:pt x="570" y="966"/>
                  </a:lnTo>
                  <a:lnTo>
                    <a:pt x="578" y="935"/>
                  </a:lnTo>
                  <a:lnTo>
                    <a:pt x="588" y="902"/>
                  </a:lnTo>
                  <a:lnTo>
                    <a:pt x="599" y="868"/>
                  </a:lnTo>
                  <a:lnTo>
                    <a:pt x="612" y="831"/>
                  </a:lnTo>
                  <a:lnTo>
                    <a:pt x="621" y="805"/>
                  </a:lnTo>
                  <a:lnTo>
                    <a:pt x="633" y="779"/>
                  </a:lnTo>
                  <a:lnTo>
                    <a:pt x="646" y="753"/>
                  </a:lnTo>
                  <a:lnTo>
                    <a:pt x="660" y="726"/>
                  </a:lnTo>
                  <a:lnTo>
                    <a:pt x="691" y="672"/>
                  </a:lnTo>
                  <a:lnTo>
                    <a:pt x="721" y="617"/>
                  </a:lnTo>
                  <a:lnTo>
                    <a:pt x="735" y="589"/>
                  </a:lnTo>
                  <a:lnTo>
                    <a:pt x="749" y="561"/>
                  </a:lnTo>
                  <a:lnTo>
                    <a:pt x="761" y="533"/>
                  </a:lnTo>
                  <a:lnTo>
                    <a:pt x="772" y="506"/>
                  </a:lnTo>
                  <a:lnTo>
                    <a:pt x="780" y="478"/>
                  </a:lnTo>
                  <a:lnTo>
                    <a:pt x="787" y="451"/>
                  </a:lnTo>
                  <a:lnTo>
                    <a:pt x="790" y="437"/>
                  </a:lnTo>
                  <a:lnTo>
                    <a:pt x="791" y="423"/>
                  </a:lnTo>
                  <a:lnTo>
                    <a:pt x="792" y="410"/>
                  </a:lnTo>
                  <a:lnTo>
                    <a:pt x="793" y="396"/>
                  </a:lnTo>
                  <a:lnTo>
                    <a:pt x="792" y="375"/>
                  </a:lnTo>
                  <a:lnTo>
                    <a:pt x="791" y="356"/>
                  </a:lnTo>
                  <a:lnTo>
                    <a:pt x="789" y="335"/>
                  </a:lnTo>
                  <a:lnTo>
                    <a:pt x="785" y="316"/>
                  </a:lnTo>
                  <a:lnTo>
                    <a:pt x="780" y="297"/>
                  </a:lnTo>
                  <a:lnTo>
                    <a:pt x="775" y="278"/>
                  </a:lnTo>
                  <a:lnTo>
                    <a:pt x="769" y="260"/>
                  </a:lnTo>
                  <a:lnTo>
                    <a:pt x="762" y="242"/>
                  </a:lnTo>
                  <a:lnTo>
                    <a:pt x="754" y="224"/>
                  </a:lnTo>
                  <a:lnTo>
                    <a:pt x="746" y="207"/>
                  </a:lnTo>
                  <a:lnTo>
                    <a:pt x="736" y="190"/>
                  </a:lnTo>
                  <a:lnTo>
                    <a:pt x="725" y="174"/>
                  </a:lnTo>
                  <a:lnTo>
                    <a:pt x="714" y="159"/>
                  </a:lnTo>
                  <a:lnTo>
                    <a:pt x="703" y="144"/>
                  </a:lnTo>
                  <a:lnTo>
                    <a:pt x="691" y="130"/>
                  </a:lnTo>
                  <a:lnTo>
                    <a:pt x="677" y="116"/>
                  </a:lnTo>
                  <a:lnTo>
                    <a:pt x="664" y="103"/>
                  </a:lnTo>
                  <a:lnTo>
                    <a:pt x="648" y="90"/>
                  </a:lnTo>
                  <a:lnTo>
                    <a:pt x="633" y="78"/>
                  </a:lnTo>
                  <a:lnTo>
                    <a:pt x="618" y="67"/>
                  </a:lnTo>
                  <a:lnTo>
                    <a:pt x="602" y="58"/>
                  </a:lnTo>
                  <a:lnTo>
                    <a:pt x="586" y="48"/>
                  </a:lnTo>
                  <a:lnTo>
                    <a:pt x="569" y="39"/>
                  </a:lnTo>
                  <a:lnTo>
                    <a:pt x="551" y="31"/>
                  </a:lnTo>
                  <a:lnTo>
                    <a:pt x="533" y="24"/>
                  </a:lnTo>
                  <a:lnTo>
                    <a:pt x="515" y="18"/>
                  </a:lnTo>
                  <a:lnTo>
                    <a:pt x="496" y="12"/>
                  </a:lnTo>
                  <a:lnTo>
                    <a:pt x="477" y="8"/>
                  </a:lnTo>
                  <a:lnTo>
                    <a:pt x="457" y="5"/>
                  </a:lnTo>
                  <a:lnTo>
                    <a:pt x="438" y="1"/>
                  </a:lnTo>
                  <a:lnTo>
                    <a:pt x="417" y="0"/>
                  </a:lnTo>
                  <a:lnTo>
                    <a:pt x="39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3" name="Freeform 115"/>
            <p:cNvSpPr/>
            <p:nvPr/>
          </p:nvSpPr>
          <p:spPr bwMode="auto">
            <a:xfrm>
              <a:off x="3791743" y="3739753"/>
              <a:ext cx="93663" cy="93663"/>
            </a:xfrm>
            <a:custGeom>
              <a:avLst/>
              <a:gdLst>
                <a:gd name="T0" fmla="*/ 205 w 234"/>
                <a:gd name="T1" fmla="*/ 1 h 234"/>
                <a:gd name="T2" fmla="*/ 183 w 234"/>
                <a:gd name="T3" fmla="*/ 3 h 234"/>
                <a:gd name="T4" fmla="*/ 152 w 234"/>
                <a:gd name="T5" fmla="*/ 9 h 234"/>
                <a:gd name="T6" fmla="*/ 113 w 234"/>
                <a:gd name="T7" fmla="*/ 26 h 234"/>
                <a:gd name="T8" fmla="*/ 79 w 234"/>
                <a:gd name="T9" fmla="*/ 49 h 234"/>
                <a:gd name="T10" fmla="*/ 50 w 234"/>
                <a:gd name="T11" fmla="*/ 78 h 234"/>
                <a:gd name="T12" fmla="*/ 26 w 234"/>
                <a:gd name="T13" fmla="*/ 113 h 234"/>
                <a:gd name="T14" fmla="*/ 10 w 234"/>
                <a:gd name="T15" fmla="*/ 152 h 234"/>
                <a:gd name="T16" fmla="*/ 2 w 234"/>
                <a:gd name="T17" fmla="*/ 183 h 234"/>
                <a:gd name="T18" fmla="*/ 0 w 234"/>
                <a:gd name="T19" fmla="*/ 205 h 234"/>
                <a:gd name="T20" fmla="*/ 0 w 234"/>
                <a:gd name="T21" fmla="*/ 220 h 234"/>
                <a:gd name="T22" fmla="*/ 3 w 234"/>
                <a:gd name="T23" fmla="*/ 226 h 234"/>
                <a:gd name="T24" fmla="*/ 7 w 234"/>
                <a:gd name="T25" fmla="*/ 231 h 234"/>
                <a:gd name="T26" fmla="*/ 14 w 234"/>
                <a:gd name="T27" fmla="*/ 234 h 234"/>
                <a:gd name="T28" fmla="*/ 21 w 234"/>
                <a:gd name="T29" fmla="*/ 234 h 234"/>
                <a:gd name="T30" fmla="*/ 28 w 234"/>
                <a:gd name="T31" fmla="*/ 231 h 234"/>
                <a:gd name="T32" fmla="*/ 33 w 234"/>
                <a:gd name="T33" fmla="*/ 226 h 234"/>
                <a:gd name="T34" fmla="*/ 35 w 234"/>
                <a:gd name="T35" fmla="*/ 220 h 234"/>
                <a:gd name="T36" fmla="*/ 37 w 234"/>
                <a:gd name="T37" fmla="*/ 197 h 234"/>
                <a:gd name="T38" fmla="*/ 44 w 234"/>
                <a:gd name="T39" fmla="*/ 163 h 234"/>
                <a:gd name="T40" fmla="*/ 58 w 234"/>
                <a:gd name="T41" fmla="*/ 130 h 234"/>
                <a:gd name="T42" fmla="*/ 78 w 234"/>
                <a:gd name="T43" fmla="*/ 101 h 234"/>
                <a:gd name="T44" fmla="*/ 101 w 234"/>
                <a:gd name="T45" fmla="*/ 77 h 234"/>
                <a:gd name="T46" fmla="*/ 131 w 234"/>
                <a:gd name="T47" fmla="*/ 58 h 234"/>
                <a:gd name="T48" fmla="*/ 163 w 234"/>
                <a:gd name="T49" fmla="*/ 44 h 234"/>
                <a:gd name="T50" fmla="*/ 197 w 234"/>
                <a:gd name="T51" fmla="*/ 36 h 234"/>
                <a:gd name="T52" fmla="*/ 219 w 234"/>
                <a:gd name="T53" fmla="*/ 35 h 234"/>
                <a:gd name="T54" fmla="*/ 226 w 234"/>
                <a:gd name="T55" fmla="*/ 33 h 234"/>
                <a:gd name="T56" fmla="*/ 231 w 234"/>
                <a:gd name="T57" fmla="*/ 28 h 234"/>
                <a:gd name="T58" fmla="*/ 233 w 234"/>
                <a:gd name="T59" fmla="*/ 21 h 234"/>
                <a:gd name="T60" fmla="*/ 233 w 234"/>
                <a:gd name="T61" fmla="*/ 15 h 234"/>
                <a:gd name="T62" fmla="*/ 231 w 234"/>
                <a:gd name="T63" fmla="*/ 8 h 234"/>
                <a:gd name="T64" fmla="*/ 226 w 234"/>
                <a:gd name="T65" fmla="*/ 3 h 234"/>
                <a:gd name="T66" fmla="*/ 219 w 234"/>
                <a:gd name="T67" fmla="*/ 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234">
                  <a:moveTo>
                    <a:pt x="216" y="0"/>
                  </a:moveTo>
                  <a:lnTo>
                    <a:pt x="205" y="1"/>
                  </a:lnTo>
                  <a:lnTo>
                    <a:pt x="194" y="1"/>
                  </a:lnTo>
                  <a:lnTo>
                    <a:pt x="183" y="3"/>
                  </a:lnTo>
                  <a:lnTo>
                    <a:pt x="173" y="4"/>
                  </a:lnTo>
                  <a:lnTo>
                    <a:pt x="152" y="9"/>
                  </a:lnTo>
                  <a:lnTo>
                    <a:pt x="132" y="17"/>
                  </a:lnTo>
                  <a:lnTo>
                    <a:pt x="113" y="26"/>
                  </a:lnTo>
                  <a:lnTo>
                    <a:pt x="95" y="36"/>
                  </a:lnTo>
                  <a:lnTo>
                    <a:pt x="79" y="49"/>
                  </a:lnTo>
                  <a:lnTo>
                    <a:pt x="64" y="63"/>
                  </a:lnTo>
                  <a:lnTo>
                    <a:pt x="50" y="78"/>
                  </a:lnTo>
                  <a:lnTo>
                    <a:pt x="37" y="95"/>
                  </a:lnTo>
                  <a:lnTo>
                    <a:pt x="26" y="113"/>
                  </a:lnTo>
                  <a:lnTo>
                    <a:pt x="17" y="131"/>
                  </a:lnTo>
                  <a:lnTo>
                    <a:pt x="10" y="152"/>
                  </a:lnTo>
                  <a:lnTo>
                    <a:pt x="4" y="172"/>
                  </a:lnTo>
                  <a:lnTo>
                    <a:pt x="2" y="183"/>
                  </a:lnTo>
                  <a:lnTo>
                    <a:pt x="1" y="194"/>
                  </a:lnTo>
                  <a:lnTo>
                    <a:pt x="0" y="205"/>
                  </a:lnTo>
                  <a:lnTo>
                    <a:pt x="0" y="216"/>
                  </a:lnTo>
                  <a:lnTo>
                    <a:pt x="0" y="220"/>
                  </a:lnTo>
                  <a:lnTo>
                    <a:pt x="1" y="223"/>
                  </a:lnTo>
                  <a:lnTo>
                    <a:pt x="3" y="226"/>
                  </a:lnTo>
                  <a:lnTo>
                    <a:pt x="5" y="229"/>
                  </a:lnTo>
                  <a:lnTo>
                    <a:pt x="7" y="231"/>
                  </a:lnTo>
                  <a:lnTo>
                    <a:pt x="11" y="233"/>
                  </a:lnTo>
                  <a:lnTo>
                    <a:pt x="14" y="234"/>
                  </a:lnTo>
                  <a:lnTo>
                    <a:pt x="18" y="234"/>
                  </a:lnTo>
                  <a:lnTo>
                    <a:pt x="21" y="234"/>
                  </a:lnTo>
                  <a:lnTo>
                    <a:pt x="25" y="233"/>
                  </a:lnTo>
                  <a:lnTo>
                    <a:pt x="28" y="231"/>
                  </a:lnTo>
                  <a:lnTo>
                    <a:pt x="31" y="229"/>
                  </a:lnTo>
                  <a:lnTo>
                    <a:pt x="33" y="226"/>
                  </a:lnTo>
                  <a:lnTo>
                    <a:pt x="34" y="223"/>
                  </a:lnTo>
                  <a:lnTo>
                    <a:pt x="35" y="220"/>
                  </a:lnTo>
                  <a:lnTo>
                    <a:pt x="35" y="216"/>
                  </a:lnTo>
                  <a:lnTo>
                    <a:pt x="37" y="197"/>
                  </a:lnTo>
                  <a:lnTo>
                    <a:pt x="40" y="180"/>
                  </a:lnTo>
                  <a:lnTo>
                    <a:pt x="44" y="163"/>
                  </a:lnTo>
                  <a:lnTo>
                    <a:pt x="51" y="145"/>
                  </a:lnTo>
                  <a:lnTo>
                    <a:pt x="58" y="130"/>
                  </a:lnTo>
                  <a:lnTo>
                    <a:pt x="67" y="115"/>
                  </a:lnTo>
                  <a:lnTo>
                    <a:pt x="78" y="101"/>
                  </a:lnTo>
                  <a:lnTo>
                    <a:pt x="88" y="88"/>
                  </a:lnTo>
                  <a:lnTo>
                    <a:pt x="101" y="77"/>
                  </a:lnTo>
                  <a:lnTo>
                    <a:pt x="115" y="67"/>
                  </a:lnTo>
                  <a:lnTo>
                    <a:pt x="131" y="58"/>
                  </a:lnTo>
                  <a:lnTo>
                    <a:pt x="146" y="50"/>
                  </a:lnTo>
                  <a:lnTo>
                    <a:pt x="163" y="44"/>
                  </a:lnTo>
                  <a:lnTo>
                    <a:pt x="180" y="40"/>
                  </a:lnTo>
                  <a:lnTo>
                    <a:pt x="197" y="36"/>
                  </a:lnTo>
                  <a:lnTo>
                    <a:pt x="216" y="36"/>
                  </a:lnTo>
                  <a:lnTo>
                    <a:pt x="219" y="35"/>
                  </a:lnTo>
                  <a:lnTo>
                    <a:pt x="223" y="34"/>
                  </a:lnTo>
                  <a:lnTo>
                    <a:pt x="226" y="33"/>
                  </a:lnTo>
                  <a:lnTo>
                    <a:pt x="229" y="31"/>
                  </a:lnTo>
                  <a:lnTo>
                    <a:pt x="231" y="28"/>
                  </a:lnTo>
                  <a:lnTo>
                    <a:pt x="232" y="24"/>
                  </a:lnTo>
                  <a:lnTo>
                    <a:pt x="233" y="21"/>
                  </a:lnTo>
                  <a:lnTo>
                    <a:pt x="234" y="18"/>
                  </a:lnTo>
                  <a:lnTo>
                    <a:pt x="233" y="15"/>
                  </a:lnTo>
                  <a:lnTo>
                    <a:pt x="232" y="10"/>
                  </a:lnTo>
                  <a:lnTo>
                    <a:pt x="231" y="8"/>
                  </a:lnTo>
                  <a:lnTo>
                    <a:pt x="229" y="5"/>
                  </a:lnTo>
                  <a:lnTo>
                    <a:pt x="226" y="3"/>
                  </a:lnTo>
                  <a:lnTo>
                    <a:pt x="223" y="2"/>
                  </a:lnTo>
                  <a:lnTo>
                    <a:pt x="219" y="1"/>
                  </a:lnTo>
                  <a:lnTo>
                    <a:pt x="21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grpSp>
      <p:sp>
        <p:nvSpPr>
          <p:cNvPr id="14" name="Rectangle 13"/>
          <p:cNvSpPr/>
          <p:nvPr/>
        </p:nvSpPr>
        <p:spPr>
          <a:xfrm>
            <a:off x="2755377" y="2818605"/>
            <a:ext cx="1632799" cy="600164"/>
          </a:xfrm>
          <a:prstGeom prst="rect">
            <a:avLst/>
          </a:prstGeom>
        </p:spPr>
        <p:txBody>
          <a:bodyPr wrap="square" anchor="ctr">
            <a:spAutoFit/>
          </a:bodyPr>
          <a:lstStyle/>
          <a:p>
            <a:pPr>
              <a:buClr>
                <a:srgbClr val="E24848"/>
              </a:buClr>
              <a:defRPr/>
            </a:pPr>
            <a:r>
              <a:rPr lang="en-US" sz="825" noProof="1">
                <a:solidFill>
                  <a:schemeClr val="bg1"/>
                </a:solidFill>
                <a:latin typeface="+mj-lt"/>
                <a:ea typeface="Open Sans Light" panose="020B0306030504020204" pitchFamily="34" charset="0"/>
                <a:cs typeface="Open Sans Light" panose="020B0306030504020204" pitchFamily="34" charset="0"/>
              </a:rPr>
              <a:t>Lorem ipsum amet stetur adipiscing elit. Nunc enim sem, commoarhonc stamet, elementum</a:t>
            </a:r>
            <a:endParaRPr lang="en-US" sz="825" noProof="1">
              <a:solidFill>
                <a:schemeClr val="bg1"/>
              </a:solidFill>
              <a:latin typeface="+mj-lt"/>
              <a:ea typeface="Open Sans Light" panose="020B0306030504020204" pitchFamily="34" charset="0"/>
              <a:cs typeface="Open Sans Light" panose="020B0306030504020204" pitchFamily="34" charset="0"/>
            </a:endParaRPr>
          </a:p>
        </p:txBody>
      </p:sp>
      <p:sp>
        <p:nvSpPr>
          <p:cNvPr id="15" name="Rectangle 3"/>
          <p:cNvSpPr txBox="1">
            <a:spLocks noChangeArrowheads="1"/>
          </p:cNvSpPr>
          <p:nvPr/>
        </p:nvSpPr>
        <p:spPr>
          <a:xfrm>
            <a:off x="2755377" y="2581980"/>
            <a:ext cx="1301006" cy="274436"/>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3975" indent="0">
              <a:spcBef>
                <a:spcPts val="0"/>
              </a:spcBef>
              <a:buClr>
                <a:srgbClr val="1D5B2D"/>
              </a:buClr>
              <a:buSzPct val="100000"/>
              <a:buNone/>
            </a:pPr>
            <a:r>
              <a:rPr lang="en-US" sz="1350" b="1" spc="-113" dirty="0">
                <a:solidFill>
                  <a:schemeClr val="bg1"/>
                </a:solidFill>
                <a:latin typeface="Lato" panose="020F0502020204030203" pitchFamily="34" charset="0"/>
                <a:ea typeface="Open Sans" panose="020B0606030504020204" pitchFamily="34" charset="0"/>
                <a:cs typeface="Lato" panose="020F0502020204030203" pitchFamily="34" charset="0"/>
              </a:rPr>
              <a:t>Describe</a:t>
            </a:r>
            <a:endParaRPr lang="en-US" sz="1350" spc="-113"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18" name="Rectangle 17"/>
          <p:cNvSpPr/>
          <p:nvPr/>
        </p:nvSpPr>
        <p:spPr>
          <a:xfrm>
            <a:off x="776178" y="3799496"/>
            <a:ext cx="3574812" cy="507831"/>
          </a:xfrm>
          <a:prstGeom prst="rect">
            <a:avLst/>
          </a:prstGeom>
        </p:spPr>
        <p:txBody>
          <a:bodyPr wrap="square">
            <a:spAutoFit/>
          </a:bodyPr>
          <a:lstStyle/>
          <a:p>
            <a:pPr>
              <a:buClr>
                <a:srgbClr val="E24848"/>
              </a:buClr>
              <a:defRPr/>
            </a:pPr>
            <a:r>
              <a:rPr lang="en-US" sz="9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a:t>
            </a:r>
            <a:endParaRPr lang="en-US" sz="9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19" name="Rectangle 18"/>
          <p:cNvSpPr/>
          <p:nvPr/>
        </p:nvSpPr>
        <p:spPr>
          <a:xfrm>
            <a:off x="5083623" y="3799496"/>
            <a:ext cx="3574812" cy="507831"/>
          </a:xfrm>
          <a:prstGeom prst="rect">
            <a:avLst/>
          </a:prstGeom>
        </p:spPr>
        <p:txBody>
          <a:bodyPr wrap="square">
            <a:spAutoFit/>
          </a:bodyPr>
          <a:lstStyle/>
          <a:p>
            <a:pPr>
              <a:buClr>
                <a:srgbClr val="E24848"/>
              </a:buClr>
              <a:defRPr/>
            </a:pPr>
            <a:r>
              <a:rPr lang="en-US" sz="9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a:t>
            </a:r>
            <a:endParaRPr lang="en-US" sz="9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grpSp>
        <p:nvGrpSpPr>
          <p:cNvPr id="22" name="Group 21"/>
          <p:cNvGrpSpPr/>
          <p:nvPr/>
        </p:nvGrpSpPr>
        <p:grpSpPr>
          <a:xfrm>
            <a:off x="5500625" y="2027126"/>
            <a:ext cx="166336" cy="241943"/>
            <a:chOff x="3720306" y="3668315"/>
            <a:chExt cx="314325" cy="457200"/>
          </a:xfrm>
          <a:solidFill>
            <a:schemeClr val="bg1"/>
          </a:solidFill>
        </p:grpSpPr>
        <p:sp>
          <p:nvSpPr>
            <p:cNvPr id="23" name="Freeform 114"/>
            <p:cNvSpPr>
              <a:spLocks noEditPoints="1"/>
            </p:cNvSpPr>
            <p:nvPr/>
          </p:nvSpPr>
          <p:spPr bwMode="auto">
            <a:xfrm>
              <a:off x="3720306" y="3668315"/>
              <a:ext cx="314325" cy="457200"/>
            </a:xfrm>
            <a:custGeom>
              <a:avLst/>
              <a:gdLst>
                <a:gd name="T0" fmla="*/ 184 w 793"/>
                <a:gd name="T1" fmla="*/ 669 h 1152"/>
                <a:gd name="T2" fmla="*/ 103 w 793"/>
                <a:gd name="T3" fmla="*/ 514 h 1152"/>
                <a:gd name="T4" fmla="*/ 78 w 793"/>
                <a:gd name="T5" fmla="*/ 439 h 1152"/>
                <a:gd name="T6" fmla="*/ 75 w 793"/>
                <a:gd name="T7" fmla="*/ 363 h 1152"/>
                <a:gd name="T8" fmla="*/ 92 w 793"/>
                <a:gd name="T9" fmla="*/ 284 h 1152"/>
                <a:gd name="T10" fmla="*/ 128 w 793"/>
                <a:gd name="T11" fmla="*/ 215 h 1152"/>
                <a:gd name="T12" fmla="*/ 180 w 793"/>
                <a:gd name="T13" fmla="*/ 156 h 1152"/>
                <a:gd name="T14" fmla="*/ 242 w 793"/>
                <a:gd name="T15" fmla="*/ 112 h 1152"/>
                <a:gd name="T16" fmla="*/ 316 w 793"/>
                <a:gd name="T17" fmla="*/ 82 h 1152"/>
                <a:gd name="T18" fmla="*/ 397 w 793"/>
                <a:gd name="T19" fmla="*/ 72 h 1152"/>
                <a:gd name="T20" fmla="*/ 478 w 793"/>
                <a:gd name="T21" fmla="*/ 82 h 1152"/>
                <a:gd name="T22" fmla="*/ 551 w 793"/>
                <a:gd name="T23" fmla="*/ 112 h 1152"/>
                <a:gd name="T24" fmla="*/ 615 w 793"/>
                <a:gd name="T25" fmla="*/ 156 h 1152"/>
                <a:gd name="T26" fmla="*/ 666 w 793"/>
                <a:gd name="T27" fmla="*/ 215 h 1152"/>
                <a:gd name="T28" fmla="*/ 701 w 793"/>
                <a:gd name="T29" fmla="*/ 284 h 1152"/>
                <a:gd name="T30" fmla="*/ 720 w 793"/>
                <a:gd name="T31" fmla="*/ 363 h 1152"/>
                <a:gd name="T32" fmla="*/ 717 w 793"/>
                <a:gd name="T33" fmla="*/ 438 h 1152"/>
                <a:gd name="T34" fmla="*/ 691 w 793"/>
                <a:gd name="T35" fmla="*/ 513 h 1152"/>
                <a:gd name="T36" fmla="*/ 610 w 793"/>
                <a:gd name="T37" fmla="*/ 669 h 1152"/>
                <a:gd name="T38" fmla="*/ 397 w 793"/>
                <a:gd name="T39" fmla="*/ 1080 h 1152"/>
                <a:gd name="T40" fmla="*/ 346 w 793"/>
                <a:gd name="T41" fmla="*/ 1067 h 1152"/>
                <a:gd name="T42" fmla="*/ 469 w 793"/>
                <a:gd name="T43" fmla="*/ 1036 h 1152"/>
                <a:gd name="T44" fmla="*/ 445 w 793"/>
                <a:gd name="T45" fmla="*/ 1071 h 1152"/>
                <a:gd name="T46" fmla="*/ 412 w 793"/>
                <a:gd name="T47" fmla="*/ 1079 h 1152"/>
                <a:gd name="T48" fmla="*/ 263 w 793"/>
                <a:gd name="T49" fmla="*/ 846 h 1152"/>
                <a:gd name="T50" fmla="*/ 528 w 793"/>
                <a:gd name="T51" fmla="*/ 857 h 1152"/>
                <a:gd name="T52" fmla="*/ 307 w 793"/>
                <a:gd name="T53" fmla="*/ 986 h 1152"/>
                <a:gd name="T54" fmla="*/ 290 w 793"/>
                <a:gd name="T55" fmla="*/ 931 h 1152"/>
                <a:gd name="T56" fmla="*/ 496 w 793"/>
                <a:gd name="T57" fmla="*/ 958 h 1152"/>
                <a:gd name="T58" fmla="*/ 376 w 793"/>
                <a:gd name="T59" fmla="*/ 0 h 1152"/>
                <a:gd name="T60" fmla="*/ 279 w 793"/>
                <a:gd name="T61" fmla="*/ 18 h 1152"/>
                <a:gd name="T62" fmla="*/ 192 w 793"/>
                <a:gd name="T63" fmla="*/ 58 h 1152"/>
                <a:gd name="T64" fmla="*/ 117 w 793"/>
                <a:gd name="T65" fmla="*/ 116 h 1152"/>
                <a:gd name="T66" fmla="*/ 59 w 793"/>
                <a:gd name="T67" fmla="*/ 190 h 1152"/>
                <a:gd name="T68" fmla="*/ 19 w 793"/>
                <a:gd name="T69" fmla="*/ 278 h 1152"/>
                <a:gd name="T70" fmla="*/ 2 w 793"/>
                <a:gd name="T71" fmla="*/ 375 h 1152"/>
                <a:gd name="T72" fmla="*/ 7 w 793"/>
                <a:gd name="T73" fmla="*/ 451 h 1152"/>
                <a:gd name="T74" fmla="*/ 59 w 793"/>
                <a:gd name="T75" fmla="*/ 589 h 1152"/>
                <a:gd name="T76" fmla="*/ 160 w 793"/>
                <a:gd name="T77" fmla="*/ 778 h 1152"/>
                <a:gd name="T78" fmla="*/ 234 w 793"/>
                <a:gd name="T79" fmla="*/ 994 h 1152"/>
                <a:gd name="T80" fmla="*/ 270 w 793"/>
                <a:gd name="T81" fmla="*/ 1086 h 1152"/>
                <a:gd name="T82" fmla="*/ 302 w 793"/>
                <a:gd name="T83" fmla="*/ 1125 h 1152"/>
                <a:gd name="T84" fmla="*/ 347 w 793"/>
                <a:gd name="T85" fmla="*/ 1146 h 1152"/>
                <a:gd name="T86" fmla="*/ 411 w 793"/>
                <a:gd name="T87" fmla="*/ 1152 h 1152"/>
                <a:gd name="T88" fmla="*/ 467 w 793"/>
                <a:gd name="T89" fmla="*/ 1140 h 1152"/>
                <a:gd name="T90" fmla="*/ 507 w 793"/>
                <a:gd name="T91" fmla="*/ 1111 h 1152"/>
                <a:gd name="T92" fmla="*/ 535 w 793"/>
                <a:gd name="T93" fmla="*/ 1066 h 1152"/>
                <a:gd name="T94" fmla="*/ 578 w 793"/>
                <a:gd name="T95" fmla="*/ 935 h 1152"/>
                <a:gd name="T96" fmla="*/ 633 w 793"/>
                <a:gd name="T97" fmla="*/ 779 h 1152"/>
                <a:gd name="T98" fmla="*/ 735 w 793"/>
                <a:gd name="T99" fmla="*/ 589 h 1152"/>
                <a:gd name="T100" fmla="*/ 787 w 793"/>
                <a:gd name="T101" fmla="*/ 451 h 1152"/>
                <a:gd name="T102" fmla="*/ 792 w 793"/>
                <a:gd name="T103" fmla="*/ 375 h 1152"/>
                <a:gd name="T104" fmla="*/ 775 w 793"/>
                <a:gd name="T105" fmla="*/ 278 h 1152"/>
                <a:gd name="T106" fmla="*/ 736 w 793"/>
                <a:gd name="T107" fmla="*/ 190 h 1152"/>
                <a:gd name="T108" fmla="*/ 677 w 793"/>
                <a:gd name="T109" fmla="*/ 116 h 1152"/>
                <a:gd name="T110" fmla="*/ 602 w 793"/>
                <a:gd name="T111" fmla="*/ 58 h 1152"/>
                <a:gd name="T112" fmla="*/ 515 w 793"/>
                <a:gd name="T113" fmla="*/ 18 h 1152"/>
                <a:gd name="T114" fmla="*/ 417 w 793"/>
                <a:gd name="T115"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3" h="1152">
                  <a:moveTo>
                    <a:pt x="565" y="756"/>
                  </a:moveTo>
                  <a:lnTo>
                    <a:pt x="229" y="756"/>
                  </a:lnTo>
                  <a:lnTo>
                    <a:pt x="215" y="727"/>
                  </a:lnTo>
                  <a:lnTo>
                    <a:pt x="200" y="698"/>
                  </a:lnTo>
                  <a:lnTo>
                    <a:pt x="184" y="669"/>
                  </a:lnTo>
                  <a:lnTo>
                    <a:pt x="169" y="640"/>
                  </a:lnTo>
                  <a:lnTo>
                    <a:pt x="151" y="608"/>
                  </a:lnTo>
                  <a:lnTo>
                    <a:pt x="133" y="577"/>
                  </a:lnTo>
                  <a:lnTo>
                    <a:pt x="117" y="545"/>
                  </a:lnTo>
                  <a:lnTo>
                    <a:pt x="103" y="514"/>
                  </a:lnTo>
                  <a:lnTo>
                    <a:pt x="97" y="498"/>
                  </a:lnTo>
                  <a:lnTo>
                    <a:pt x="91" y="483"/>
                  </a:lnTo>
                  <a:lnTo>
                    <a:pt x="86" y="468"/>
                  </a:lnTo>
                  <a:lnTo>
                    <a:pt x="81" y="453"/>
                  </a:lnTo>
                  <a:lnTo>
                    <a:pt x="78" y="439"/>
                  </a:lnTo>
                  <a:lnTo>
                    <a:pt x="75" y="424"/>
                  </a:lnTo>
                  <a:lnTo>
                    <a:pt x="74" y="410"/>
                  </a:lnTo>
                  <a:lnTo>
                    <a:pt x="73" y="396"/>
                  </a:lnTo>
                  <a:lnTo>
                    <a:pt x="74" y="379"/>
                  </a:lnTo>
                  <a:lnTo>
                    <a:pt x="75" y="363"/>
                  </a:lnTo>
                  <a:lnTo>
                    <a:pt x="77" y="347"/>
                  </a:lnTo>
                  <a:lnTo>
                    <a:pt x="79" y="331"/>
                  </a:lnTo>
                  <a:lnTo>
                    <a:pt x="84" y="315"/>
                  </a:lnTo>
                  <a:lnTo>
                    <a:pt x="88" y="300"/>
                  </a:lnTo>
                  <a:lnTo>
                    <a:pt x="92" y="284"/>
                  </a:lnTo>
                  <a:lnTo>
                    <a:pt x="99" y="270"/>
                  </a:lnTo>
                  <a:lnTo>
                    <a:pt x="105" y="255"/>
                  </a:lnTo>
                  <a:lnTo>
                    <a:pt x="112" y="241"/>
                  </a:lnTo>
                  <a:lnTo>
                    <a:pt x="120" y="228"/>
                  </a:lnTo>
                  <a:lnTo>
                    <a:pt x="128" y="215"/>
                  </a:lnTo>
                  <a:lnTo>
                    <a:pt x="138" y="202"/>
                  </a:lnTo>
                  <a:lnTo>
                    <a:pt x="147" y="190"/>
                  </a:lnTo>
                  <a:lnTo>
                    <a:pt x="157" y="179"/>
                  </a:lnTo>
                  <a:lnTo>
                    <a:pt x="168" y="167"/>
                  </a:lnTo>
                  <a:lnTo>
                    <a:pt x="180" y="156"/>
                  </a:lnTo>
                  <a:lnTo>
                    <a:pt x="191" y="146"/>
                  </a:lnTo>
                  <a:lnTo>
                    <a:pt x="204" y="136"/>
                  </a:lnTo>
                  <a:lnTo>
                    <a:pt x="216" y="128"/>
                  </a:lnTo>
                  <a:lnTo>
                    <a:pt x="229" y="119"/>
                  </a:lnTo>
                  <a:lnTo>
                    <a:pt x="242" y="112"/>
                  </a:lnTo>
                  <a:lnTo>
                    <a:pt x="256" y="104"/>
                  </a:lnTo>
                  <a:lnTo>
                    <a:pt x="270" y="98"/>
                  </a:lnTo>
                  <a:lnTo>
                    <a:pt x="286" y="91"/>
                  </a:lnTo>
                  <a:lnTo>
                    <a:pt x="301" y="87"/>
                  </a:lnTo>
                  <a:lnTo>
                    <a:pt x="316" y="82"/>
                  </a:lnTo>
                  <a:lnTo>
                    <a:pt x="332" y="78"/>
                  </a:lnTo>
                  <a:lnTo>
                    <a:pt x="348" y="76"/>
                  </a:lnTo>
                  <a:lnTo>
                    <a:pt x="364" y="74"/>
                  </a:lnTo>
                  <a:lnTo>
                    <a:pt x="381" y="73"/>
                  </a:lnTo>
                  <a:lnTo>
                    <a:pt x="397" y="72"/>
                  </a:lnTo>
                  <a:lnTo>
                    <a:pt x="414" y="73"/>
                  </a:lnTo>
                  <a:lnTo>
                    <a:pt x="430" y="74"/>
                  </a:lnTo>
                  <a:lnTo>
                    <a:pt x="447" y="76"/>
                  </a:lnTo>
                  <a:lnTo>
                    <a:pt x="463" y="78"/>
                  </a:lnTo>
                  <a:lnTo>
                    <a:pt x="478" y="82"/>
                  </a:lnTo>
                  <a:lnTo>
                    <a:pt x="493" y="87"/>
                  </a:lnTo>
                  <a:lnTo>
                    <a:pt x="508" y="91"/>
                  </a:lnTo>
                  <a:lnTo>
                    <a:pt x="523" y="98"/>
                  </a:lnTo>
                  <a:lnTo>
                    <a:pt x="537" y="104"/>
                  </a:lnTo>
                  <a:lnTo>
                    <a:pt x="551" y="112"/>
                  </a:lnTo>
                  <a:lnTo>
                    <a:pt x="565" y="119"/>
                  </a:lnTo>
                  <a:lnTo>
                    <a:pt x="578" y="128"/>
                  </a:lnTo>
                  <a:lnTo>
                    <a:pt x="591" y="136"/>
                  </a:lnTo>
                  <a:lnTo>
                    <a:pt x="603" y="146"/>
                  </a:lnTo>
                  <a:lnTo>
                    <a:pt x="615" y="156"/>
                  </a:lnTo>
                  <a:lnTo>
                    <a:pt x="626" y="167"/>
                  </a:lnTo>
                  <a:lnTo>
                    <a:pt x="637" y="179"/>
                  </a:lnTo>
                  <a:lnTo>
                    <a:pt x="647" y="190"/>
                  </a:lnTo>
                  <a:lnTo>
                    <a:pt x="656" y="202"/>
                  </a:lnTo>
                  <a:lnTo>
                    <a:pt x="666" y="215"/>
                  </a:lnTo>
                  <a:lnTo>
                    <a:pt x="674" y="228"/>
                  </a:lnTo>
                  <a:lnTo>
                    <a:pt x="682" y="241"/>
                  </a:lnTo>
                  <a:lnTo>
                    <a:pt x="688" y="255"/>
                  </a:lnTo>
                  <a:lnTo>
                    <a:pt x="696" y="270"/>
                  </a:lnTo>
                  <a:lnTo>
                    <a:pt x="701" y="284"/>
                  </a:lnTo>
                  <a:lnTo>
                    <a:pt x="707" y="300"/>
                  </a:lnTo>
                  <a:lnTo>
                    <a:pt x="711" y="315"/>
                  </a:lnTo>
                  <a:lnTo>
                    <a:pt x="714" y="331"/>
                  </a:lnTo>
                  <a:lnTo>
                    <a:pt x="718" y="347"/>
                  </a:lnTo>
                  <a:lnTo>
                    <a:pt x="720" y="363"/>
                  </a:lnTo>
                  <a:lnTo>
                    <a:pt x="721" y="379"/>
                  </a:lnTo>
                  <a:lnTo>
                    <a:pt x="721" y="396"/>
                  </a:lnTo>
                  <a:lnTo>
                    <a:pt x="721" y="410"/>
                  </a:lnTo>
                  <a:lnTo>
                    <a:pt x="719" y="424"/>
                  </a:lnTo>
                  <a:lnTo>
                    <a:pt x="717" y="438"/>
                  </a:lnTo>
                  <a:lnTo>
                    <a:pt x="712" y="453"/>
                  </a:lnTo>
                  <a:lnTo>
                    <a:pt x="708" y="468"/>
                  </a:lnTo>
                  <a:lnTo>
                    <a:pt x="704" y="483"/>
                  </a:lnTo>
                  <a:lnTo>
                    <a:pt x="697" y="498"/>
                  </a:lnTo>
                  <a:lnTo>
                    <a:pt x="691" y="513"/>
                  </a:lnTo>
                  <a:lnTo>
                    <a:pt x="677" y="545"/>
                  </a:lnTo>
                  <a:lnTo>
                    <a:pt x="660" y="577"/>
                  </a:lnTo>
                  <a:lnTo>
                    <a:pt x="643" y="608"/>
                  </a:lnTo>
                  <a:lnTo>
                    <a:pt x="626" y="641"/>
                  </a:lnTo>
                  <a:lnTo>
                    <a:pt x="610" y="669"/>
                  </a:lnTo>
                  <a:lnTo>
                    <a:pt x="594" y="698"/>
                  </a:lnTo>
                  <a:lnTo>
                    <a:pt x="579" y="727"/>
                  </a:lnTo>
                  <a:lnTo>
                    <a:pt x="565" y="756"/>
                  </a:lnTo>
                  <a:lnTo>
                    <a:pt x="565" y="756"/>
                  </a:lnTo>
                  <a:close/>
                  <a:moveTo>
                    <a:pt x="397" y="1080"/>
                  </a:moveTo>
                  <a:lnTo>
                    <a:pt x="384" y="1079"/>
                  </a:lnTo>
                  <a:lnTo>
                    <a:pt x="373" y="1078"/>
                  </a:lnTo>
                  <a:lnTo>
                    <a:pt x="363" y="1076"/>
                  </a:lnTo>
                  <a:lnTo>
                    <a:pt x="355" y="1073"/>
                  </a:lnTo>
                  <a:lnTo>
                    <a:pt x="346" y="1067"/>
                  </a:lnTo>
                  <a:lnTo>
                    <a:pt x="339" y="1059"/>
                  </a:lnTo>
                  <a:lnTo>
                    <a:pt x="332" y="1049"/>
                  </a:lnTo>
                  <a:lnTo>
                    <a:pt x="326" y="1035"/>
                  </a:lnTo>
                  <a:lnTo>
                    <a:pt x="478" y="1016"/>
                  </a:lnTo>
                  <a:lnTo>
                    <a:pt x="469" y="1036"/>
                  </a:lnTo>
                  <a:lnTo>
                    <a:pt x="462" y="1051"/>
                  </a:lnTo>
                  <a:lnTo>
                    <a:pt x="457" y="1057"/>
                  </a:lnTo>
                  <a:lnTo>
                    <a:pt x="454" y="1062"/>
                  </a:lnTo>
                  <a:lnTo>
                    <a:pt x="450" y="1066"/>
                  </a:lnTo>
                  <a:lnTo>
                    <a:pt x="445" y="1071"/>
                  </a:lnTo>
                  <a:lnTo>
                    <a:pt x="440" y="1073"/>
                  </a:lnTo>
                  <a:lnTo>
                    <a:pt x="436" y="1075"/>
                  </a:lnTo>
                  <a:lnTo>
                    <a:pt x="430" y="1077"/>
                  </a:lnTo>
                  <a:lnTo>
                    <a:pt x="425" y="1078"/>
                  </a:lnTo>
                  <a:lnTo>
                    <a:pt x="412" y="1079"/>
                  </a:lnTo>
                  <a:lnTo>
                    <a:pt x="397" y="1080"/>
                  </a:lnTo>
                  <a:close/>
                  <a:moveTo>
                    <a:pt x="279" y="897"/>
                  </a:moveTo>
                  <a:lnTo>
                    <a:pt x="275" y="881"/>
                  </a:lnTo>
                  <a:lnTo>
                    <a:pt x="269" y="863"/>
                  </a:lnTo>
                  <a:lnTo>
                    <a:pt x="263" y="846"/>
                  </a:lnTo>
                  <a:lnTo>
                    <a:pt x="258" y="828"/>
                  </a:lnTo>
                  <a:lnTo>
                    <a:pt x="537" y="828"/>
                  </a:lnTo>
                  <a:lnTo>
                    <a:pt x="534" y="837"/>
                  </a:lnTo>
                  <a:lnTo>
                    <a:pt x="531" y="847"/>
                  </a:lnTo>
                  <a:lnTo>
                    <a:pt x="528" y="857"/>
                  </a:lnTo>
                  <a:lnTo>
                    <a:pt x="524" y="867"/>
                  </a:lnTo>
                  <a:lnTo>
                    <a:pt x="279" y="897"/>
                  </a:lnTo>
                  <a:close/>
                  <a:moveTo>
                    <a:pt x="491" y="978"/>
                  </a:moveTo>
                  <a:lnTo>
                    <a:pt x="312" y="1000"/>
                  </a:lnTo>
                  <a:lnTo>
                    <a:pt x="307" y="986"/>
                  </a:lnTo>
                  <a:lnTo>
                    <a:pt x="302" y="970"/>
                  </a:lnTo>
                  <a:lnTo>
                    <a:pt x="296" y="952"/>
                  </a:lnTo>
                  <a:lnTo>
                    <a:pt x="290" y="932"/>
                  </a:lnTo>
                  <a:lnTo>
                    <a:pt x="290" y="931"/>
                  </a:lnTo>
                  <a:lnTo>
                    <a:pt x="290" y="931"/>
                  </a:lnTo>
                  <a:lnTo>
                    <a:pt x="512" y="903"/>
                  </a:lnTo>
                  <a:lnTo>
                    <a:pt x="508" y="919"/>
                  </a:lnTo>
                  <a:lnTo>
                    <a:pt x="504" y="936"/>
                  </a:lnTo>
                  <a:lnTo>
                    <a:pt x="499" y="946"/>
                  </a:lnTo>
                  <a:lnTo>
                    <a:pt x="496" y="958"/>
                  </a:lnTo>
                  <a:lnTo>
                    <a:pt x="493" y="968"/>
                  </a:lnTo>
                  <a:lnTo>
                    <a:pt x="491" y="978"/>
                  </a:lnTo>
                  <a:lnTo>
                    <a:pt x="491" y="978"/>
                  </a:lnTo>
                  <a:close/>
                  <a:moveTo>
                    <a:pt x="397" y="0"/>
                  </a:moveTo>
                  <a:lnTo>
                    <a:pt x="376" y="0"/>
                  </a:lnTo>
                  <a:lnTo>
                    <a:pt x="357" y="1"/>
                  </a:lnTo>
                  <a:lnTo>
                    <a:pt x="336" y="5"/>
                  </a:lnTo>
                  <a:lnTo>
                    <a:pt x="317" y="8"/>
                  </a:lnTo>
                  <a:lnTo>
                    <a:pt x="299" y="12"/>
                  </a:lnTo>
                  <a:lnTo>
                    <a:pt x="279" y="18"/>
                  </a:lnTo>
                  <a:lnTo>
                    <a:pt x="261" y="24"/>
                  </a:lnTo>
                  <a:lnTo>
                    <a:pt x="242" y="31"/>
                  </a:lnTo>
                  <a:lnTo>
                    <a:pt x="225" y="39"/>
                  </a:lnTo>
                  <a:lnTo>
                    <a:pt x="208" y="48"/>
                  </a:lnTo>
                  <a:lnTo>
                    <a:pt x="192" y="58"/>
                  </a:lnTo>
                  <a:lnTo>
                    <a:pt x="175" y="67"/>
                  </a:lnTo>
                  <a:lnTo>
                    <a:pt x="160" y="78"/>
                  </a:lnTo>
                  <a:lnTo>
                    <a:pt x="145" y="90"/>
                  </a:lnTo>
                  <a:lnTo>
                    <a:pt x="131" y="103"/>
                  </a:lnTo>
                  <a:lnTo>
                    <a:pt x="117" y="116"/>
                  </a:lnTo>
                  <a:lnTo>
                    <a:pt x="104" y="130"/>
                  </a:lnTo>
                  <a:lnTo>
                    <a:pt x="91" y="144"/>
                  </a:lnTo>
                  <a:lnTo>
                    <a:pt x="79" y="159"/>
                  </a:lnTo>
                  <a:lnTo>
                    <a:pt x="69" y="174"/>
                  </a:lnTo>
                  <a:lnTo>
                    <a:pt x="59" y="190"/>
                  </a:lnTo>
                  <a:lnTo>
                    <a:pt x="49" y="207"/>
                  </a:lnTo>
                  <a:lnTo>
                    <a:pt x="40" y="224"/>
                  </a:lnTo>
                  <a:lnTo>
                    <a:pt x="32" y="242"/>
                  </a:lnTo>
                  <a:lnTo>
                    <a:pt x="25" y="260"/>
                  </a:lnTo>
                  <a:lnTo>
                    <a:pt x="19" y="278"/>
                  </a:lnTo>
                  <a:lnTo>
                    <a:pt x="13" y="297"/>
                  </a:lnTo>
                  <a:lnTo>
                    <a:pt x="9" y="316"/>
                  </a:lnTo>
                  <a:lnTo>
                    <a:pt x="6" y="335"/>
                  </a:lnTo>
                  <a:lnTo>
                    <a:pt x="3" y="356"/>
                  </a:lnTo>
                  <a:lnTo>
                    <a:pt x="2" y="375"/>
                  </a:lnTo>
                  <a:lnTo>
                    <a:pt x="0" y="396"/>
                  </a:lnTo>
                  <a:lnTo>
                    <a:pt x="2" y="410"/>
                  </a:lnTo>
                  <a:lnTo>
                    <a:pt x="3" y="424"/>
                  </a:lnTo>
                  <a:lnTo>
                    <a:pt x="5" y="437"/>
                  </a:lnTo>
                  <a:lnTo>
                    <a:pt x="7" y="451"/>
                  </a:lnTo>
                  <a:lnTo>
                    <a:pt x="13" y="479"/>
                  </a:lnTo>
                  <a:lnTo>
                    <a:pt x="22" y="506"/>
                  </a:lnTo>
                  <a:lnTo>
                    <a:pt x="33" y="534"/>
                  </a:lnTo>
                  <a:lnTo>
                    <a:pt x="46" y="561"/>
                  </a:lnTo>
                  <a:lnTo>
                    <a:pt x="59" y="589"/>
                  </a:lnTo>
                  <a:lnTo>
                    <a:pt x="74" y="617"/>
                  </a:lnTo>
                  <a:lnTo>
                    <a:pt x="103" y="671"/>
                  </a:lnTo>
                  <a:lnTo>
                    <a:pt x="133" y="725"/>
                  </a:lnTo>
                  <a:lnTo>
                    <a:pt x="147" y="752"/>
                  </a:lnTo>
                  <a:lnTo>
                    <a:pt x="160" y="778"/>
                  </a:lnTo>
                  <a:lnTo>
                    <a:pt x="172" y="804"/>
                  </a:lnTo>
                  <a:lnTo>
                    <a:pt x="182" y="830"/>
                  </a:lnTo>
                  <a:lnTo>
                    <a:pt x="206" y="901"/>
                  </a:lnTo>
                  <a:lnTo>
                    <a:pt x="225" y="965"/>
                  </a:lnTo>
                  <a:lnTo>
                    <a:pt x="234" y="994"/>
                  </a:lnTo>
                  <a:lnTo>
                    <a:pt x="242" y="1020"/>
                  </a:lnTo>
                  <a:lnTo>
                    <a:pt x="251" y="1045"/>
                  </a:lnTo>
                  <a:lnTo>
                    <a:pt x="260" y="1066"/>
                  </a:lnTo>
                  <a:lnTo>
                    <a:pt x="265" y="1076"/>
                  </a:lnTo>
                  <a:lnTo>
                    <a:pt x="270" y="1086"/>
                  </a:lnTo>
                  <a:lnTo>
                    <a:pt x="276" y="1094"/>
                  </a:lnTo>
                  <a:lnTo>
                    <a:pt x="281" y="1103"/>
                  </a:lnTo>
                  <a:lnTo>
                    <a:pt x="288" y="1111"/>
                  </a:lnTo>
                  <a:lnTo>
                    <a:pt x="295" y="1118"/>
                  </a:lnTo>
                  <a:lnTo>
                    <a:pt x="302" y="1125"/>
                  </a:lnTo>
                  <a:lnTo>
                    <a:pt x="310" y="1130"/>
                  </a:lnTo>
                  <a:lnTo>
                    <a:pt x="318" y="1135"/>
                  </a:lnTo>
                  <a:lnTo>
                    <a:pt x="328" y="1140"/>
                  </a:lnTo>
                  <a:lnTo>
                    <a:pt x="337" y="1143"/>
                  </a:lnTo>
                  <a:lnTo>
                    <a:pt x="347" y="1146"/>
                  </a:lnTo>
                  <a:lnTo>
                    <a:pt x="359" y="1148"/>
                  </a:lnTo>
                  <a:lnTo>
                    <a:pt x="371" y="1151"/>
                  </a:lnTo>
                  <a:lnTo>
                    <a:pt x="383" y="1152"/>
                  </a:lnTo>
                  <a:lnTo>
                    <a:pt x="397" y="1152"/>
                  </a:lnTo>
                  <a:lnTo>
                    <a:pt x="411" y="1152"/>
                  </a:lnTo>
                  <a:lnTo>
                    <a:pt x="424" y="1151"/>
                  </a:lnTo>
                  <a:lnTo>
                    <a:pt x="436" y="1148"/>
                  </a:lnTo>
                  <a:lnTo>
                    <a:pt x="448" y="1146"/>
                  </a:lnTo>
                  <a:lnTo>
                    <a:pt x="457" y="1143"/>
                  </a:lnTo>
                  <a:lnTo>
                    <a:pt x="467" y="1140"/>
                  </a:lnTo>
                  <a:lnTo>
                    <a:pt x="477" y="1135"/>
                  </a:lnTo>
                  <a:lnTo>
                    <a:pt x="485" y="1130"/>
                  </a:lnTo>
                  <a:lnTo>
                    <a:pt x="493" y="1125"/>
                  </a:lnTo>
                  <a:lnTo>
                    <a:pt x="501" y="1118"/>
                  </a:lnTo>
                  <a:lnTo>
                    <a:pt x="507" y="1111"/>
                  </a:lnTo>
                  <a:lnTo>
                    <a:pt x="513" y="1103"/>
                  </a:lnTo>
                  <a:lnTo>
                    <a:pt x="519" y="1095"/>
                  </a:lnTo>
                  <a:lnTo>
                    <a:pt x="524" y="1086"/>
                  </a:lnTo>
                  <a:lnTo>
                    <a:pt x="530" y="1077"/>
                  </a:lnTo>
                  <a:lnTo>
                    <a:pt x="535" y="1066"/>
                  </a:lnTo>
                  <a:lnTo>
                    <a:pt x="544" y="1045"/>
                  </a:lnTo>
                  <a:lnTo>
                    <a:pt x="552" y="1021"/>
                  </a:lnTo>
                  <a:lnTo>
                    <a:pt x="561" y="994"/>
                  </a:lnTo>
                  <a:lnTo>
                    <a:pt x="570" y="966"/>
                  </a:lnTo>
                  <a:lnTo>
                    <a:pt x="578" y="935"/>
                  </a:lnTo>
                  <a:lnTo>
                    <a:pt x="588" y="902"/>
                  </a:lnTo>
                  <a:lnTo>
                    <a:pt x="599" y="868"/>
                  </a:lnTo>
                  <a:lnTo>
                    <a:pt x="612" y="831"/>
                  </a:lnTo>
                  <a:lnTo>
                    <a:pt x="621" y="805"/>
                  </a:lnTo>
                  <a:lnTo>
                    <a:pt x="633" y="779"/>
                  </a:lnTo>
                  <a:lnTo>
                    <a:pt x="646" y="753"/>
                  </a:lnTo>
                  <a:lnTo>
                    <a:pt x="660" y="726"/>
                  </a:lnTo>
                  <a:lnTo>
                    <a:pt x="691" y="672"/>
                  </a:lnTo>
                  <a:lnTo>
                    <a:pt x="721" y="617"/>
                  </a:lnTo>
                  <a:lnTo>
                    <a:pt x="735" y="589"/>
                  </a:lnTo>
                  <a:lnTo>
                    <a:pt x="749" y="561"/>
                  </a:lnTo>
                  <a:lnTo>
                    <a:pt x="761" y="533"/>
                  </a:lnTo>
                  <a:lnTo>
                    <a:pt x="772" y="506"/>
                  </a:lnTo>
                  <a:lnTo>
                    <a:pt x="780" y="478"/>
                  </a:lnTo>
                  <a:lnTo>
                    <a:pt x="787" y="451"/>
                  </a:lnTo>
                  <a:lnTo>
                    <a:pt x="790" y="437"/>
                  </a:lnTo>
                  <a:lnTo>
                    <a:pt x="791" y="423"/>
                  </a:lnTo>
                  <a:lnTo>
                    <a:pt x="792" y="410"/>
                  </a:lnTo>
                  <a:lnTo>
                    <a:pt x="793" y="396"/>
                  </a:lnTo>
                  <a:lnTo>
                    <a:pt x="792" y="375"/>
                  </a:lnTo>
                  <a:lnTo>
                    <a:pt x="791" y="356"/>
                  </a:lnTo>
                  <a:lnTo>
                    <a:pt x="789" y="335"/>
                  </a:lnTo>
                  <a:lnTo>
                    <a:pt x="785" y="316"/>
                  </a:lnTo>
                  <a:lnTo>
                    <a:pt x="780" y="297"/>
                  </a:lnTo>
                  <a:lnTo>
                    <a:pt x="775" y="278"/>
                  </a:lnTo>
                  <a:lnTo>
                    <a:pt x="769" y="260"/>
                  </a:lnTo>
                  <a:lnTo>
                    <a:pt x="762" y="242"/>
                  </a:lnTo>
                  <a:lnTo>
                    <a:pt x="754" y="224"/>
                  </a:lnTo>
                  <a:lnTo>
                    <a:pt x="746" y="207"/>
                  </a:lnTo>
                  <a:lnTo>
                    <a:pt x="736" y="190"/>
                  </a:lnTo>
                  <a:lnTo>
                    <a:pt x="725" y="174"/>
                  </a:lnTo>
                  <a:lnTo>
                    <a:pt x="714" y="159"/>
                  </a:lnTo>
                  <a:lnTo>
                    <a:pt x="703" y="144"/>
                  </a:lnTo>
                  <a:lnTo>
                    <a:pt x="691" y="130"/>
                  </a:lnTo>
                  <a:lnTo>
                    <a:pt x="677" y="116"/>
                  </a:lnTo>
                  <a:lnTo>
                    <a:pt x="664" y="103"/>
                  </a:lnTo>
                  <a:lnTo>
                    <a:pt x="648" y="90"/>
                  </a:lnTo>
                  <a:lnTo>
                    <a:pt x="633" y="78"/>
                  </a:lnTo>
                  <a:lnTo>
                    <a:pt x="618" y="67"/>
                  </a:lnTo>
                  <a:lnTo>
                    <a:pt x="602" y="58"/>
                  </a:lnTo>
                  <a:lnTo>
                    <a:pt x="586" y="48"/>
                  </a:lnTo>
                  <a:lnTo>
                    <a:pt x="569" y="39"/>
                  </a:lnTo>
                  <a:lnTo>
                    <a:pt x="551" y="31"/>
                  </a:lnTo>
                  <a:lnTo>
                    <a:pt x="533" y="24"/>
                  </a:lnTo>
                  <a:lnTo>
                    <a:pt x="515" y="18"/>
                  </a:lnTo>
                  <a:lnTo>
                    <a:pt x="496" y="12"/>
                  </a:lnTo>
                  <a:lnTo>
                    <a:pt x="477" y="8"/>
                  </a:lnTo>
                  <a:lnTo>
                    <a:pt x="457" y="5"/>
                  </a:lnTo>
                  <a:lnTo>
                    <a:pt x="438" y="1"/>
                  </a:lnTo>
                  <a:lnTo>
                    <a:pt x="417" y="0"/>
                  </a:lnTo>
                  <a:lnTo>
                    <a:pt x="39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55721" tIns="27861" rIns="55721" bIns="27861" numCol="1" anchor="t" anchorCtr="0" compatLnSpc="1"/>
            <a:lstStyle/>
            <a:p>
              <a:endParaRPr lang="en-US" sz="1095">
                <a:solidFill>
                  <a:schemeClr val="tx1">
                    <a:lumMod val="95000"/>
                    <a:lumOff val="5000"/>
                  </a:schemeClr>
                </a:solidFill>
                <a:latin typeface="Raleway" panose="020B0503030101060003" pitchFamily="34" charset="0"/>
              </a:endParaRPr>
            </a:p>
          </p:txBody>
        </p:sp>
        <p:sp>
          <p:nvSpPr>
            <p:cNvPr id="24" name="Freeform 115"/>
            <p:cNvSpPr/>
            <p:nvPr/>
          </p:nvSpPr>
          <p:spPr bwMode="auto">
            <a:xfrm>
              <a:off x="3791743" y="3739753"/>
              <a:ext cx="93663" cy="93663"/>
            </a:xfrm>
            <a:custGeom>
              <a:avLst/>
              <a:gdLst>
                <a:gd name="T0" fmla="*/ 205 w 234"/>
                <a:gd name="T1" fmla="*/ 1 h 234"/>
                <a:gd name="T2" fmla="*/ 183 w 234"/>
                <a:gd name="T3" fmla="*/ 3 h 234"/>
                <a:gd name="T4" fmla="*/ 152 w 234"/>
                <a:gd name="T5" fmla="*/ 9 h 234"/>
                <a:gd name="T6" fmla="*/ 113 w 234"/>
                <a:gd name="T7" fmla="*/ 26 h 234"/>
                <a:gd name="T8" fmla="*/ 79 w 234"/>
                <a:gd name="T9" fmla="*/ 49 h 234"/>
                <a:gd name="T10" fmla="*/ 50 w 234"/>
                <a:gd name="T11" fmla="*/ 78 h 234"/>
                <a:gd name="T12" fmla="*/ 26 w 234"/>
                <a:gd name="T13" fmla="*/ 113 h 234"/>
                <a:gd name="T14" fmla="*/ 10 w 234"/>
                <a:gd name="T15" fmla="*/ 152 h 234"/>
                <a:gd name="T16" fmla="*/ 2 w 234"/>
                <a:gd name="T17" fmla="*/ 183 h 234"/>
                <a:gd name="T18" fmla="*/ 0 w 234"/>
                <a:gd name="T19" fmla="*/ 205 h 234"/>
                <a:gd name="T20" fmla="*/ 0 w 234"/>
                <a:gd name="T21" fmla="*/ 220 h 234"/>
                <a:gd name="T22" fmla="*/ 3 w 234"/>
                <a:gd name="T23" fmla="*/ 226 h 234"/>
                <a:gd name="T24" fmla="*/ 7 w 234"/>
                <a:gd name="T25" fmla="*/ 231 h 234"/>
                <a:gd name="T26" fmla="*/ 14 w 234"/>
                <a:gd name="T27" fmla="*/ 234 h 234"/>
                <a:gd name="T28" fmla="*/ 21 w 234"/>
                <a:gd name="T29" fmla="*/ 234 h 234"/>
                <a:gd name="T30" fmla="*/ 28 w 234"/>
                <a:gd name="T31" fmla="*/ 231 h 234"/>
                <a:gd name="T32" fmla="*/ 33 w 234"/>
                <a:gd name="T33" fmla="*/ 226 h 234"/>
                <a:gd name="T34" fmla="*/ 35 w 234"/>
                <a:gd name="T35" fmla="*/ 220 h 234"/>
                <a:gd name="T36" fmla="*/ 37 w 234"/>
                <a:gd name="T37" fmla="*/ 197 h 234"/>
                <a:gd name="T38" fmla="*/ 44 w 234"/>
                <a:gd name="T39" fmla="*/ 163 h 234"/>
                <a:gd name="T40" fmla="*/ 58 w 234"/>
                <a:gd name="T41" fmla="*/ 130 h 234"/>
                <a:gd name="T42" fmla="*/ 78 w 234"/>
                <a:gd name="T43" fmla="*/ 101 h 234"/>
                <a:gd name="T44" fmla="*/ 101 w 234"/>
                <a:gd name="T45" fmla="*/ 77 h 234"/>
                <a:gd name="T46" fmla="*/ 131 w 234"/>
                <a:gd name="T47" fmla="*/ 58 h 234"/>
                <a:gd name="T48" fmla="*/ 163 w 234"/>
                <a:gd name="T49" fmla="*/ 44 h 234"/>
                <a:gd name="T50" fmla="*/ 197 w 234"/>
                <a:gd name="T51" fmla="*/ 36 h 234"/>
                <a:gd name="T52" fmla="*/ 219 w 234"/>
                <a:gd name="T53" fmla="*/ 35 h 234"/>
                <a:gd name="T54" fmla="*/ 226 w 234"/>
                <a:gd name="T55" fmla="*/ 33 h 234"/>
                <a:gd name="T56" fmla="*/ 231 w 234"/>
                <a:gd name="T57" fmla="*/ 28 h 234"/>
                <a:gd name="T58" fmla="*/ 233 w 234"/>
                <a:gd name="T59" fmla="*/ 21 h 234"/>
                <a:gd name="T60" fmla="*/ 233 w 234"/>
                <a:gd name="T61" fmla="*/ 15 h 234"/>
                <a:gd name="T62" fmla="*/ 231 w 234"/>
                <a:gd name="T63" fmla="*/ 8 h 234"/>
                <a:gd name="T64" fmla="*/ 226 w 234"/>
                <a:gd name="T65" fmla="*/ 3 h 234"/>
                <a:gd name="T66" fmla="*/ 219 w 234"/>
                <a:gd name="T67" fmla="*/ 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234">
                  <a:moveTo>
                    <a:pt x="216" y="0"/>
                  </a:moveTo>
                  <a:lnTo>
                    <a:pt x="205" y="1"/>
                  </a:lnTo>
                  <a:lnTo>
                    <a:pt x="194" y="1"/>
                  </a:lnTo>
                  <a:lnTo>
                    <a:pt x="183" y="3"/>
                  </a:lnTo>
                  <a:lnTo>
                    <a:pt x="173" y="4"/>
                  </a:lnTo>
                  <a:lnTo>
                    <a:pt x="152" y="9"/>
                  </a:lnTo>
                  <a:lnTo>
                    <a:pt x="132" y="17"/>
                  </a:lnTo>
                  <a:lnTo>
                    <a:pt x="113" y="26"/>
                  </a:lnTo>
                  <a:lnTo>
                    <a:pt x="95" y="36"/>
                  </a:lnTo>
                  <a:lnTo>
                    <a:pt x="79" y="49"/>
                  </a:lnTo>
                  <a:lnTo>
                    <a:pt x="64" y="63"/>
                  </a:lnTo>
                  <a:lnTo>
                    <a:pt x="50" y="78"/>
                  </a:lnTo>
                  <a:lnTo>
                    <a:pt x="37" y="95"/>
                  </a:lnTo>
                  <a:lnTo>
                    <a:pt x="26" y="113"/>
                  </a:lnTo>
                  <a:lnTo>
                    <a:pt x="17" y="131"/>
                  </a:lnTo>
                  <a:lnTo>
                    <a:pt x="10" y="152"/>
                  </a:lnTo>
                  <a:lnTo>
                    <a:pt x="4" y="172"/>
                  </a:lnTo>
                  <a:lnTo>
                    <a:pt x="2" y="183"/>
                  </a:lnTo>
                  <a:lnTo>
                    <a:pt x="1" y="194"/>
                  </a:lnTo>
                  <a:lnTo>
                    <a:pt x="0" y="205"/>
                  </a:lnTo>
                  <a:lnTo>
                    <a:pt x="0" y="216"/>
                  </a:lnTo>
                  <a:lnTo>
                    <a:pt x="0" y="220"/>
                  </a:lnTo>
                  <a:lnTo>
                    <a:pt x="1" y="223"/>
                  </a:lnTo>
                  <a:lnTo>
                    <a:pt x="3" y="226"/>
                  </a:lnTo>
                  <a:lnTo>
                    <a:pt x="5" y="229"/>
                  </a:lnTo>
                  <a:lnTo>
                    <a:pt x="7" y="231"/>
                  </a:lnTo>
                  <a:lnTo>
                    <a:pt x="11" y="233"/>
                  </a:lnTo>
                  <a:lnTo>
                    <a:pt x="14" y="234"/>
                  </a:lnTo>
                  <a:lnTo>
                    <a:pt x="18" y="234"/>
                  </a:lnTo>
                  <a:lnTo>
                    <a:pt x="21" y="234"/>
                  </a:lnTo>
                  <a:lnTo>
                    <a:pt x="25" y="233"/>
                  </a:lnTo>
                  <a:lnTo>
                    <a:pt x="28" y="231"/>
                  </a:lnTo>
                  <a:lnTo>
                    <a:pt x="31" y="229"/>
                  </a:lnTo>
                  <a:lnTo>
                    <a:pt x="33" y="226"/>
                  </a:lnTo>
                  <a:lnTo>
                    <a:pt x="34" y="223"/>
                  </a:lnTo>
                  <a:lnTo>
                    <a:pt x="35" y="220"/>
                  </a:lnTo>
                  <a:lnTo>
                    <a:pt x="35" y="216"/>
                  </a:lnTo>
                  <a:lnTo>
                    <a:pt x="37" y="197"/>
                  </a:lnTo>
                  <a:lnTo>
                    <a:pt x="40" y="180"/>
                  </a:lnTo>
                  <a:lnTo>
                    <a:pt x="44" y="163"/>
                  </a:lnTo>
                  <a:lnTo>
                    <a:pt x="51" y="145"/>
                  </a:lnTo>
                  <a:lnTo>
                    <a:pt x="58" y="130"/>
                  </a:lnTo>
                  <a:lnTo>
                    <a:pt x="67" y="115"/>
                  </a:lnTo>
                  <a:lnTo>
                    <a:pt x="78" y="101"/>
                  </a:lnTo>
                  <a:lnTo>
                    <a:pt x="88" y="88"/>
                  </a:lnTo>
                  <a:lnTo>
                    <a:pt x="101" y="77"/>
                  </a:lnTo>
                  <a:lnTo>
                    <a:pt x="115" y="67"/>
                  </a:lnTo>
                  <a:lnTo>
                    <a:pt x="131" y="58"/>
                  </a:lnTo>
                  <a:lnTo>
                    <a:pt x="146" y="50"/>
                  </a:lnTo>
                  <a:lnTo>
                    <a:pt x="163" y="44"/>
                  </a:lnTo>
                  <a:lnTo>
                    <a:pt x="180" y="40"/>
                  </a:lnTo>
                  <a:lnTo>
                    <a:pt x="197" y="36"/>
                  </a:lnTo>
                  <a:lnTo>
                    <a:pt x="216" y="36"/>
                  </a:lnTo>
                  <a:lnTo>
                    <a:pt x="219" y="35"/>
                  </a:lnTo>
                  <a:lnTo>
                    <a:pt x="223" y="34"/>
                  </a:lnTo>
                  <a:lnTo>
                    <a:pt x="226" y="33"/>
                  </a:lnTo>
                  <a:lnTo>
                    <a:pt x="229" y="31"/>
                  </a:lnTo>
                  <a:lnTo>
                    <a:pt x="231" y="28"/>
                  </a:lnTo>
                  <a:lnTo>
                    <a:pt x="232" y="24"/>
                  </a:lnTo>
                  <a:lnTo>
                    <a:pt x="233" y="21"/>
                  </a:lnTo>
                  <a:lnTo>
                    <a:pt x="234" y="18"/>
                  </a:lnTo>
                  <a:lnTo>
                    <a:pt x="233" y="15"/>
                  </a:lnTo>
                  <a:lnTo>
                    <a:pt x="232" y="10"/>
                  </a:lnTo>
                  <a:lnTo>
                    <a:pt x="231" y="8"/>
                  </a:lnTo>
                  <a:lnTo>
                    <a:pt x="229" y="5"/>
                  </a:lnTo>
                  <a:lnTo>
                    <a:pt x="226" y="3"/>
                  </a:lnTo>
                  <a:lnTo>
                    <a:pt x="223" y="2"/>
                  </a:lnTo>
                  <a:lnTo>
                    <a:pt x="219" y="1"/>
                  </a:lnTo>
                  <a:lnTo>
                    <a:pt x="21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55721" tIns="27861" rIns="55721" bIns="27861" numCol="1" anchor="t" anchorCtr="0" compatLnSpc="1"/>
            <a:lstStyle/>
            <a:p>
              <a:endParaRPr lang="en-US" sz="1095">
                <a:solidFill>
                  <a:schemeClr val="tx1">
                    <a:lumMod val="95000"/>
                    <a:lumOff val="5000"/>
                  </a:schemeClr>
                </a:solidFill>
                <a:latin typeface="Raleway" panose="020B0503030101060003" pitchFamily="34" charset="0"/>
              </a:endParaRPr>
            </a:p>
          </p:txBody>
        </p:sp>
      </p:grpSp>
      <p:sp>
        <p:nvSpPr>
          <p:cNvPr id="25" name="Freeform 113"/>
          <p:cNvSpPr>
            <a:spLocks noEditPoints="1"/>
          </p:cNvSpPr>
          <p:nvPr/>
        </p:nvSpPr>
        <p:spPr bwMode="auto">
          <a:xfrm>
            <a:off x="5462821" y="2432293"/>
            <a:ext cx="241943" cy="241943"/>
          </a:xfrm>
          <a:custGeom>
            <a:avLst/>
            <a:gdLst>
              <a:gd name="T0" fmla="*/ 969 w 1152"/>
              <a:gd name="T1" fmla="*/ 435 h 1152"/>
              <a:gd name="T2" fmla="*/ 944 w 1152"/>
              <a:gd name="T3" fmla="*/ 359 h 1152"/>
              <a:gd name="T4" fmla="*/ 900 w 1152"/>
              <a:gd name="T5" fmla="*/ 291 h 1152"/>
              <a:gd name="T6" fmla="*/ 834 w 1152"/>
              <a:gd name="T7" fmla="*/ 231 h 1152"/>
              <a:gd name="T8" fmla="*/ 754 w 1152"/>
              <a:gd name="T9" fmla="*/ 193 h 1152"/>
              <a:gd name="T10" fmla="*/ 667 w 1152"/>
              <a:gd name="T11" fmla="*/ 179 h 1152"/>
              <a:gd name="T12" fmla="*/ 795 w 1152"/>
              <a:gd name="T13" fmla="*/ 79 h 1152"/>
              <a:gd name="T14" fmla="*/ 877 w 1152"/>
              <a:gd name="T15" fmla="*/ 75 h 1152"/>
              <a:gd name="T16" fmla="*/ 941 w 1152"/>
              <a:gd name="T17" fmla="*/ 95 h 1152"/>
              <a:gd name="T18" fmla="*/ 999 w 1152"/>
              <a:gd name="T19" fmla="*/ 135 h 1152"/>
              <a:gd name="T20" fmla="*/ 1067 w 1152"/>
              <a:gd name="T21" fmla="*/ 234 h 1152"/>
              <a:gd name="T22" fmla="*/ 1076 w 1152"/>
              <a:gd name="T23" fmla="*/ 348 h 1152"/>
              <a:gd name="T24" fmla="*/ 320 w 1152"/>
              <a:gd name="T25" fmla="*/ 1031 h 1152"/>
              <a:gd name="T26" fmla="*/ 285 w 1152"/>
              <a:gd name="T27" fmla="*/ 924 h 1152"/>
              <a:gd name="T28" fmla="*/ 195 w 1152"/>
              <a:gd name="T29" fmla="*/ 849 h 1152"/>
              <a:gd name="T30" fmla="*/ 162 w 1152"/>
              <a:gd name="T31" fmla="*/ 695 h 1152"/>
              <a:gd name="T32" fmla="*/ 218 w 1152"/>
              <a:gd name="T33" fmla="*/ 655 h 1152"/>
              <a:gd name="T34" fmla="*/ 320 w 1152"/>
              <a:gd name="T35" fmla="*/ 653 h 1152"/>
              <a:gd name="T36" fmla="*/ 419 w 1152"/>
              <a:gd name="T37" fmla="*/ 705 h 1152"/>
              <a:gd name="T38" fmla="*/ 490 w 1152"/>
              <a:gd name="T39" fmla="*/ 803 h 1152"/>
              <a:gd name="T40" fmla="*/ 502 w 1152"/>
              <a:gd name="T41" fmla="*/ 912 h 1152"/>
              <a:gd name="T42" fmla="*/ 459 w 1152"/>
              <a:gd name="T43" fmla="*/ 993 h 1152"/>
              <a:gd name="T44" fmla="*/ 114 w 1152"/>
              <a:gd name="T45" fmla="*/ 1078 h 1152"/>
              <a:gd name="T46" fmla="*/ 73 w 1152"/>
              <a:gd name="T47" fmla="*/ 1037 h 1152"/>
              <a:gd name="T48" fmla="*/ 145 w 1152"/>
              <a:gd name="T49" fmla="*/ 871 h 1152"/>
              <a:gd name="T50" fmla="*/ 234 w 1152"/>
              <a:gd name="T51" fmla="*/ 918 h 1152"/>
              <a:gd name="T52" fmla="*/ 282 w 1152"/>
              <a:gd name="T53" fmla="*/ 1008 h 1152"/>
              <a:gd name="T54" fmla="*/ 352 w 1152"/>
              <a:gd name="T55" fmla="*/ 587 h 1152"/>
              <a:gd name="T56" fmla="*/ 274 w 1152"/>
              <a:gd name="T57" fmla="*/ 575 h 1152"/>
              <a:gd name="T58" fmla="*/ 596 w 1152"/>
              <a:gd name="T59" fmla="*/ 265 h 1152"/>
              <a:gd name="T60" fmla="*/ 660 w 1152"/>
              <a:gd name="T61" fmla="*/ 251 h 1152"/>
              <a:gd name="T62" fmla="*/ 378 w 1152"/>
              <a:gd name="T63" fmla="*/ 597 h 1152"/>
              <a:gd name="T64" fmla="*/ 468 w 1152"/>
              <a:gd name="T65" fmla="*/ 652 h 1152"/>
              <a:gd name="T66" fmla="*/ 794 w 1152"/>
              <a:gd name="T67" fmla="*/ 292 h 1152"/>
              <a:gd name="T68" fmla="*/ 856 w 1152"/>
              <a:gd name="T69" fmla="*/ 352 h 1152"/>
              <a:gd name="T70" fmla="*/ 573 w 1152"/>
              <a:gd name="T71" fmla="*/ 832 h 1152"/>
              <a:gd name="T72" fmla="*/ 894 w 1152"/>
              <a:gd name="T73" fmla="*/ 433 h 1152"/>
              <a:gd name="T74" fmla="*/ 900 w 1152"/>
              <a:gd name="T75" fmla="*/ 508 h 1152"/>
              <a:gd name="T76" fmla="*/ 878 w 1152"/>
              <a:gd name="T77" fmla="*/ 574 h 1152"/>
              <a:gd name="T78" fmla="*/ 855 w 1152"/>
              <a:gd name="T79" fmla="*/ 603 h 1152"/>
              <a:gd name="T80" fmla="*/ 1046 w 1152"/>
              <a:gd name="T81" fmla="*/ 82 h 1152"/>
              <a:gd name="T82" fmla="*/ 972 w 1152"/>
              <a:gd name="T83" fmla="*/ 31 h 1152"/>
              <a:gd name="T84" fmla="*/ 888 w 1152"/>
              <a:gd name="T85" fmla="*/ 4 h 1152"/>
              <a:gd name="T86" fmla="*/ 809 w 1152"/>
              <a:gd name="T87" fmla="*/ 3 h 1152"/>
              <a:gd name="T88" fmla="*/ 742 w 1152"/>
              <a:gd name="T89" fmla="*/ 22 h 1152"/>
              <a:gd name="T90" fmla="*/ 685 w 1152"/>
              <a:gd name="T91" fmla="*/ 60 h 1152"/>
              <a:gd name="T92" fmla="*/ 499 w 1152"/>
              <a:gd name="T93" fmla="*/ 247 h 1152"/>
              <a:gd name="T94" fmla="*/ 105 w 1152"/>
              <a:gd name="T95" fmla="*/ 649 h 1152"/>
              <a:gd name="T96" fmla="*/ 4 w 1152"/>
              <a:gd name="T97" fmla="*/ 993 h 1152"/>
              <a:gd name="T98" fmla="*/ 5 w 1152"/>
              <a:gd name="T99" fmla="*/ 1063 h 1152"/>
              <a:gd name="T100" fmla="*/ 46 w 1152"/>
              <a:gd name="T101" fmla="*/ 1124 h 1152"/>
              <a:gd name="T102" fmla="*/ 113 w 1152"/>
              <a:gd name="T103" fmla="*/ 1152 h 1152"/>
              <a:gd name="T104" fmla="*/ 473 w 1152"/>
              <a:gd name="T105" fmla="*/ 1065 h 1152"/>
              <a:gd name="T106" fmla="*/ 520 w 1152"/>
              <a:gd name="T107" fmla="*/ 1040 h 1152"/>
              <a:gd name="T108" fmla="*/ 1109 w 1152"/>
              <a:gd name="T109" fmla="*/ 444 h 1152"/>
              <a:gd name="T110" fmla="*/ 1141 w 1152"/>
              <a:gd name="T111" fmla="*/ 377 h 1152"/>
              <a:gd name="T112" fmla="*/ 1152 w 1152"/>
              <a:gd name="T113" fmla="*/ 302 h 1152"/>
              <a:gd name="T114" fmla="*/ 1139 w 1152"/>
              <a:gd name="T115" fmla="*/ 225 h 1152"/>
              <a:gd name="T116" fmla="*/ 1105 w 1152"/>
              <a:gd name="T117" fmla="*/ 14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52" h="1152">
                <a:moveTo>
                  <a:pt x="1032" y="424"/>
                </a:moveTo>
                <a:lnTo>
                  <a:pt x="972" y="485"/>
                </a:lnTo>
                <a:lnTo>
                  <a:pt x="973" y="472"/>
                </a:lnTo>
                <a:lnTo>
                  <a:pt x="973" y="460"/>
                </a:lnTo>
                <a:lnTo>
                  <a:pt x="971" y="447"/>
                </a:lnTo>
                <a:lnTo>
                  <a:pt x="969" y="435"/>
                </a:lnTo>
                <a:lnTo>
                  <a:pt x="967" y="422"/>
                </a:lnTo>
                <a:lnTo>
                  <a:pt x="963" y="409"/>
                </a:lnTo>
                <a:lnTo>
                  <a:pt x="959" y="397"/>
                </a:lnTo>
                <a:lnTo>
                  <a:pt x="955" y="384"/>
                </a:lnTo>
                <a:lnTo>
                  <a:pt x="949" y="372"/>
                </a:lnTo>
                <a:lnTo>
                  <a:pt x="944" y="359"/>
                </a:lnTo>
                <a:lnTo>
                  <a:pt x="938" y="347"/>
                </a:lnTo>
                <a:lnTo>
                  <a:pt x="932" y="335"/>
                </a:lnTo>
                <a:lnTo>
                  <a:pt x="924" y="324"/>
                </a:lnTo>
                <a:lnTo>
                  <a:pt x="917" y="312"/>
                </a:lnTo>
                <a:lnTo>
                  <a:pt x="908" y="302"/>
                </a:lnTo>
                <a:lnTo>
                  <a:pt x="900" y="291"/>
                </a:lnTo>
                <a:lnTo>
                  <a:pt x="891" y="281"/>
                </a:lnTo>
                <a:lnTo>
                  <a:pt x="881" y="270"/>
                </a:lnTo>
                <a:lnTo>
                  <a:pt x="869" y="261"/>
                </a:lnTo>
                <a:lnTo>
                  <a:pt x="859" y="250"/>
                </a:lnTo>
                <a:lnTo>
                  <a:pt x="847" y="240"/>
                </a:lnTo>
                <a:lnTo>
                  <a:pt x="834" y="231"/>
                </a:lnTo>
                <a:lnTo>
                  <a:pt x="821" y="224"/>
                </a:lnTo>
                <a:lnTo>
                  <a:pt x="808" y="216"/>
                </a:lnTo>
                <a:lnTo>
                  <a:pt x="795" y="209"/>
                </a:lnTo>
                <a:lnTo>
                  <a:pt x="781" y="202"/>
                </a:lnTo>
                <a:lnTo>
                  <a:pt x="768" y="197"/>
                </a:lnTo>
                <a:lnTo>
                  <a:pt x="754" y="193"/>
                </a:lnTo>
                <a:lnTo>
                  <a:pt x="740" y="188"/>
                </a:lnTo>
                <a:lnTo>
                  <a:pt x="726" y="185"/>
                </a:lnTo>
                <a:lnTo>
                  <a:pt x="711" y="182"/>
                </a:lnTo>
                <a:lnTo>
                  <a:pt x="697" y="180"/>
                </a:lnTo>
                <a:lnTo>
                  <a:pt x="682" y="179"/>
                </a:lnTo>
                <a:lnTo>
                  <a:pt x="667" y="179"/>
                </a:lnTo>
                <a:lnTo>
                  <a:pt x="727" y="118"/>
                </a:lnTo>
                <a:lnTo>
                  <a:pt x="739" y="107"/>
                </a:lnTo>
                <a:lnTo>
                  <a:pt x="752" y="99"/>
                </a:lnTo>
                <a:lnTo>
                  <a:pt x="766" y="90"/>
                </a:lnTo>
                <a:lnTo>
                  <a:pt x="780" y="84"/>
                </a:lnTo>
                <a:lnTo>
                  <a:pt x="795" y="79"/>
                </a:lnTo>
                <a:lnTo>
                  <a:pt x="811" y="75"/>
                </a:lnTo>
                <a:lnTo>
                  <a:pt x="827" y="73"/>
                </a:lnTo>
                <a:lnTo>
                  <a:pt x="844" y="72"/>
                </a:lnTo>
                <a:lnTo>
                  <a:pt x="855" y="73"/>
                </a:lnTo>
                <a:lnTo>
                  <a:pt x="866" y="73"/>
                </a:lnTo>
                <a:lnTo>
                  <a:pt x="877" y="75"/>
                </a:lnTo>
                <a:lnTo>
                  <a:pt x="888" y="77"/>
                </a:lnTo>
                <a:lnTo>
                  <a:pt x="898" y="79"/>
                </a:lnTo>
                <a:lnTo>
                  <a:pt x="909" y="82"/>
                </a:lnTo>
                <a:lnTo>
                  <a:pt x="920" y="87"/>
                </a:lnTo>
                <a:lnTo>
                  <a:pt x="931" y="91"/>
                </a:lnTo>
                <a:lnTo>
                  <a:pt x="941" y="95"/>
                </a:lnTo>
                <a:lnTo>
                  <a:pt x="951" y="101"/>
                </a:lnTo>
                <a:lnTo>
                  <a:pt x="961" y="107"/>
                </a:lnTo>
                <a:lnTo>
                  <a:pt x="971" y="114"/>
                </a:lnTo>
                <a:lnTo>
                  <a:pt x="981" y="120"/>
                </a:lnTo>
                <a:lnTo>
                  <a:pt x="989" y="128"/>
                </a:lnTo>
                <a:lnTo>
                  <a:pt x="999" y="135"/>
                </a:lnTo>
                <a:lnTo>
                  <a:pt x="1008" y="144"/>
                </a:lnTo>
                <a:lnTo>
                  <a:pt x="1023" y="160"/>
                </a:lnTo>
                <a:lnTo>
                  <a:pt x="1037" y="177"/>
                </a:lnTo>
                <a:lnTo>
                  <a:pt x="1049" y="196"/>
                </a:lnTo>
                <a:lnTo>
                  <a:pt x="1058" y="214"/>
                </a:lnTo>
                <a:lnTo>
                  <a:pt x="1067" y="234"/>
                </a:lnTo>
                <a:lnTo>
                  <a:pt x="1072" y="254"/>
                </a:lnTo>
                <a:lnTo>
                  <a:pt x="1077" y="274"/>
                </a:lnTo>
                <a:lnTo>
                  <a:pt x="1080" y="294"/>
                </a:lnTo>
                <a:lnTo>
                  <a:pt x="1080" y="312"/>
                </a:lnTo>
                <a:lnTo>
                  <a:pt x="1079" y="331"/>
                </a:lnTo>
                <a:lnTo>
                  <a:pt x="1076" y="348"/>
                </a:lnTo>
                <a:lnTo>
                  <a:pt x="1070" y="365"/>
                </a:lnTo>
                <a:lnTo>
                  <a:pt x="1064" y="382"/>
                </a:lnTo>
                <a:lnTo>
                  <a:pt x="1055" y="397"/>
                </a:lnTo>
                <a:lnTo>
                  <a:pt x="1044" y="411"/>
                </a:lnTo>
                <a:lnTo>
                  <a:pt x="1032" y="424"/>
                </a:lnTo>
                <a:close/>
                <a:moveTo>
                  <a:pt x="320" y="1031"/>
                </a:moveTo>
                <a:lnTo>
                  <a:pt x="319" y="1012"/>
                </a:lnTo>
                <a:lnTo>
                  <a:pt x="315" y="994"/>
                </a:lnTo>
                <a:lnTo>
                  <a:pt x="311" y="977"/>
                </a:lnTo>
                <a:lnTo>
                  <a:pt x="303" y="958"/>
                </a:lnTo>
                <a:lnTo>
                  <a:pt x="296" y="941"/>
                </a:lnTo>
                <a:lnTo>
                  <a:pt x="285" y="924"/>
                </a:lnTo>
                <a:lnTo>
                  <a:pt x="273" y="908"/>
                </a:lnTo>
                <a:lnTo>
                  <a:pt x="259" y="892"/>
                </a:lnTo>
                <a:lnTo>
                  <a:pt x="245" y="879"/>
                </a:lnTo>
                <a:lnTo>
                  <a:pt x="229" y="868"/>
                </a:lnTo>
                <a:lnTo>
                  <a:pt x="213" y="857"/>
                </a:lnTo>
                <a:lnTo>
                  <a:pt x="195" y="849"/>
                </a:lnTo>
                <a:lnTo>
                  <a:pt x="178" y="842"/>
                </a:lnTo>
                <a:lnTo>
                  <a:pt x="160" y="836"/>
                </a:lnTo>
                <a:lnTo>
                  <a:pt x="142" y="833"/>
                </a:lnTo>
                <a:lnTo>
                  <a:pt x="124" y="832"/>
                </a:lnTo>
                <a:lnTo>
                  <a:pt x="160" y="701"/>
                </a:lnTo>
                <a:lnTo>
                  <a:pt x="162" y="695"/>
                </a:lnTo>
                <a:lnTo>
                  <a:pt x="165" y="689"/>
                </a:lnTo>
                <a:lnTo>
                  <a:pt x="169" y="683"/>
                </a:lnTo>
                <a:lnTo>
                  <a:pt x="174" y="678"/>
                </a:lnTo>
                <a:lnTo>
                  <a:pt x="188" y="668"/>
                </a:lnTo>
                <a:lnTo>
                  <a:pt x="202" y="661"/>
                </a:lnTo>
                <a:lnTo>
                  <a:pt x="218" y="655"/>
                </a:lnTo>
                <a:lnTo>
                  <a:pt x="234" y="651"/>
                </a:lnTo>
                <a:lnTo>
                  <a:pt x="250" y="648"/>
                </a:lnTo>
                <a:lnTo>
                  <a:pt x="268" y="647"/>
                </a:lnTo>
                <a:lnTo>
                  <a:pt x="285" y="647"/>
                </a:lnTo>
                <a:lnTo>
                  <a:pt x="302" y="649"/>
                </a:lnTo>
                <a:lnTo>
                  <a:pt x="320" y="653"/>
                </a:lnTo>
                <a:lnTo>
                  <a:pt x="337" y="657"/>
                </a:lnTo>
                <a:lnTo>
                  <a:pt x="354" y="663"/>
                </a:lnTo>
                <a:lnTo>
                  <a:pt x="371" y="671"/>
                </a:lnTo>
                <a:lnTo>
                  <a:pt x="388" y="681"/>
                </a:lnTo>
                <a:lnTo>
                  <a:pt x="404" y="692"/>
                </a:lnTo>
                <a:lnTo>
                  <a:pt x="419" y="705"/>
                </a:lnTo>
                <a:lnTo>
                  <a:pt x="434" y="717"/>
                </a:lnTo>
                <a:lnTo>
                  <a:pt x="448" y="734"/>
                </a:lnTo>
                <a:lnTo>
                  <a:pt x="461" y="750"/>
                </a:lnTo>
                <a:lnTo>
                  <a:pt x="473" y="767"/>
                </a:lnTo>
                <a:lnTo>
                  <a:pt x="483" y="784"/>
                </a:lnTo>
                <a:lnTo>
                  <a:pt x="490" y="803"/>
                </a:lnTo>
                <a:lnTo>
                  <a:pt x="497" y="821"/>
                </a:lnTo>
                <a:lnTo>
                  <a:pt x="501" y="840"/>
                </a:lnTo>
                <a:lnTo>
                  <a:pt x="504" y="858"/>
                </a:lnTo>
                <a:lnTo>
                  <a:pt x="505" y="876"/>
                </a:lnTo>
                <a:lnTo>
                  <a:pt x="504" y="895"/>
                </a:lnTo>
                <a:lnTo>
                  <a:pt x="502" y="912"/>
                </a:lnTo>
                <a:lnTo>
                  <a:pt x="499" y="929"/>
                </a:lnTo>
                <a:lnTo>
                  <a:pt x="492" y="945"/>
                </a:lnTo>
                <a:lnTo>
                  <a:pt x="486" y="962"/>
                </a:lnTo>
                <a:lnTo>
                  <a:pt x="476" y="977"/>
                </a:lnTo>
                <a:lnTo>
                  <a:pt x="465" y="991"/>
                </a:lnTo>
                <a:lnTo>
                  <a:pt x="459" y="993"/>
                </a:lnTo>
                <a:lnTo>
                  <a:pt x="452" y="996"/>
                </a:lnTo>
                <a:lnTo>
                  <a:pt x="320" y="1031"/>
                </a:lnTo>
                <a:close/>
                <a:moveTo>
                  <a:pt x="150" y="1075"/>
                </a:moveTo>
                <a:lnTo>
                  <a:pt x="139" y="1078"/>
                </a:lnTo>
                <a:lnTo>
                  <a:pt x="125" y="1080"/>
                </a:lnTo>
                <a:lnTo>
                  <a:pt x="114" y="1078"/>
                </a:lnTo>
                <a:lnTo>
                  <a:pt x="105" y="1076"/>
                </a:lnTo>
                <a:lnTo>
                  <a:pt x="96" y="1071"/>
                </a:lnTo>
                <a:lnTo>
                  <a:pt x="87" y="1064"/>
                </a:lnTo>
                <a:lnTo>
                  <a:pt x="81" y="1056"/>
                </a:lnTo>
                <a:lnTo>
                  <a:pt x="77" y="1047"/>
                </a:lnTo>
                <a:lnTo>
                  <a:pt x="73" y="1037"/>
                </a:lnTo>
                <a:lnTo>
                  <a:pt x="72" y="1026"/>
                </a:lnTo>
                <a:lnTo>
                  <a:pt x="73" y="1014"/>
                </a:lnTo>
                <a:lnTo>
                  <a:pt x="76" y="1006"/>
                </a:lnTo>
                <a:lnTo>
                  <a:pt x="113" y="869"/>
                </a:lnTo>
                <a:lnTo>
                  <a:pt x="130" y="869"/>
                </a:lnTo>
                <a:lnTo>
                  <a:pt x="145" y="871"/>
                </a:lnTo>
                <a:lnTo>
                  <a:pt x="161" y="874"/>
                </a:lnTo>
                <a:lnTo>
                  <a:pt x="176" y="879"/>
                </a:lnTo>
                <a:lnTo>
                  <a:pt x="191" y="887"/>
                </a:lnTo>
                <a:lnTo>
                  <a:pt x="206" y="896"/>
                </a:lnTo>
                <a:lnTo>
                  <a:pt x="220" y="905"/>
                </a:lnTo>
                <a:lnTo>
                  <a:pt x="234" y="918"/>
                </a:lnTo>
                <a:lnTo>
                  <a:pt x="246" y="931"/>
                </a:lnTo>
                <a:lnTo>
                  <a:pt x="257" y="946"/>
                </a:lnTo>
                <a:lnTo>
                  <a:pt x="266" y="962"/>
                </a:lnTo>
                <a:lnTo>
                  <a:pt x="273" y="977"/>
                </a:lnTo>
                <a:lnTo>
                  <a:pt x="279" y="993"/>
                </a:lnTo>
                <a:lnTo>
                  <a:pt x="282" y="1008"/>
                </a:lnTo>
                <a:lnTo>
                  <a:pt x="284" y="1024"/>
                </a:lnTo>
                <a:lnTo>
                  <a:pt x="284" y="1040"/>
                </a:lnTo>
                <a:lnTo>
                  <a:pt x="150" y="1075"/>
                </a:lnTo>
                <a:close/>
                <a:moveTo>
                  <a:pt x="378" y="597"/>
                </a:moveTo>
                <a:lnTo>
                  <a:pt x="365" y="591"/>
                </a:lnTo>
                <a:lnTo>
                  <a:pt x="352" y="587"/>
                </a:lnTo>
                <a:lnTo>
                  <a:pt x="339" y="584"/>
                </a:lnTo>
                <a:lnTo>
                  <a:pt x="326" y="580"/>
                </a:lnTo>
                <a:lnTo>
                  <a:pt x="313" y="578"/>
                </a:lnTo>
                <a:lnTo>
                  <a:pt x="300" y="576"/>
                </a:lnTo>
                <a:lnTo>
                  <a:pt x="287" y="575"/>
                </a:lnTo>
                <a:lnTo>
                  <a:pt x="274" y="575"/>
                </a:lnTo>
                <a:lnTo>
                  <a:pt x="552" y="295"/>
                </a:lnTo>
                <a:lnTo>
                  <a:pt x="559" y="288"/>
                </a:lnTo>
                <a:lnTo>
                  <a:pt x="568" y="281"/>
                </a:lnTo>
                <a:lnTo>
                  <a:pt x="578" y="275"/>
                </a:lnTo>
                <a:lnTo>
                  <a:pt x="586" y="269"/>
                </a:lnTo>
                <a:lnTo>
                  <a:pt x="596" y="265"/>
                </a:lnTo>
                <a:lnTo>
                  <a:pt x="607" y="261"/>
                </a:lnTo>
                <a:lnTo>
                  <a:pt x="617" y="257"/>
                </a:lnTo>
                <a:lnTo>
                  <a:pt x="627" y="255"/>
                </a:lnTo>
                <a:lnTo>
                  <a:pt x="638" y="253"/>
                </a:lnTo>
                <a:lnTo>
                  <a:pt x="649" y="252"/>
                </a:lnTo>
                <a:lnTo>
                  <a:pt x="660" y="251"/>
                </a:lnTo>
                <a:lnTo>
                  <a:pt x="672" y="251"/>
                </a:lnTo>
                <a:lnTo>
                  <a:pt x="682" y="251"/>
                </a:lnTo>
                <a:lnTo>
                  <a:pt x="694" y="253"/>
                </a:lnTo>
                <a:lnTo>
                  <a:pt x="705" y="254"/>
                </a:lnTo>
                <a:lnTo>
                  <a:pt x="717" y="257"/>
                </a:lnTo>
                <a:lnTo>
                  <a:pt x="378" y="597"/>
                </a:lnTo>
                <a:close/>
                <a:moveTo>
                  <a:pt x="532" y="729"/>
                </a:moveTo>
                <a:lnTo>
                  <a:pt x="523" y="713"/>
                </a:lnTo>
                <a:lnTo>
                  <a:pt x="511" y="697"/>
                </a:lnTo>
                <a:lnTo>
                  <a:pt x="499" y="682"/>
                </a:lnTo>
                <a:lnTo>
                  <a:pt x="485" y="667"/>
                </a:lnTo>
                <a:lnTo>
                  <a:pt x="468" y="652"/>
                </a:lnTo>
                <a:lnTo>
                  <a:pt x="450" y="638"/>
                </a:lnTo>
                <a:lnTo>
                  <a:pt x="431" y="625"/>
                </a:lnTo>
                <a:lnTo>
                  <a:pt x="411" y="613"/>
                </a:lnTo>
                <a:lnTo>
                  <a:pt x="755" y="270"/>
                </a:lnTo>
                <a:lnTo>
                  <a:pt x="774" y="280"/>
                </a:lnTo>
                <a:lnTo>
                  <a:pt x="794" y="292"/>
                </a:lnTo>
                <a:lnTo>
                  <a:pt x="803" y="298"/>
                </a:lnTo>
                <a:lnTo>
                  <a:pt x="812" y="306"/>
                </a:lnTo>
                <a:lnTo>
                  <a:pt x="822" y="314"/>
                </a:lnTo>
                <a:lnTo>
                  <a:pt x="830" y="322"/>
                </a:lnTo>
                <a:lnTo>
                  <a:pt x="843" y="336"/>
                </a:lnTo>
                <a:lnTo>
                  <a:pt x="856" y="352"/>
                </a:lnTo>
                <a:lnTo>
                  <a:pt x="867" y="369"/>
                </a:lnTo>
                <a:lnTo>
                  <a:pt x="876" y="386"/>
                </a:lnTo>
                <a:lnTo>
                  <a:pt x="532" y="729"/>
                </a:lnTo>
                <a:close/>
                <a:moveTo>
                  <a:pt x="577" y="857"/>
                </a:moveTo>
                <a:lnTo>
                  <a:pt x="576" y="844"/>
                </a:lnTo>
                <a:lnTo>
                  <a:pt x="573" y="832"/>
                </a:lnTo>
                <a:lnTo>
                  <a:pt x="570" y="820"/>
                </a:lnTo>
                <a:lnTo>
                  <a:pt x="568" y="808"/>
                </a:lnTo>
                <a:lnTo>
                  <a:pt x="560" y="784"/>
                </a:lnTo>
                <a:lnTo>
                  <a:pt x="551" y="762"/>
                </a:lnTo>
                <a:lnTo>
                  <a:pt x="891" y="422"/>
                </a:lnTo>
                <a:lnTo>
                  <a:pt x="894" y="433"/>
                </a:lnTo>
                <a:lnTo>
                  <a:pt x="897" y="446"/>
                </a:lnTo>
                <a:lnTo>
                  <a:pt x="900" y="458"/>
                </a:lnTo>
                <a:lnTo>
                  <a:pt x="901" y="471"/>
                </a:lnTo>
                <a:lnTo>
                  <a:pt x="902" y="483"/>
                </a:lnTo>
                <a:lnTo>
                  <a:pt x="901" y="495"/>
                </a:lnTo>
                <a:lnTo>
                  <a:pt x="900" y="508"/>
                </a:lnTo>
                <a:lnTo>
                  <a:pt x="898" y="519"/>
                </a:lnTo>
                <a:lnTo>
                  <a:pt x="895" y="531"/>
                </a:lnTo>
                <a:lnTo>
                  <a:pt x="892" y="543"/>
                </a:lnTo>
                <a:lnTo>
                  <a:pt x="888" y="553"/>
                </a:lnTo>
                <a:lnTo>
                  <a:pt x="883" y="564"/>
                </a:lnTo>
                <a:lnTo>
                  <a:pt x="878" y="574"/>
                </a:lnTo>
                <a:lnTo>
                  <a:pt x="871" y="584"/>
                </a:lnTo>
                <a:lnTo>
                  <a:pt x="864" y="593"/>
                </a:lnTo>
                <a:lnTo>
                  <a:pt x="855" y="602"/>
                </a:lnTo>
                <a:lnTo>
                  <a:pt x="855" y="602"/>
                </a:lnTo>
                <a:lnTo>
                  <a:pt x="854" y="603"/>
                </a:lnTo>
                <a:lnTo>
                  <a:pt x="855" y="603"/>
                </a:lnTo>
                <a:lnTo>
                  <a:pt x="577" y="884"/>
                </a:lnTo>
                <a:lnTo>
                  <a:pt x="577" y="870"/>
                </a:lnTo>
                <a:lnTo>
                  <a:pt x="577" y="857"/>
                </a:lnTo>
                <a:lnTo>
                  <a:pt x="577" y="857"/>
                </a:lnTo>
                <a:close/>
                <a:moveTo>
                  <a:pt x="1058" y="93"/>
                </a:moveTo>
                <a:lnTo>
                  <a:pt x="1046" y="82"/>
                </a:lnTo>
                <a:lnTo>
                  <a:pt x="1036" y="72"/>
                </a:lnTo>
                <a:lnTo>
                  <a:pt x="1023" y="62"/>
                </a:lnTo>
                <a:lnTo>
                  <a:pt x="1011" y="53"/>
                </a:lnTo>
                <a:lnTo>
                  <a:pt x="998" y="45"/>
                </a:lnTo>
                <a:lnTo>
                  <a:pt x="985" y="37"/>
                </a:lnTo>
                <a:lnTo>
                  <a:pt x="972" y="31"/>
                </a:lnTo>
                <a:lnTo>
                  <a:pt x="958" y="24"/>
                </a:lnTo>
                <a:lnTo>
                  <a:pt x="944" y="19"/>
                </a:lnTo>
                <a:lnTo>
                  <a:pt x="930" y="13"/>
                </a:lnTo>
                <a:lnTo>
                  <a:pt x="916" y="10"/>
                </a:lnTo>
                <a:lnTo>
                  <a:pt x="902" y="6"/>
                </a:lnTo>
                <a:lnTo>
                  <a:pt x="888" y="4"/>
                </a:lnTo>
                <a:lnTo>
                  <a:pt x="873" y="1"/>
                </a:lnTo>
                <a:lnTo>
                  <a:pt x="859" y="0"/>
                </a:lnTo>
                <a:lnTo>
                  <a:pt x="844" y="0"/>
                </a:lnTo>
                <a:lnTo>
                  <a:pt x="833" y="0"/>
                </a:lnTo>
                <a:lnTo>
                  <a:pt x="820" y="1"/>
                </a:lnTo>
                <a:lnTo>
                  <a:pt x="809" y="3"/>
                </a:lnTo>
                <a:lnTo>
                  <a:pt x="797" y="5"/>
                </a:lnTo>
                <a:lnTo>
                  <a:pt x="785" y="7"/>
                </a:lnTo>
                <a:lnTo>
                  <a:pt x="774" y="10"/>
                </a:lnTo>
                <a:lnTo>
                  <a:pt x="763" y="13"/>
                </a:lnTo>
                <a:lnTo>
                  <a:pt x="753" y="18"/>
                </a:lnTo>
                <a:lnTo>
                  <a:pt x="742" y="22"/>
                </a:lnTo>
                <a:lnTo>
                  <a:pt x="731" y="27"/>
                </a:lnTo>
                <a:lnTo>
                  <a:pt x="721" y="33"/>
                </a:lnTo>
                <a:lnTo>
                  <a:pt x="712" y="38"/>
                </a:lnTo>
                <a:lnTo>
                  <a:pt x="702" y="45"/>
                </a:lnTo>
                <a:lnTo>
                  <a:pt x="693" y="52"/>
                </a:lnTo>
                <a:lnTo>
                  <a:pt x="685" y="60"/>
                </a:lnTo>
                <a:lnTo>
                  <a:pt x="676" y="67"/>
                </a:lnTo>
                <a:lnTo>
                  <a:pt x="501" y="244"/>
                </a:lnTo>
                <a:lnTo>
                  <a:pt x="500" y="244"/>
                </a:lnTo>
                <a:lnTo>
                  <a:pt x="499" y="246"/>
                </a:lnTo>
                <a:lnTo>
                  <a:pt x="499" y="246"/>
                </a:lnTo>
                <a:lnTo>
                  <a:pt x="499" y="247"/>
                </a:lnTo>
                <a:lnTo>
                  <a:pt x="499" y="247"/>
                </a:lnTo>
                <a:lnTo>
                  <a:pt x="126" y="621"/>
                </a:lnTo>
                <a:lnTo>
                  <a:pt x="121" y="628"/>
                </a:lnTo>
                <a:lnTo>
                  <a:pt x="114" y="634"/>
                </a:lnTo>
                <a:lnTo>
                  <a:pt x="109" y="642"/>
                </a:lnTo>
                <a:lnTo>
                  <a:pt x="105" y="649"/>
                </a:lnTo>
                <a:lnTo>
                  <a:pt x="100" y="657"/>
                </a:lnTo>
                <a:lnTo>
                  <a:pt x="96" y="666"/>
                </a:lnTo>
                <a:lnTo>
                  <a:pt x="93" y="674"/>
                </a:lnTo>
                <a:lnTo>
                  <a:pt x="91" y="683"/>
                </a:lnTo>
                <a:lnTo>
                  <a:pt x="5" y="989"/>
                </a:lnTo>
                <a:lnTo>
                  <a:pt x="4" y="993"/>
                </a:lnTo>
                <a:lnTo>
                  <a:pt x="3" y="1003"/>
                </a:lnTo>
                <a:lnTo>
                  <a:pt x="1" y="1016"/>
                </a:lnTo>
                <a:lnTo>
                  <a:pt x="0" y="1026"/>
                </a:lnTo>
                <a:lnTo>
                  <a:pt x="1" y="1039"/>
                </a:lnTo>
                <a:lnTo>
                  <a:pt x="2" y="1051"/>
                </a:lnTo>
                <a:lnTo>
                  <a:pt x="5" y="1063"/>
                </a:lnTo>
                <a:lnTo>
                  <a:pt x="10" y="1075"/>
                </a:lnTo>
                <a:lnTo>
                  <a:pt x="15" y="1086"/>
                </a:lnTo>
                <a:lnTo>
                  <a:pt x="22" y="1097"/>
                </a:lnTo>
                <a:lnTo>
                  <a:pt x="29" y="1106"/>
                </a:lnTo>
                <a:lnTo>
                  <a:pt x="37" y="1115"/>
                </a:lnTo>
                <a:lnTo>
                  <a:pt x="46" y="1124"/>
                </a:lnTo>
                <a:lnTo>
                  <a:pt x="56" y="1130"/>
                </a:lnTo>
                <a:lnTo>
                  <a:pt x="66" y="1137"/>
                </a:lnTo>
                <a:lnTo>
                  <a:pt x="77" y="1142"/>
                </a:lnTo>
                <a:lnTo>
                  <a:pt x="88" y="1146"/>
                </a:lnTo>
                <a:lnTo>
                  <a:pt x="100" y="1149"/>
                </a:lnTo>
                <a:lnTo>
                  <a:pt x="113" y="1152"/>
                </a:lnTo>
                <a:lnTo>
                  <a:pt x="126" y="1152"/>
                </a:lnTo>
                <a:lnTo>
                  <a:pt x="138" y="1151"/>
                </a:lnTo>
                <a:lnTo>
                  <a:pt x="152" y="1148"/>
                </a:lnTo>
                <a:lnTo>
                  <a:pt x="163" y="1146"/>
                </a:lnTo>
                <a:lnTo>
                  <a:pt x="167" y="1145"/>
                </a:lnTo>
                <a:lnTo>
                  <a:pt x="473" y="1065"/>
                </a:lnTo>
                <a:lnTo>
                  <a:pt x="482" y="1062"/>
                </a:lnTo>
                <a:lnTo>
                  <a:pt x="490" y="1059"/>
                </a:lnTo>
                <a:lnTo>
                  <a:pt x="498" y="1054"/>
                </a:lnTo>
                <a:lnTo>
                  <a:pt x="506" y="1050"/>
                </a:lnTo>
                <a:lnTo>
                  <a:pt x="514" y="1046"/>
                </a:lnTo>
                <a:lnTo>
                  <a:pt x="520" y="1040"/>
                </a:lnTo>
                <a:lnTo>
                  <a:pt x="528" y="1035"/>
                </a:lnTo>
                <a:lnTo>
                  <a:pt x="535" y="1029"/>
                </a:lnTo>
                <a:lnTo>
                  <a:pt x="1084" y="474"/>
                </a:lnTo>
                <a:lnTo>
                  <a:pt x="1093" y="465"/>
                </a:lnTo>
                <a:lnTo>
                  <a:pt x="1102" y="455"/>
                </a:lnTo>
                <a:lnTo>
                  <a:pt x="1109" y="444"/>
                </a:lnTo>
                <a:lnTo>
                  <a:pt x="1117" y="435"/>
                </a:lnTo>
                <a:lnTo>
                  <a:pt x="1123" y="424"/>
                </a:lnTo>
                <a:lnTo>
                  <a:pt x="1129" y="412"/>
                </a:lnTo>
                <a:lnTo>
                  <a:pt x="1134" y="401"/>
                </a:lnTo>
                <a:lnTo>
                  <a:pt x="1138" y="389"/>
                </a:lnTo>
                <a:lnTo>
                  <a:pt x="1141" y="377"/>
                </a:lnTo>
                <a:lnTo>
                  <a:pt x="1145" y="364"/>
                </a:lnTo>
                <a:lnTo>
                  <a:pt x="1148" y="352"/>
                </a:lnTo>
                <a:lnTo>
                  <a:pt x="1150" y="339"/>
                </a:lnTo>
                <a:lnTo>
                  <a:pt x="1151" y="328"/>
                </a:lnTo>
                <a:lnTo>
                  <a:pt x="1152" y="315"/>
                </a:lnTo>
                <a:lnTo>
                  <a:pt x="1152" y="302"/>
                </a:lnTo>
                <a:lnTo>
                  <a:pt x="1151" y="289"/>
                </a:lnTo>
                <a:lnTo>
                  <a:pt x="1150" y="276"/>
                </a:lnTo>
                <a:lnTo>
                  <a:pt x="1148" y="263"/>
                </a:lnTo>
                <a:lnTo>
                  <a:pt x="1146" y="250"/>
                </a:lnTo>
                <a:lnTo>
                  <a:pt x="1143" y="237"/>
                </a:lnTo>
                <a:lnTo>
                  <a:pt x="1139" y="225"/>
                </a:lnTo>
                <a:lnTo>
                  <a:pt x="1135" y="212"/>
                </a:lnTo>
                <a:lnTo>
                  <a:pt x="1130" y="199"/>
                </a:lnTo>
                <a:lnTo>
                  <a:pt x="1124" y="186"/>
                </a:lnTo>
                <a:lnTo>
                  <a:pt x="1119" y="174"/>
                </a:lnTo>
                <a:lnTo>
                  <a:pt x="1111" y="162"/>
                </a:lnTo>
                <a:lnTo>
                  <a:pt x="1105" y="149"/>
                </a:lnTo>
                <a:lnTo>
                  <a:pt x="1096" y="138"/>
                </a:lnTo>
                <a:lnTo>
                  <a:pt x="1087" y="127"/>
                </a:lnTo>
                <a:lnTo>
                  <a:pt x="1079" y="115"/>
                </a:lnTo>
                <a:lnTo>
                  <a:pt x="1069" y="104"/>
                </a:lnTo>
                <a:lnTo>
                  <a:pt x="1058" y="93"/>
                </a:lnTo>
                <a:close/>
              </a:path>
            </a:pathLst>
          </a:custGeom>
          <a:solidFill>
            <a:schemeClr val="bg1"/>
          </a:solidFill>
          <a:ln>
            <a:noFill/>
          </a:ln>
        </p:spPr>
        <p:txBody>
          <a:bodyPr vert="horz" wrap="square" lIns="55721" tIns="27861" rIns="55721" bIns="27861" numCol="1" anchor="t" anchorCtr="0" compatLnSpc="1"/>
          <a:lstStyle/>
          <a:p>
            <a:endParaRPr lang="en-US" sz="1095">
              <a:solidFill>
                <a:schemeClr val="tx1">
                  <a:lumMod val="95000"/>
                  <a:lumOff val="5000"/>
                </a:schemeClr>
              </a:solidFill>
              <a:latin typeface="Raleway" panose="020B0503030101060003" pitchFamily="34" charset="0"/>
            </a:endParaRPr>
          </a:p>
        </p:txBody>
      </p:sp>
      <p:grpSp>
        <p:nvGrpSpPr>
          <p:cNvPr id="26" name="Group 25"/>
          <p:cNvGrpSpPr/>
          <p:nvPr/>
        </p:nvGrpSpPr>
        <p:grpSpPr>
          <a:xfrm>
            <a:off x="5460777" y="2837461"/>
            <a:ext cx="236036" cy="236036"/>
            <a:chOff x="4563268" y="2753915"/>
            <a:chExt cx="457200" cy="457200"/>
          </a:xfrm>
          <a:solidFill>
            <a:schemeClr val="bg1"/>
          </a:solidFill>
        </p:grpSpPr>
        <p:sp>
          <p:nvSpPr>
            <p:cNvPr id="27" name="Freeform 124"/>
            <p:cNvSpPr>
              <a:spLocks noEditPoints="1"/>
            </p:cNvSpPr>
            <p:nvPr/>
          </p:nvSpPr>
          <p:spPr bwMode="auto">
            <a:xfrm>
              <a:off x="4563268" y="2753915"/>
              <a:ext cx="457200" cy="457200"/>
            </a:xfrm>
            <a:custGeom>
              <a:avLst/>
              <a:gdLst>
                <a:gd name="T0" fmla="*/ 924 w 1152"/>
                <a:gd name="T1" fmla="*/ 677 h 1152"/>
                <a:gd name="T2" fmla="*/ 896 w 1152"/>
                <a:gd name="T3" fmla="*/ 742 h 1152"/>
                <a:gd name="T4" fmla="*/ 905 w 1152"/>
                <a:gd name="T5" fmla="*/ 804 h 1152"/>
                <a:gd name="T6" fmla="*/ 765 w 1152"/>
                <a:gd name="T7" fmla="*/ 893 h 1152"/>
                <a:gd name="T8" fmla="*/ 704 w 1152"/>
                <a:gd name="T9" fmla="*/ 912 h 1152"/>
                <a:gd name="T10" fmla="*/ 653 w 1152"/>
                <a:gd name="T11" fmla="*/ 952 h 1152"/>
                <a:gd name="T12" fmla="*/ 499 w 1152"/>
                <a:gd name="T13" fmla="*/ 952 h 1152"/>
                <a:gd name="T14" fmla="*/ 448 w 1152"/>
                <a:gd name="T15" fmla="*/ 912 h 1152"/>
                <a:gd name="T16" fmla="*/ 388 w 1152"/>
                <a:gd name="T17" fmla="*/ 893 h 1152"/>
                <a:gd name="T18" fmla="*/ 247 w 1152"/>
                <a:gd name="T19" fmla="*/ 804 h 1152"/>
                <a:gd name="T20" fmla="*/ 256 w 1152"/>
                <a:gd name="T21" fmla="*/ 742 h 1152"/>
                <a:gd name="T22" fmla="*/ 228 w 1152"/>
                <a:gd name="T23" fmla="*/ 677 h 1152"/>
                <a:gd name="T24" fmla="*/ 72 w 1152"/>
                <a:gd name="T25" fmla="*/ 625 h 1152"/>
                <a:gd name="T26" fmla="*/ 222 w 1152"/>
                <a:gd name="T27" fmla="*/ 482 h 1152"/>
                <a:gd name="T28" fmla="*/ 253 w 1152"/>
                <a:gd name="T29" fmla="*/ 420 h 1152"/>
                <a:gd name="T30" fmla="*/ 253 w 1152"/>
                <a:gd name="T31" fmla="*/ 356 h 1152"/>
                <a:gd name="T32" fmla="*/ 378 w 1152"/>
                <a:gd name="T33" fmla="*/ 259 h 1152"/>
                <a:gd name="T34" fmla="*/ 438 w 1152"/>
                <a:gd name="T35" fmla="*/ 244 h 1152"/>
                <a:gd name="T36" fmla="*/ 495 w 1152"/>
                <a:gd name="T37" fmla="*/ 208 h 1152"/>
                <a:gd name="T38" fmla="*/ 649 w 1152"/>
                <a:gd name="T39" fmla="*/ 192 h 1152"/>
                <a:gd name="T40" fmla="*/ 694 w 1152"/>
                <a:gd name="T41" fmla="*/ 236 h 1152"/>
                <a:gd name="T42" fmla="*/ 756 w 1152"/>
                <a:gd name="T43" fmla="*/ 259 h 1152"/>
                <a:gd name="T44" fmla="*/ 967 w 1152"/>
                <a:gd name="T45" fmla="*/ 255 h 1152"/>
                <a:gd name="T46" fmla="*/ 894 w 1152"/>
                <a:gd name="T47" fmla="*/ 401 h 1152"/>
                <a:gd name="T48" fmla="*/ 919 w 1152"/>
                <a:gd name="T49" fmla="*/ 466 h 1152"/>
                <a:gd name="T50" fmla="*/ 970 w 1152"/>
                <a:gd name="T51" fmla="*/ 505 h 1152"/>
                <a:gd name="T52" fmla="*/ 975 w 1152"/>
                <a:gd name="T53" fmla="*/ 411 h 1152"/>
                <a:gd name="T54" fmla="*/ 1037 w 1152"/>
                <a:gd name="T55" fmla="*/ 272 h 1152"/>
                <a:gd name="T56" fmla="*/ 1023 w 1152"/>
                <a:gd name="T57" fmla="*/ 208 h 1152"/>
                <a:gd name="T58" fmla="*/ 918 w 1152"/>
                <a:gd name="T59" fmla="*/ 116 h 1152"/>
                <a:gd name="T60" fmla="*/ 857 w 1152"/>
                <a:gd name="T61" fmla="*/ 125 h 1152"/>
                <a:gd name="T62" fmla="*/ 694 w 1152"/>
                <a:gd name="T63" fmla="*/ 51 h 1152"/>
                <a:gd name="T64" fmla="*/ 649 w 1152"/>
                <a:gd name="T65" fmla="*/ 4 h 1152"/>
                <a:gd name="T66" fmla="*/ 514 w 1152"/>
                <a:gd name="T67" fmla="*/ 1 h 1152"/>
                <a:gd name="T68" fmla="*/ 462 w 1152"/>
                <a:gd name="T69" fmla="*/ 40 h 1152"/>
                <a:gd name="T70" fmla="*/ 400 w 1152"/>
                <a:gd name="T71" fmla="*/ 182 h 1152"/>
                <a:gd name="T72" fmla="*/ 247 w 1152"/>
                <a:gd name="T73" fmla="*/ 113 h 1152"/>
                <a:gd name="T74" fmla="*/ 203 w 1152"/>
                <a:gd name="T75" fmla="*/ 134 h 1152"/>
                <a:gd name="T76" fmla="*/ 113 w 1152"/>
                <a:gd name="T77" fmla="*/ 247 h 1152"/>
                <a:gd name="T78" fmla="*/ 188 w 1152"/>
                <a:gd name="T79" fmla="*/ 387 h 1152"/>
                <a:gd name="T80" fmla="*/ 45 w 1152"/>
                <a:gd name="T81" fmla="*/ 460 h 1152"/>
                <a:gd name="T82" fmla="*/ 2 w 1152"/>
                <a:gd name="T83" fmla="*/ 508 h 1152"/>
                <a:gd name="T84" fmla="*/ 2 w 1152"/>
                <a:gd name="T85" fmla="*/ 643 h 1152"/>
                <a:gd name="T86" fmla="*/ 45 w 1152"/>
                <a:gd name="T87" fmla="*/ 692 h 1152"/>
                <a:gd name="T88" fmla="*/ 188 w 1152"/>
                <a:gd name="T89" fmla="*/ 764 h 1152"/>
                <a:gd name="T90" fmla="*/ 113 w 1152"/>
                <a:gd name="T91" fmla="*/ 905 h 1152"/>
                <a:gd name="T92" fmla="*/ 203 w 1152"/>
                <a:gd name="T93" fmla="*/ 1018 h 1152"/>
                <a:gd name="T94" fmla="*/ 247 w 1152"/>
                <a:gd name="T95" fmla="*/ 1039 h 1152"/>
                <a:gd name="T96" fmla="*/ 400 w 1152"/>
                <a:gd name="T97" fmla="*/ 969 h 1152"/>
                <a:gd name="T98" fmla="*/ 462 w 1152"/>
                <a:gd name="T99" fmla="*/ 1112 h 1152"/>
                <a:gd name="T100" fmla="*/ 514 w 1152"/>
                <a:gd name="T101" fmla="*/ 1151 h 1152"/>
                <a:gd name="T102" fmla="*/ 649 w 1152"/>
                <a:gd name="T103" fmla="*/ 1148 h 1152"/>
                <a:gd name="T104" fmla="*/ 694 w 1152"/>
                <a:gd name="T105" fmla="*/ 1100 h 1152"/>
                <a:gd name="T106" fmla="*/ 857 w 1152"/>
                <a:gd name="T107" fmla="*/ 1027 h 1152"/>
                <a:gd name="T108" fmla="*/ 918 w 1152"/>
                <a:gd name="T109" fmla="*/ 1036 h 1152"/>
                <a:gd name="T110" fmla="*/ 1023 w 1152"/>
                <a:gd name="T111" fmla="*/ 944 h 1152"/>
                <a:gd name="T112" fmla="*/ 1037 w 1152"/>
                <a:gd name="T113" fmla="*/ 881 h 1152"/>
                <a:gd name="T114" fmla="*/ 975 w 1152"/>
                <a:gd name="T115" fmla="*/ 742 h 1152"/>
                <a:gd name="T116" fmla="*/ 1118 w 1152"/>
                <a:gd name="T117" fmla="*/ 687 h 1152"/>
                <a:gd name="T118" fmla="*/ 1151 w 1152"/>
                <a:gd name="T119" fmla="*/ 631 h 1152"/>
                <a:gd name="T120" fmla="*/ 1143 w 1152"/>
                <a:gd name="T121" fmla="*/ 491 h 1152"/>
                <a:gd name="T122" fmla="*/ 1094 w 1152"/>
                <a:gd name="T123" fmla="*/ 456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2" h="1152">
                  <a:moveTo>
                    <a:pt x="970" y="647"/>
                  </a:moveTo>
                  <a:lnTo>
                    <a:pt x="960" y="650"/>
                  </a:lnTo>
                  <a:lnTo>
                    <a:pt x="951" y="653"/>
                  </a:lnTo>
                  <a:lnTo>
                    <a:pt x="944" y="657"/>
                  </a:lnTo>
                  <a:lnTo>
                    <a:pt x="936" y="664"/>
                  </a:lnTo>
                  <a:lnTo>
                    <a:pt x="930" y="670"/>
                  </a:lnTo>
                  <a:lnTo>
                    <a:pt x="924" y="677"/>
                  </a:lnTo>
                  <a:lnTo>
                    <a:pt x="919" y="685"/>
                  </a:lnTo>
                  <a:lnTo>
                    <a:pt x="916" y="694"/>
                  </a:lnTo>
                  <a:lnTo>
                    <a:pt x="913" y="704"/>
                  </a:lnTo>
                  <a:lnTo>
                    <a:pt x="908" y="714"/>
                  </a:lnTo>
                  <a:lnTo>
                    <a:pt x="904" y="723"/>
                  </a:lnTo>
                  <a:lnTo>
                    <a:pt x="900" y="733"/>
                  </a:lnTo>
                  <a:lnTo>
                    <a:pt x="896" y="742"/>
                  </a:lnTo>
                  <a:lnTo>
                    <a:pt x="894" y="750"/>
                  </a:lnTo>
                  <a:lnTo>
                    <a:pt x="893" y="760"/>
                  </a:lnTo>
                  <a:lnTo>
                    <a:pt x="893" y="769"/>
                  </a:lnTo>
                  <a:lnTo>
                    <a:pt x="894" y="778"/>
                  </a:lnTo>
                  <a:lnTo>
                    <a:pt x="896" y="787"/>
                  </a:lnTo>
                  <a:lnTo>
                    <a:pt x="900" y="796"/>
                  </a:lnTo>
                  <a:lnTo>
                    <a:pt x="905" y="804"/>
                  </a:lnTo>
                  <a:lnTo>
                    <a:pt x="967" y="898"/>
                  </a:lnTo>
                  <a:lnTo>
                    <a:pt x="897" y="967"/>
                  </a:lnTo>
                  <a:lnTo>
                    <a:pt x="805" y="905"/>
                  </a:lnTo>
                  <a:lnTo>
                    <a:pt x="795" y="899"/>
                  </a:lnTo>
                  <a:lnTo>
                    <a:pt x="785" y="895"/>
                  </a:lnTo>
                  <a:lnTo>
                    <a:pt x="774" y="893"/>
                  </a:lnTo>
                  <a:lnTo>
                    <a:pt x="765" y="893"/>
                  </a:lnTo>
                  <a:lnTo>
                    <a:pt x="756" y="893"/>
                  </a:lnTo>
                  <a:lnTo>
                    <a:pt x="748" y="894"/>
                  </a:lnTo>
                  <a:lnTo>
                    <a:pt x="741" y="896"/>
                  </a:lnTo>
                  <a:lnTo>
                    <a:pt x="733" y="899"/>
                  </a:lnTo>
                  <a:lnTo>
                    <a:pt x="724" y="904"/>
                  </a:lnTo>
                  <a:lnTo>
                    <a:pt x="714" y="908"/>
                  </a:lnTo>
                  <a:lnTo>
                    <a:pt x="704" y="912"/>
                  </a:lnTo>
                  <a:lnTo>
                    <a:pt x="694" y="915"/>
                  </a:lnTo>
                  <a:lnTo>
                    <a:pt x="686" y="920"/>
                  </a:lnTo>
                  <a:lnTo>
                    <a:pt x="677" y="924"/>
                  </a:lnTo>
                  <a:lnTo>
                    <a:pt x="670" y="930"/>
                  </a:lnTo>
                  <a:lnTo>
                    <a:pt x="663" y="936"/>
                  </a:lnTo>
                  <a:lnTo>
                    <a:pt x="658" y="944"/>
                  </a:lnTo>
                  <a:lnTo>
                    <a:pt x="653" y="952"/>
                  </a:lnTo>
                  <a:lnTo>
                    <a:pt x="650" y="961"/>
                  </a:lnTo>
                  <a:lnTo>
                    <a:pt x="647" y="969"/>
                  </a:lnTo>
                  <a:lnTo>
                    <a:pt x="625" y="1080"/>
                  </a:lnTo>
                  <a:lnTo>
                    <a:pt x="527" y="1080"/>
                  </a:lnTo>
                  <a:lnTo>
                    <a:pt x="505" y="969"/>
                  </a:lnTo>
                  <a:lnTo>
                    <a:pt x="502" y="961"/>
                  </a:lnTo>
                  <a:lnTo>
                    <a:pt x="499" y="952"/>
                  </a:lnTo>
                  <a:lnTo>
                    <a:pt x="495" y="944"/>
                  </a:lnTo>
                  <a:lnTo>
                    <a:pt x="489" y="936"/>
                  </a:lnTo>
                  <a:lnTo>
                    <a:pt x="483" y="930"/>
                  </a:lnTo>
                  <a:lnTo>
                    <a:pt x="475" y="924"/>
                  </a:lnTo>
                  <a:lnTo>
                    <a:pt x="466" y="920"/>
                  </a:lnTo>
                  <a:lnTo>
                    <a:pt x="458" y="915"/>
                  </a:lnTo>
                  <a:lnTo>
                    <a:pt x="448" y="912"/>
                  </a:lnTo>
                  <a:lnTo>
                    <a:pt x="438" y="908"/>
                  </a:lnTo>
                  <a:lnTo>
                    <a:pt x="429" y="904"/>
                  </a:lnTo>
                  <a:lnTo>
                    <a:pt x="419" y="899"/>
                  </a:lnTo>
                  <a:lnTo>
                    <a:pt x="411" y="896"/>
                  </a:lnTo>
                  <a:lnTo>
                    <a:pt x="404" y="894"/>
                  </a:lnTo>
                  <a:lnTo>
                    <a:pt x="396" y="893"/>
                  </a:lnTo>
                  <a:lnTo>
                    <a:pt x="388" y="893"/>
                  </a:lnTo>
                  <a:lnTo>
                    <a:pt x="378" y="893"/>
                  </a:lnTo>
                  <a:lnTo>
                    <a:pt x="367" y="895"/>
                  </a:lnTo>
                  <a:lnTo>
                    <a:pt x="357" y="899"/>
                  </a:lnTo>
                  <a:lnTo>
                    <a:pt x="348" y="905"/>
                  </a:lnTo>
                  <a:lnTo>
                    <a:pt x="255" y="967"/>
                  </a:lnTo>
                  <a:lnTo>
                    <a:pt x="185" y="898"/>
                  </a:lnTo>
                  <a:lnTo>
                    <a:pt x="247" y="804"/>
                  </a:lnTo>
                  <a:lnTo>
                    <a:pt x="253" y="796"/>
                  </a:lnTo>
                  <a:lnTo>
                    <a:pt x="256" y="787"/>
                  </a:lnTo>
                  <a:lnTo>
                    <a:pt x="258" y="778"/>
                  </a:lnTo>
                  <a:lnTo>
                    <a:pt x="259" y="769"/>
                  </a:lnTo>
                  <a:lnTo>
                    <a:pt x="259" y="760"/>
                  </a:lnTo>
                  <a:lnTo>
                    <a:pt x="258" y="750"/>
                  </a:lnTo>
                  <a:lnTo>
                    <a:pt x="256" y="742"/>
                  </a:lnTo>
                  <a:lnTo>
                    <a:pt x="253" y="733"/>
                  </a:lnTo>
                  <a:lnTo>
                    <a:pt x="248" y="723"/>
                  </a:lnTo>
                  <a:lnTo>
                    <a:pt x="244" y="714"/>
                  </a:lnTo>
                  <a:lnTo>
                    <a:pt x="240" y="704"/>
                  </a:lnTo>
                  <a:lnTo>
                    <a:pt x="236" y="694"/>
                  </a:lnTo>
                  <a:lnTo>
                    <a:pt x="232" y="685"/>
                  </a:lnTo>
                  <a:lnTo>
                    <a:pt x="228" y="677"/>
                  </a:lnTo>
                  <a:lnTo>
                    <a:pt x="222" y="670"/>
                  </a:lnTo>
                  <a:lnTo>
                    <a:pt x="216" y="664"/>
                  </a:lnTo>
                  <a:lnTo>
                    <a:pt x="208" y="657"/>
                  </a:lnTo>
                  <a:lnTo>
                    <a:pt x="200" y="653"/>
                  </a:lnTo>
                  <a:lnTo>
                    <a:pt x="191" y="650"/>
                  </a:lnTo>
                  <a:lnTo>
                    <a:pt x="182" y="647"/>
                  </a:lnTo>
                  <a:lnTo>
                    <a:pt x="72" y="625"/>
                  </a:lnTo>
                  <a:lnTo>
                    <a:pt x="72" y="527"/>
                  </a:lnTo>
                  <a:lnTo>
                    <a:pt x="182" y="505"/>
                  </a:lnTo>
                  <a:lnTo>
                    <a:pt x="191" y="503"/>
                  </a:lnTo>
                  <a:lnTo>
                    <a:pt x="200" y="499"/>
                  </a:lnTo>
                  <a:lnTo>
                    <a:pt x="208" y="494"/>
                  </a:lnTo>
                  <a:lnTo>
                    <a:pt x="216" y="489"/>
                  </a:lnTo>
                  <a:lnTo>
                    <a:pt x="222" y="482"/>
                  </a:lnTo>
                  <a:lnTo>
                    <a:pt x="228" y="475"/>
                  </a:lnTo>
                  <a:lnTo>
                    <a:pt x="232" y="466"/>
                  </a:lnTo>
                  <a:lnTo>
                    <a:pt x="236" y="458"/>
                  </a:lnTo>
                  <a:lnTo>
                    <a:pt x="240" y="448"/>
                  </a:lnTo>
                  <a:lnTo>
                    <a:pt x="244" y="438"/>
                  </a:lnTo>
                  <a:lnTo>
                    <a:pt x="248" y="428"/>
                  </a:lnTo>
                  <a:lnTo>
                    <a:pt x="253" y="420"/>
                  </a:lnTo>
                  <a:lnTo>
                    <a:pt x="256" y="410"/>
                  </a:lnTo>
                  <a:lnTo>
                    <a:pt x="258" y="401"/>
                  </a:lnTo>
                  <a:lnTo>
                    <a:pt x="259" y="392"/>
                  </a:lnTo>
                  <a:lnTo>
                    <a:pt x="259" y="383"/>
                  </a:lnTo>
                  <a:lnTo>
                    <a:pt x="258" y="373"/>
                  </a:lnTo>
                  <a:lnTo>
                    <a:pt x="256" y="365"/>
                  </a:lnTo>
                  <a:lnTo>
                    <a:pt x="253" y="356"/>
                  </a:lnTo>
                  <a:lnTo>
                    <a:pt x="247" y="347"/>
                  </a:lnTo>
                  <a:lnTo>
                    <a:pt x="185" y="255"/>
                  </a:lnTo>
                  <a:lnTo>
                    <a:pt x="255" y="185"/>
                  </a:lnTo>
                  <a:lnTo>
                    <a:pt x="348" y="247"/>
                  </a:lnTo>
                  <a:lnTo>
                    <a:pt x="357" y="252"/>
                  </a:lnTo>
                  <a:lnTo>
                    <a:pt x="367" y="257"/>
                  </a:lnTo>
                  <a:lnTo>
                    <a:pt x="378" y="259"/>
                  </a:lnTo>
                  <a:lnTo>
                    <a:pt x="388" y="260"/>
                  </a:lnTo>
                  <a:lnTo>
                    <a:pt x="396" y="259"/>
                  </a:lnTo>
                  <a:lnTo>
                    <a:pt x="404" y="258"/>
                  </a:lnTo>
                  <a:lnTo>
                    <a:pt x="411" y="256"/>
                  </a:lnTo>
                  <a:lnTo>
                    <a:pt x="419" y="252"/>
                  </a:lnTo>
                  <a:lnTo>
                    <a:pt x="429" y="248"/>
                  </a:lnTo>
                  <a:lnTo>
                    <a:pt x="438" y="244"/>
                  </a:lnTo>
                  <a:lnTo>
                    <a:pt x="448" y="239"/>
                  </a:lnTo>
                  <a:lnTo>
                    <a:pt x="458" y="236"/>
                  </a:lnTo>
                  <a:lnTo>
                    <a:pt x="466" y="233"/>
                  </a:lnTo>
                  <a:lnTo>
                    <a:pt x="475" y="228"/>
                  </a:lnTo>
                  <a:lnTo>
                    <a:pt x="482" y="222"/>
                  </a:lnTo>
                  <a:lnTo>
                    <a:pt x="489" y="216"/>
                  </a:lnTo>
                  <a:lnTo>
                    <a:pt x="495" y="208"/>
                  </a:lnTo>
                  <a:lnTo>
                    <a:pt x="499" y="201"/>
                  </a:lnTo>
                  <a:lnTo>
                    <a:pt x="502" y="192"/>
                  </a:lnTo>
                  <a:lnTo>
                    <a:pt x="505" y="182"/>
                  </a:lnTo>
                  <a:lnTo>
                    <a:pt x="527" y="72"/>
                  </a:lnTo>
                  <a:lnTo>
                    <a:pt x="625" y="72"/>
                  </a:lnTo>
                  <a:lnTo>
                    <a:pt x="647" y="182"/>
                  </a:lnTo>
                  <a:lnTo>
                    <a:pt x="649" y="192"/>
                  </a:lnTo>
                  <a:lnTo>
                    <a:pt x="653" y="201"/>
                  </a:lnTo>
                  <a:lnTo>
                    <a:pt x="658" y="208"/>
                  </a:lnTo>
                  <a:lnTo>
                    <a:pt x="663" y="216"/>
                  </a:lnTo>
                  <a:lnTo>
                    <a:pt x="670" y="222"/>
                  </a:lnTo>
                  <a:lnTo>
                    <a:pt x="677" y="228"/>
                  </a:lnTo>
                  <a:lnTo>
                    <a:pt x="686" y="233"/>
                  </a:lnTo>
                  <a:lnTo>
                    <a:pt x="694" y="236"/>
                  </a:lnTo>
                  <a:lnTo>
                    <a:pt x="704" y="239"/>
                  </a:lnTo>
                  <a:lnTo>
                    <a:pt x="714" y="244"/>
                  </a:lnTo>
                  <a:lnTo>
                    <a:pt x="724" y="248"/>
                  </a:lnTo>
                  <a:lnTo>
                    <a:pt x="732" y="252"/>
                  </a:lnTo>
                  <a:lnTo>
                    <a:pt x="741" y="256"/>
                  </a:lnTo>
                  <a:lnTo>
                    <a:pt x="748" y="258"/>
                  </a:lnTo>
                  <a:lnTo>
                    <a:pt x="756" y="259"/>
                  </a:lnTo>
                  <a:lnTo>
                    <a:pt x="765" y="260"/>
                  </a:lnTo>
                  <a:lnTo>
                    <a:pt x="774" y="259"/>
                  </a:lnTo>
                  <a:lnTo>
                    <a:pt x="785" y="257"/>
                  </a:lnTo>
                  <a:lnTo>
                    <a:pt x="795" y="252"/>
                  </a:lnTo>
                  <a:lnTo>
                    <a:pt x="805" y="247"/>
                  </a:lnTo>
                  <a:lnTo>
                    <a:pt x="897" y="185"/>
                  </a:lnTo>
                  <a:lnTo>
                    <a:pt x="967" y="255"/>
                  </a:lnTo>
                  <a:lnTo>
                    <a:pt x="905" y="347"/>
                  </a:lnTo>
                  <a:lnTo>
                    <a:pt x="900" y="356"/>
                  </a:lnTo>
                  <a:lnTo>
                    <a:pt x="896" y="365"/>
                  </a:lnTo>
                  <a:lnTo>
                    <a:pt x="894" y="373"/>
                  </a:lnTo>
                  <a:lnTo>
                    <a:pt x="893" y="383"/>
                  </a:lnTo>
                  <a:lnTo>
                    <a:pt x="893" y="392"/>
                  </a:lnTo>
                  <a:lnTo>
                    <a:pt x="894" y="401"/>
                  </a:lnTo>
                  <a:lnTo>
                    <a:pt x="896" y="410"/>
                  </a:lnTo>
                  <a:lnTo>
                    <a:pt x="900" y="419"/>
                  </a:lnTo>
                  <a:lnTo>
                    <a:pt x="904" y="428"/>
                  </a:lnTo>
                  <a:lnTo>
                    <a:pt x="908" y="438"/>
                  </a:lnTo>
                  <a:lnTo>
                    <a:pt x="913" y="448"/>
                  </a:lnTo>
                  <a:lnTo>
                    <a:pt x="916" y="458"/>
                  </a:lnTo>
                  <a:lnTo>
                    <a:pt x="919" y="466"/>
                  </a:lnTo>
                  <a:lnTo>
                    <a:pt x="924" y="475"/>
                  </a:lnTo>
                  <a:lnTo>
                    <a:pt x="930" y="482"/>
                  </a:lnTo>
                  <a:lnTo>
                    <a:pt x="936" y="489"/>
                  </a:lnTo>
                  <a:lnTo>
                    <a:pt x="944" y="494"/>
                  </a:lnTo>
                  <a:lnTo>
                    <a:pt x="951" y="499"/>
                  </a:lnTo>
                  <a:lnTo>
                    <a:pt x="960" y="503"/>
                  </a:lnTo>
                  <a:lnTo>
                    <a:pt x="970" y="505"/>
                  </a:lnTo>
                  <a:lnTo>
                    <a:pt x="1080" y="527"/>
                  </a:lnTo>
                  <a:lnTo>
                    <a:pt x="1080" y="625"/>
                  </a:lnTo>
                  <a:lnTo>
                    <a:pt x="970" y="647"/>
                  </a:lnTo>
                  <a:close/>
                  <a:moveTo>
                    <a:pt x="1094" y="456"/>
                  </a:moveTo>
                  <a:lnTo>
                    <a:pt x="984" y="434"/>
                  </a:lnTo>
                  <a:lnTo>
                    <a:pt x="979" y="422"/>
                  </a:lnTo>
                  <a:lnTo>
                    <a:pt x="975" y="411"/>
                  </a:lnTo>
                  <a:lnTo>
                    <a:pt x="970" y="399"/>
                  </a:lnTo>
                  <a:lnTo>
                    <a:pt x="964" y="387"/>
                  </a:lnTo>
                  <a:lnTo>
                    <a:pt x="1027" y="294"/>
                  </a:lnTo>
                  <a:lnTo>
                    <a:pt x="1030" y="289"/>
                  </a:lnTo>
                  <a:lnTo>
                    <a:pt x="1033" y="283"/>
                  </a:lnTo>
                  <a:lnTo>
                    <a:pt x="1036" y="277"/>
                  </a:lnTo>
                  <a:lnTo>
                    <a:pt x="1037" y="272"/>
                  </a:lnTo>
                  <a:lnTo>
                    <a:pt x="1039" y="259"/>
                  </a:lnTo>
                  <a:lnTo>
                    <a:pt x="1039" y="247"/>
                  </a:lnTo>
                  <a:lnTo>
                    <a:pt x="1037" y="235"/>
                  </a:lnTo>
                  <a:lnTo>
                    <a:pt x="1032" y="223"/>
                  </a:lnTo>
                  <a:lnTo>
                    <a:pt x="1029" y="218"/>
                  </a:lnTo>
                  <a:lnTo>
                    <a:pt x="1026" y="213"/>
                  </a:lnTo>
                  <a:lnTo>
                    <a:pt x="1023" y="208"/>
                  </a:lnTo>
                  <a:lnTo>
                    <a:pt x="1018" y="204"/>
                  </a:lnTo>
                  <a:lnTo>
                    <a:pt x="948" y="134"/>
                  </a:lnTo>
                  <a:lnTo>
                    <a:pt x="943" y="129"/>
                  </a:lnTo>
                  <a:lnTo>
                    <a:pt x="937" y="125"/>
                  </a:lnTo>
                  <a:lnTo>
                    <a:pt x="931" y="122"/>
                  </a:lnTo>
                  <a:lnTo>
                    <a:pt x="925" y="118"/>
                  </a:lnTo>
                  <a:lnTo>
                    <a:pt x="918" y="116"/>
                  </a:lnTo>
                  <a:lnTo>
                    <a:pt x="911" y="114"/>
                  </a:lnTo>
                  <a:lnTo>
                    <a:pt x="905" y="113"/>
                  </a:lnTo>
                  <a:lnTo>
                    <a:pt x="897" y="113"/>
                  </a:lnTo>
                  <a:lnTo>
                    <a:pt x="888" y="114"/>
                  </a:lnTo>
                  <a:lnTo>
                    <a:pt x="877" y="116"/>
                  </a:lnTo>
                  <a:lnTo>
                    <a:pt x="867" y="120"/>
                  </a:lnTo>
                  <a:lnTo>
                    <a:pt x="857" y="125"/>
                  </a:lnTo>
                  <a:lnTo>
                    <a:pt x="765" y="188"/>
                  </a:lnTo>
                  <a:lnTo>
                    <a:pt x="753" y="182"/>
                  </a:lnTo>
                  <a:lnTo>
                    <a:pt x="741" y="177"/>
                  </a:lnTo>
                  <a:lnTo>
                    <a:pt x="730" y="172"/>
                  </a:lnTo>
                  <a:lnTo>
                    <a:pt x="718" y="168"/>
                  </a:lnTo>
                  <a:lnTo>
                    <a:pt x="695" y="58"/>
                  </a:lnTo>
                  <a:lnTo>
                    <a:pt x="694" y="51"/>
                  </a:lnTo>
                  <a:lnTo>
                    <a:pt x="692" y="46"/>
                  </a:lnTo>
                  <a:lnTo>
                    <a:pt x="689" y="40"/>
                  </a:lnTo>
                  <a:lnTo>
                    <a:pt x="687" y="34"/>
                  </a:lnTo>
                  <a:lnTo>
                    <a:pt x="679" y="24"/>
                  </a:lnTo>
                  <a:lnTo>
                    <a:pt x="671" y="16"/>
                  </a:lnTo>
                  <a:lnTo>
                    <a:pt x="661" y="9"/>
                  </a:lnTo>
                  <a:lnTo>
                    <a:pt x="649" y="4"/>
                  </a:lnTo>
                  <a:lnTo>
                    <a:pt x="644" y="3"/>
                  </a:lnTo>
                  <a:lnTo>
                    <a:pt x="637" y="1"/>
                  </a:lnTo>
                  <a:lnTo>
                    <a:pt x="632" y="1"/>
                  </a:lnTo>
                  <a:lnTo>
                    <a:pt x="625" y="0"/>
                  </a:lnTo>
                  <a:lnTo>
                    <a:pt x="527" y="0"/>
                  </a:lnTo>
                  <a:lnTo>
                    <a:pt x="520" y="1"/>
                  </a:lnTo>
                  <a:lnTo>
                    <a:pt x="514" y="1"/>
                  </a:lnTo>
                  <a:lnTo>
                    <a:pt x="509" y="3"/>
                  </a:lnTo>
                  <a:lnTo>
                    <a:pt x="502" y="4"/>
                  </a:lnTo>
                  <a:lnTo>
                    <a:pt x="491" y="9"/>
                  </a:lnTo>
                  <a:lnTo>
                    <a:pt x="482" y="16"/>
                  </a:lnTo>
                  <a:lnTo>
                    <a:pt x="473" y="24"/>
                  </a:lnTo>
                  <a:lnTo>
                    <a:pt x="465" y="34"/>
                  </a:lnTo>
                  <a:lnTo>
                    <a:pt x="462" y="40"/>
                  </a:lnTo>
                  <a:lnTo>
                    <a:pt x="460" y="46"/>
                  </a:lnTo>
                  <a:lnTo>
                    <a:pt x="458" y="51"/>
                  </a:lnTo>
                  <a:lnTo>
                    <a:pt x="457" y="58"/>
                  </a:lnTo>
                  <a:lnTo>
                    <a:pt x="434" y="168"/>
                  </a:lnTo>
                  <a:lnTo>
                    <a:pt x="422" y="172"/>
                  </a:lnTo>
                  <a:lnTo>
                    <a:pt x="410" y="177"/>
                  </a:lnTo>
                  <a:lnTo>
                    <a:pt x="400" y="182"/>
                  </a:lnTo>
                  <a:lnTo>
                    <a:pt x="388" y="188"/>
                  </a:lnTo>
                  <a:lnTo>
                    <a:pt x="295" y="125"/>
                  </a:lnTo>
                  <a:lnTo>
                    <a:pt x="285" y="120"/>
                  </a:lnTo>
                  <a:lnTo>
                    <a:pt x="275" y="116"/>
                  </a:lnTo>
                  <a:lnTo>
                    <a:pt x="265" y="114"/>
                  </a:lnTo>
                  <a:lnTo>
                    <a:pt x="255" y="113"/>
                  </a:lnTo>
                  <a:lnTo>
                    <a:pt x="247" y="113"/>
                  </a:lnTo>
                  <a:lnTo>
                    <a:pt x="241" y="114"/>
                  </a:lnTo>
                  <a:lnTo>
                    <a:pt x="233" y="116"/>
                  </a:lnTo>
                  <a:lnTo>
                    <a:pt x="227" y="118"/>
                  </a:lnTo>
                  <a:lnTo>
                    <a:pt x="220" y="122"/>
                  </a:lnTo>
                  <a:lnTo>
                    <a:pt x="215" y="125"/>
                  </a:lnTo>
                  <a:lnTo>
                    <a:pt x="208" y="129"/>
                  </a:lnTo>
                  <a:lnTo>
                    <a:pt x="203" y="134"/>
                  </a:lnTo>
                  <a:lnTo>
                    <a:pt x="134" y="204"/>
                  </a:lnTo>
                  <a:lnTo>
                    <a:pt x="130" y="208"/>
                  </a:lnTo>
                  <a:lnTo>
                    <a:pt x="126" y="213"/>
                  </a:lnTo>
                  <a:lnTo>
                    <a:pt x="123" y="218"/>
                  </a:lnTo>
                  <a:lnTo>
                    <a:pt x="120" y="223"/>
                  </a:lnTo>
                  <a:lnTo>
                    <a:pt x="115" y="235"/>
                  </a:lnTo>
                  <a:lnTo>
                    <a:pt x="113" y="247"/>
                  </a:lnTo>
                  <a:lnTo>
                    <a:pt x="113" y="259"/>
                  </a:lnTo>
                  <a:lnTo>
                    <a:pt x="115" y="272"/>
                  </a:lnTo>
                  <a:lnTo>
                    <a:pt x="117" y="277"/>
                  </a:lnTo>
                  <a:lnTo>
                    <a:pt x="119" y="283"/>
                  </a:lnTo>
                  <a:lnTo>
                    <a:pt x="122" y="289"/>
                  </a:lnTo>
                  <a:lnTo>
                    <a:pt x="125" y="294"/>
                  </a:lnTo>
                  <a:lnTo>
                    <a:pt x="188" y="387"/>
                  </a:lnTo>
                  <a:lnTo>
                    <a:pt x="182" y="399"/>
                  </a:lnTo>
                  <a:lnTo>
                    <a:pt x="177" y="411"/>
                  </a:lnTo>
                  <a:lnTo>
                    <a:pt x="173" y="422"/>
                  </a:lnTo>
                  <a:lnTo>
                    <a:pt x="168" y="434"/>
                  </a:lnTo>
                  <a:lnTo>
                    <a:pt x="58" y="456"/>
                  </a:lnTo>
                  <a:lnTo>
                    <a:pt x="52" y="458"/>
                  </a:lnTo>
                  <a:lnTo>
                    <a:pt x="45" y="460"/>
                  </a:lnTo>
                  <a:lnTo>
                    <a:pt x="40" y="463"/>
                  </a:lnTo>
                  <a:lnTo>
                    <a:pt x="34" y="465"/>
                  </a:lnTo>
                  <a:lnTo>
                    <a:pt x="25" y="473"/>
                  </a:lnTo>
                  <a:lnTo>
                    <a:pt x="16" y="481"/>
                  </a:lnTo>
                  <a:lnTo>
                    <a:pt x="10" y="491"/>
                  </a:lnTo>
                  <a:lnTo>
                    <a:pt x="4" y="503"/>
                  </a:lnTo>
                  <a:lnTo>
                    <a:pt x="2" y="508"/>
                  </a:lnTo>
                  <a:lnTo>
                    <a:pt x="1" y="515"/>
                  </a:lnTo>
                  <a:lnTo>
                    <a:pt x="0" y="520"/>
                  </a:lnTo>
                  <a:lnTo>
                    <a:pt x="0" y="527"/>
                  </a:lnTo>
                  <a:lnTo>
                    <a:pt x="0" y="625"/>
                  </a:lnTo>
                  <a:lnTo>
                    <a:pt x="0" y="631"/>
                  </a:lnTo>
                  <a:lnTo>
                    <a:pt x="1" y="638"/>
                  </a:lnTo>
                  <a:lnTo>
                    <a:pt x="2" y="643"/>
                  </a:lnTo>
                  <a:lnTo>
                    <a:pt x="4" y="650"/>
                  </a:lnTo>
                  <a:lnTo>
                    <a:pt x="10" y="661"/>
                  </a:lnTo>
                  <a:lnTo>
                    <a:pt x="16" y="670"/>
                  </a:lnTo>
                  <a:lnTo>
                    <a:pt x="25" y="679"/>
                  </a:lnTo>
                  <a:lnTo>
                    <a:pt x="34" y="687"/>
                  </a:lnTo>
                  <a:lnTo>
                    <a:pt x="40" y="690"/>
                  </a:lnTo>
                  <a:lnTo>
                    <a:pt x="45" y="692"/>
                  </a:lnTo>
                  <a:lnTo>
                    <a:pt x="52" y="694"/>
                  </a:lnTo>
                  <a:lnTo>
                    <a:pt x="58" y="695"/>
                  </a:lnTo>
                  <a:lnTo>
                    <a:pt x="168" y="718"/>
                  </a:lnTo>
                  <a:lnTo>
                    <a:pt x="173" y="730"/>
                  </a:lnTo>
                  <a:lnTo>
                    <a:pt x="177" y="742"/>
                  </a:lnTo>
                  <a:lnTo>
                    <a:pt x="182" y="752"/>
                  </a:lnTo>
                  <a:lnTo>
                    <a:pt x="188" y="764"/>
                  </a:lnTo>
                  <a:lnTo>
                    <a:pt x="125" y="858"/>
                  </a:lnTo>
                  <a:lnTo>
                    <a:pt x="122" y="864"/>
                  </a:lnTo>
                  <a:lnTo>
                    <a:pt x="119" y="869"/>
                  </a:lnTo>
                  <a:lnTo>
                    <a:pt x="117" y="874"/>
                  </a:lnTo>
                  <a:lnTo>
                    <a:pt x="115" y="881"/>
                  </a:lnTo>
                  <a:lnTo>
                    <a:pt x="113" y="893"/>
                  </a:lnTo>
                  <a:lnTo>
                    <a:pt x="113" y="905"/>
                  </a:lnTo>
                  <a:lnTo>
                    <a:pt x="115" y="917"/>
                  </a:lnTo>
                  <a:lnTo>
                    <a:pt x="120" y="928"/>
                  </a:lnTo>
                  <a:lnTo>
                    <a:pt x="123" y="934"/>
                  </a:lnTo>
                  <a:lnTo>
                    <a:pt x="126" y="939"/>
                  </a:lnTo>
                  <a:lnTo>
                    <a:pt x="130" y="944"/>
                  </a:lnTo>
                  <a:lnTo>
                    <a:pt x="134" y="949"/>
                  </a:lnTo>
                  <a:lnTo>
                    <a:pt x="203" y="1018"/>
                  </a:lnTo>
                  <a:lnTo>
                    <a:pt x="208" y="1022"/>
                  </a:lnTo>
                  <a:lnTo>
                    <a:pt x="215" y="1027"/>
                  </a:lnTo>
                  <a:lnTo>
                    <a:pt x="220" y="1031"/>
                  </a:lnTo>
                  <a:lnTo>
                    <a:pt x="227" y="1033"/>
                  </a:lnTo>
                  <a:lnTo>
                    <a:pt x="233" y="1036"/>
                  </a:lnTo>
                  <a:lnTo>
                    <a:pt x="241" y="1038"/>
                  </a:lnTo>
                  <a:lnTo>
                    <a:pt x="247" y="1039"/>
                  </a:lnTo>
                  <a:lnTo>
                    <a:pt x="255" y="1039"/>
                  </a:lnTo>
                  <a:lnTo>
                    <a:pt x="265" y="1039"/>
                  </a:lnTo>
                  <a:lnTo>
                    <a:pt x="275" y="1036"/>
                  </a:lnTo>
                  <a:lnTo>
                    <a:pt x="285" y="1032"/>
                  </a:lnTo>
                  <a:lnTo>
                    <a:pt x="295" y="1027"/>
                  </a:lnTo>
                  <a:lnTo>
                    <a:pt x="388" y="964"/>
                  </a:lnTo>
                  <a:lnTo>
                    <a:pt x="400" y="969"/>
                  </a:lnTo>
                  <a:lnTo>
                    <a:pt x="410" y="975"/>
                  </a:lnTo>
                  <a:lnTo>
                    <a:pt x="422" y="979"/>
                  </a:lnTo>
                  <a:lnTo>
                    <a:pt x="434" y="984"/>
                  </a:lnTo>
                  <a:lnTo>
                    <a:pt x="457" y="1094"/>
                  </a:lnTo>
                  <a:lnTo>
                    <a:pt x="458" y="1100"/>
                  </a:lnTo>
                  <a:lnTo>
                    <a:pt x="460" y="1107"/>
                  </a:lnTo>
                  <a:lnTo>
                    <a:pt x="462" y="1112"/>
                  </a:lnTo>
                  <a:lnTo>
                    <a:pt x="465" y="1117"/>
                  </a:lnTo>
                  <a:lnTo>
                    <a:pt x="473" y="1127"/>
                  </a:lnTo>
                  <a:lnTo>
                    <a:pt x="482" y="1136"/>
                  </a:lnTo>
                  <a:lnTo>
                    <a:pt x="491" y="1142"/>
                  </a:lnTo>
                  <a:lnTo>
                    <a:pt x="502" y="1148"/>
                  </a:lnTo>
                  <a:lnTo>
                    <a:pt x="509" y="1150"/>
                  </a:lnTo>
                  <a:lnTo>
                    <a:pt x="514" y="1151"/>
                  </a:lnTo>
                  <a:lnTo>
                    <a:pt x="520" y="1152"/>
                  </a:lnTo>
                  <a:lnTo>
                    <a:pt x="527" y="1152"/>
                  </a:lnTo>
                  <a:lnTo>
                    <a:pt x="625" y="1152"/>
                  </a:lnTo>
                  <a:lnTo>
                    <a:pt x="632" y="1152"/>
                  </a:lnTo>
                  <a:lnTo>
                    <a:pt x="637" y="1151"/>
                  </a:lnTo>
                  <a:lnTo>
                    <a:pt x="644" y="1150"/>
                  </a:lnTo>
                  <a:lnTo>
                    <a:pt x="649" y="1148"/>
                  </a:lnTo>
                  <a:lnTo>
                    <a:pt x="661" y="1142"/>
                  </a:lnTo>
                  <a:lnTo>
                    <a:pt x="671" y="1136"/>
                  </a:lnTo>
                  <a:lnTo>
                    <a:pt x="679" y="1127"/>
                  </a:lnTo>
                  <a:lnTo>
                    <a:pt x="687" y="1117"/>
                  </a:lnTo>
                  <a:lnTo>
                    <a:pt x="689" y="1112"/>
                  </a:lnTo>
                  <a:lnTo>
                    <a:pt x="692" y="1107"/>
                  </a:lnTo>
                  <a:lnTo>
                    <a:pt x="694" y="1100"/>
                  </a:lnTo>
                  <a:lnTo>
                    <a:pt x="695" y="1094"/>
                  </a:lnTo>
                  <a:lnTo>
                    <a:pt x="718" y="984"/>
                  </a:lnTo>
                  <a:lnTo>
                    <a:pt x="730" y="979"/>
                  </a:lnTo>
                  <a:lnTo>
                    <a:pt x="741" y="975"/>
                  </a:lnTo>
                  <a:lnTo>
                    <a:pt x="753" y="969"/>
                  </a:lnTo>
                  <a:lnTo>
                    <a:pt x="765" y="964"/>
                  </a:lnTo>
                  <a:lnTo>
                    <a:pt x="857" y="1027"/>
                  </a:lnTo>
                  <a:lnTo>
                    <a:pt x="867" y="1032"/>
                  </a:lnTo>
                  <a:lnTo>
                    <a:pt x="877" y="1036"/>
                  </a:lnTo>
                  <a:lnTo>
                    <a:pt x="888" y="1039"/>
                  </a:lnTo>
                  <a:lnTo>
                    <a:pt x="897" y="1039"/>
                  </a:lnTo>
                  <a:lnTo>
                    <a:pt x="905" y="1039"/>
                  </a:lnTo>
                  <a:lnTo>
                    <a:pt x="911" y="1038"/>
                  </a:lnTo>
                  <a:lnTo>
                    <a:pt x="918" y="1036"/>
                  </a:lnTo>
                  <a:lnTo>
                    <a:pt x="925" y="1033"/>
                  </a:lnTo>
                  <a:lnTo>
                    <a:pt x="931" y="1031"/>
                  </a:lnTo>
                  <a:lnTo>
                    <a:pt x="937" y="1027"/>
                  </a:lnTo>
                  <a:lnTo>
                    <a:pt x="943" y="1022"/>
                  </a:lnTo>
                  <a:lnTo>
                    <a:pt x="948" y="1018"/>
                  </a:lnTo>
                  <a:lnTo>
                    <a:pt x="1018" y="949"/>
                  </a:lnTo>
                  <a:lnTo>
                    <a:pt x="1023" y="944"/>
                  </a:lnTo>
                  <a:lnTo>
                    <a:pt x="1026" y="939"/>
                  </a:lnTo>
                  <a:lnTo>
                    <a:pt x="1029" y="934"/>
                  </a:lnTo>
                  <a:lnTo>
                    <a:pt x="1032" y="928"/>
                  </a:lnTo>
                  <a:lnTo>
                    <a:pt x="1037" y="917"/>
                  </a:lnTo>
                  <a:lnTo>
                    <a:pt x="1039" y="905"/>
                  </a:lnTo>
                  <a:lnTo>
                    <a:pt x="1039" y="893"/>
                  </a:lnTo>
                  <a:lnTo>
                    <a:pt x="1037" y="881"/>
                  </a:lnTo>
                  <a:lnTo>
                    <a:pt x="1036" y="874"/>
                  </a:lnTo>
                  <a:lnTo>
                    <a:pt x="1033" y="869"/>
                  </a:lnTo>
                  <a:lnTo>
                    <a:pt x="1030" y="864"/>
                  </a:lnTo>
                  <a:lnTo>
                    <a:pt x="1027" y="858"/>
                  </a:lnTo>
                  <a:lnTo>
                    <a:pt x="964" y="764"/>
                  </a:lnTo>
                  <a:lnTo>
                    <a:pt x="970" y="752"/>
                  </a:lnTo>
                  <a:lnTo>
                    <a:pt x="975" y="742"/>
                  </a:lnTo>
                  <a:lnTo>
                    <a:pt x="979" y="730"/>
                  </a:lnTo>
                  <a:lnTo>
                    <a:pt x="984" y="718"/>
                  </a:lnTo>
                  <a:lnTo>
                    <a:pt x="1094" y="695"/>
                  </a:lnTo>
                  <a:lnTo>
                    <a:pt x="1100" y="694"/>
                  </a:lnTo>
                  <a:lnTo>
                    <a:pt x="1106" y="692"/>
                  </a:lnTo>
                  <a:lnTo>
                    <a:pt x="1112" y="690"/>
                  </a:lnTo>
                  <a:lnTo>
                    <a:pt x="1118" y="687"/>
                  </a:lnTo>
                  <a:lnTo>
                    <a:pt x="1127" y="679"/>
                  </a:lnTo>
                  <a:lnTo>
                    <a:pt x="1136" y="670"/>
                  </a:lnTo>
                  <a:lnTo>
                    <a:pt x="1143" y="661"/>
                  </a:lnTo>
                  <a:lnTo>
                    <a:pt x="1148" y="650"/>
                  </a:lnTo>
                  <a:lnTo>
                    <a:pt x="1149" y="643"/>
                  </a:lnTo>
                  <a:lnTo>
                    <a:pt x="1151" y="638"/>
                  </a:lnTo>
                  <a:lnTo>
                    <a:pt x="1151" y="631"/>
                  </a:lnTo>
                  <a:lnTo>
                    <a:pt x="1152" y="625"/>
                  </a:lnTo>
                  <a:lnTo>
                    <a:pt x="1152" y="527"/>
                  </a:lnTo>
                  <a:lnTo>
                    <a:pt x="1151" y="520"/>
                  </a:lnTo>
                  <a:lnTo>
                    <a:pt x="1151" y="515"/>
                  </a:lnTo>
                  <a:lnTo>
                    <a:pt x="1149" y="508"/>
                  </a:lnTo>
                  <a:lnTo>
                    <a:pt x="1148" y="503"/>
                  </a:lnTo>
                  <a:lnTo>
                    <a:pt x="1143" y="491"/>
                  </a:lnTo>
                  <a:lnTo>
                    <a:pt x="1136" y="481"/>
                  </a:lnTo>
                  <a:lnTo>
                    <a:pt x="1127" y="473"/>
                  </a:lnTo>
                  <a:lnTo>
                    <a:pt x="1118" y="465"/>
                  </a:lnTo>
                  <a:lnTo>
                    <a:pt x="1112" y="463"/>
                  </a:lnTo>
                  <a:lnTo>
                    <a:pt x="1106" y="460"/>
                  </a:lnTo>
                  <a:lnTo>
                    <a:pt x="1100" y="458"/>
                  </a:lnTo>
                  <a:lnTo>
                    <a:pt x="1094" y="45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solidFill>
                  <a:schemeClr val="tx1">
                    <a:lumMod val="95000"/>
                    <a:lumOff val="5000"/>
                  </a:schemeClr>
                </a:solidFill>
                <a:latin typeface="Raleway" panose="020B0503030101060003" pitchFamily="34" charset="0"/>
              </a:endParaRPr>
            </a:p>
          </p:txBody>
        </p:sp>
        <p:sp>
          <p:nvSpPr>
            <p:cNvPr id="28" name="Freeform 125"/>
            <p:cNvSpPr>
              <a:spLocks noEditPoints="1"/>
            </p:cNvSpPr>
            <p:nvPr/>
          </p:nvSpPr>
          <p:spPr bwMode="auto">
            <a:xfrm>
              <a:off x="4691856" y="2882503"/>
              <a:ext cx="200025" cy="200025"/>
            </a:xfrm>
            <a:custGeom>
              <a:avLst/>
              <a:gdLst>
                <a:gd name="T0" fmla="*/ 218 w 504"/>
                <a:gd name="T1" fmla="*/ 469 h 504"/>
                <a:gd name="T2" fmla="*/ 147 w 504"/>
                <a:gd name="T3" fmla="*/ 446 h 504"/>
                <a:gd name="T4" fmla="*/ 82 w 504"/>
                <a:gd name="T5" fmla="*/ 392 h 504"/>
                <a:gd name="T6" fmla="*/ 41 w 504"/>
                <a:gd name="T7" fmla="*/ 317 h 504"/>
                <a:gd name="T8" fmla="*/ 32 w 504"/>
                <a:gd name="T9" fmla="*/ 263 h 504"/>
                <a:gd name="T10" fmla="*/ 34 w 504"/>
                <a:gd name="T11" fmla="*/ 219 h 504"/>
                <a:gd name="T12" fmla="*/ 58 w 504"/>
                <a:gd name="T13" fmla="*/ 147 h 504"/>
                <a:gd name="T14" fmla="*/ 112 w 504"/>
                <a:gd name="T15" fmla="*/ 82 h 504"/>
                <a:gd name="T16" fmla="*/ 187 w 504"/>
                <a:gd name="T17" fmla="*/ 42 h 504"/>
                <a:gd name="T18" fmla="*/ 241 w 504"/>
                <a:gd name="T19" fmla="*/ 32 h 504"/>
                <a:gd name="T20" fmla="*/ 286 w 504"/>
                <a:gd name="T21" fmla="*/ 34 h 504"/>
                <a:gd name="T22" fmla="*/ 357 w 504"/>
                <a:gd name="T23" fmla="*/ 58 h 504"/>
                <a:gd name="T24" fmla="*/ 422 w 504"/>
                <a:gd name="T25" fmla="*/ 112 h 504"/>
                <a:gd name="T26" fmla="*/ 462 w 504"/>
                <a:gd name="T27" fmla="*/ 186 h 504"/>
                <a:gd name="T28" fmla="*/ 472 w 504"/>
                <a:gd name="T29" fmla="*/ 240 h 504"/>
                <a:gd name="T30" fmla="*/ 470 w 504"/>
                <a:gd name="T31" fmla="*/ 286 h 504"/>
                <a:gd name="T32" fmla="*/ 446 w 504"/>
                <a:gd name="T33" fmla="*/ 357 h 504"/>
                <a:gd name="T34" fmla="*/ 392 w 504"/>
                <a:gd name="T35" fmla="*/ 422 h 504"/>
                <a:gd name="T36" fmla="*/ 317 w 504"/>
                <a:gd name="T37" fmla="*/ 463 h 504"/>
                <a:gd name="T38" fmla="*/ 263 w 504"/>
                <a:gd name="T39" fmla="*/ 473 h 504"/>
                <a:gd name="T40" fmla="*/ 239 w 504"/>
                <a:gd name="T41" fmla="*/ 1 h 504"/>
                <a:gd name="T42" fmla="*/ 189 w 504"/>
                <a:gd name="T43" fmla="*/ 8 h 504"/>
                <a:gd name="T44" fmla="*/ 142 w 504"/>
                <a:gd name="T45" fmla="*/ 24 h 504"/>
                <a:gd name="T46" fmla="*/ 101 w 504"/>
                <a:gd name="T47" fmla="*/ 50 h 504"/>
                <a:gd name="T48" fmla="*/ 66 w 504"/>
                <a:gd name="T49" fmla="*/ 83 h 504"/>
                <a:gd name="T50" fmla="*/ 37 w 504"/>
                <a:gd name="T51" fmla="*/ 122 h 504"/>
                <a:gd name="T52" fmla="*/ 15 w 504"/>
                <a:gd name="T53" fmla="*/ 165 h 504"/>
                <a:gd name="T54" fmla="*/ 3 w 504"/>
                <a:gd name="T55" fmla="*/ 213 h 504"/>
                <a:gd name="T56" fmla="*/ 0 w 504"/>
                <a:gd name="T57" fmla="*/ 265 h 504"/>
                <a:gd name="T58" fmla="*/ 7 w 504"/>
                <a:gd name="T59" fmla="*/ 315 h 504"/>
                <a:gd name="T60" fmla="*/ 25 w 504"/>
                <a:gd name="T61" fmla="*/ 361 h 504"/>
                <a:gd name="T62" fmla="*/ 50 w 504"/>
                <a:gd name="T63" fmla="*/ 402 h 504"/>
                <a:gd name="T64" fmla="*/ 83 w 504"/>
                <a:gd name="T65" fmla="*/ 438 h 504"/>
                <a:gd name="T66" fmla="*/ 121 w 504"/>
                <a:gd name="T67" fmla="*/ 467 h 504"/>
                <a:gd name="T68" fmla="*/ 165 w 504"/>
                <a:gd name="T69" fmla="*/ 489 h 504"/>
                <a:gd name="T70" fmla="*/ 214 w 504"/>
                <a:gd name="T71" fmla="*/ 501 h 504"/>
                <a:gd name="T72" fmla="*/ 265 w 504"/>
                <a:gd name="T73" fmla="*/ 504 h 504"/>
                <a:gd name="T74" fmla="*/ 315 w 504"/>
                <a:gd name="T75" fmla="*/ 496 h 504"/>
                <a:gd name="T76" fmla="*/ 362 w 504"/>
                <a:gd name="T77" fmla="*/ 479 h 504"/>
                <a:gd name="T78" fmla="*/ 403 w 504"/>
                <a:gd name="T79" fmla="*/ 454 h 504"/>
                <a:gd name="T80" fmla="*/ 438 w 504"/>
                <a:gd name="T81" fmla="*/ 421 h 504"/>
                <a:gd name="T82" fmla="*/ 468 w 504"/>
                <a:gd name="T83" fmla="*/ 383 h 504"/>
                <a:gd name="T84" fmla="*/ 489 w 504"/>
                <a:gd name="T85" fmla="*/ 339 h 504"/>
                <a:gd name="T86" fmla="*/ 501 w 504"/>
                <a:gd name="T87" fmla="*/ 290 h 504"/>
                <a:gd name="T88" fmla="*/ 503 w 504"/>
                <a:gd name="T89" fmla="*/ 239 h 504"/>
                <a:gd name="T90" fmla="*/ 496 w 504"/>
                <a:gd name="T91" fmla="*/ 189 h 504"/>
                <a:gd name="T92" fmla="*/ 479 w 504"/>
                <a:gd name="T93" fmla="*/ 142 h 504"/>
                <a:gd name="T94" fmla="*/ 454 w 504"/>
                <a:gd name="T95" fmla="*/ 101 h 504"/>
                <a:gd name="T96" fmla="*/ 421 w 504"/>
                <a:gd name="T97" fmla="*/ 66 h 504"/>
                <a:gd name="T98" fmla="*/ 382 w 504"/>
                <a:gd name="T99" fmla="*/ 36 h 504"/>
                <a:gd name="T100" fmla="*/ 339 w 504"/>
                <a:gd name="T101" fmla="*/ 15 h 504"/>
                <a:gd name="T102" fmla="*/ 290 w 504"/>
                <a:gd name="T103" fmla="*/ 3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4" h="504">
                  <a:moveTo>
                    <a:pt x="252" y="473"/>
                  </a:moveTo>
                  <a:lnTo>
                    <a:pt x="241" y="473"/>
                  </a:lnTo>
                  <a:lnTo>
                    <a:pt x="230" y="472"/>
                  </a:lnTo>
                  <a:lnTo>
                    <a:pt x="218" y="469"/>
                  </a:lnTo>
                  <a:lnTo>
                    <a:pt x="207" y="468"/>
                  </a:lnTo>
                  <a:lnTo>
                    <a:pt x="187" y="463"/>
                  </a:lnTo>
                  <a:lnTo>
                    <a:pt x="166" y="455"/>
                  </a:lnTo>
                  <a:lnTo>
                    <a:pt x="147" y="446"/>
                  </a:lnTo>
                  <a:lnTo>
                    <a:pt x="128" y="435"/>
                  </a:lnTo>
                  <a:lnTo>
                    <a:pt x="112" y="422"/>
                  </a:lnTo>
                  <a:lnTo>
                    <a:pt x="96" y="408"/>
                  </a:lnTo>
                  <a:lnTo>
                    <a:pt x="82" y="392"/>
                  </a:lnTo>
                  <a:lnTo>
                    <a:pt x="69" y="375"/>
                  </a:lnTo>
                  <a:lnTo>
                    <a:pt x="58" y="357"/>
                  </a:lnTo>
                  <a:lnTo>
                    <a:pt x="49" y="338"/>
                  </a:lnTo>
                  <a:lnTo>
                    <a:pt x="41" y="317"/>
                  </a:lnTo>
                  <a:lnTo>
                    <a:pt x="36" y="297"/>
                  </a:lnTo>
                  <a:lnTo>
                    <a:pt x="34" y="286"/>
                  </a:lnTo>
                  <a:lnTo>
                    <a:pt x="32" y="274"/>
                  </a:lnTo>
                  <a:lnTo>
                    <a:pt x="32" y="263"/>
                  </a:lnTo>
                  <a:lnTo>
                    <a:pt x="31" y="252"/>
                  </a:lnTo>
                  <a:lnTo>
                    <a:pt x="32" y="240"/>
                  </a:lnTo>
                  <a:lnTo>
                    <a:pt x="32" y="230"/>
                  </a:lnTo>
                  <a:lnTo>
                    <a:pt x="34" y="219"/>
                  </a:lnTo>
                  <a:lnTo>
                    <a:pt x="36" y="207"/>
                  </a:lnTo>
                  <a:lnTo>
                    <a:pt x="41" y="186"/>
                  </a:lnTo>
                  <a:lnTo>
                    <a:pt x="49" y="166"/>
                  </a:lnTo>
                  <a:lnTo>
                    <a:pt x="58" y="147"/>
                  </a:lnTo>
                  <a:lnTo>
                    <a:pt x="69" y="128"/>
                  </a:lnTo>
                  <a:lnTo>
                    <a:pt x="82" y="112"/>
                  </a:lnTo>
                  <a:lnTo>
                    <a:pt x="96" y="96"/>
                  </a:lnTo>
                  <a:lnTo>
                    <a:pt x="112" y="82"/>
                  </a:lnTo>
                  <a:lnTo>
                    <a:pt x="128" y="69"/>
                  </a:lnTo>
                  <a:lnTo>
                    <a:pt x="147" y="58"/>
                  </a:lnTo>
                  <a:lnTo>
                    <a:pt x="166" y="49"/>
                  </a:lnTo>
                  <a:lnTo>
                    <a:pt x="187" y="42"/>
                  </a:lnTo>
                  <a:lnTo>
                    <a:pt x="207" y="36"/>
                  </a:lnTo>
                  <a:lnTo>
                    <a:pt x="218" y="34"/>
                  </a:lnTo>
                  <a:lnTo>
                    <a:pt x="230" y="33"/>
                  </a:lnTo>
                  <a:lnTo>
                    <a:pt x="241" y="32"/>
                  </a:lnTo>
                  <a:lnTo>
                    <a:pt x="252" y="31"/>
                  </a:lnTo>
                  <a:lnTo>
                    <a:pt x="263" y="32"/>
                  </a:lnTo>
                  <a:lnTo>
                    <a:pt x="274" y="33"/>
                  </a:lnTo>
                  <a:lnTo>
                    <a:pt x="286" y="34"/>
                  </a:lnTo>
                  <a:lnTo>
                    <a:pt x="297" y="36"/>
                  </a:lnTo>
                  <a:lnTo>
                    <a:pt x="317" y="42"/>
                  </a:lnTo>
                  <a:lnTo>
                    <a:pt x="338" y="49"/>
                  </a:lnTo>
                  <a:lnTo>
                    <a:pt x="357" y="58"/>
                  </a:lnTo>
                  <a:lnTo>
                    <a:pt x="376" y="69"/>
                  </a:lnTo>
                  <a:lnTo>
                    <a:pt x="392" y="82"/>
                  </a:lnTo>
                  <a:lnTo>
                    <a:pt x="408" y="96"/>
                  </a:lnTo>
                  <a:lnTo>
                    <a:pt x="422" y="112"/>
                  </a:lnTo>
                  <a:lnTo>
                    <a:pt x="435" y="128"/>
                  </a:lnTo>
                  <a:lnTo>
                    <a:pt x="446" y="147"/>
                  </a:lnTo>
                  <a:lnTo>
                    <a:pt x="456" y="166"/>
                  </a:lnTo>
                  <a:lnTo>
                    <a:pt x="462" y="186"/>
                  </a:lnTo>
                  <a:lnTo>
                    <a:pt x="468" y="207"/>
                  </a:lnTo>
                  <a:lnTo>
                    <a:pt x="470" y="219"/>
                  </a:lnTo>
                  <a:lnTo>
                    <a:pt x="472" y="230"/>
                  </a:lnTo>
                  <a:lnTo>
                    <a:pt x="472" y="240"/>
                  </a:lnTo>
                  <a:lnTo>
                    <a:pt x="473" y="252"/>
                  </a:lnTo>
                  <a:lnTo>
                    <a:pt x="472" y="263"/>
                  </a:lnTo>
                  <a:lnTo>
                    <a:pt x="472" y="274"/>
                  </a:lnTo>
                  <a:lnTo>
                    <a:pt x="470" y="286"/>
                  </a:lnTo>
                  <a:lnTo>
                    <a:pt x="468" y="297"/>
                  </a:lnTo>
                  <a:lnTo>
                    <a:pt x="462" y="317"/>
                  </a:lnTo>
                  <a:lnTo>
                    <a:pt x="456" y="338"/>
                  </a:lnTo>
                  <a:lnTo>
                    <a:pt x="446" y="357"/>
                  </a:lnTo>
                  <a:lnTo>
                    <a:pt x="435" y="375"/>
                  </a:lnTo>
                  <a:lnTo>
                    <a:pt x="422" y="392"/>
                  </a:lnTo>
                  <a:lnTo>
                    <a:pt x="408" y="408"/>
                  </a:lnTo>
                  <a:lnTo>
                    <a:pt x="392" y="422"/>
                  </a:lnTo>
                  <a:lnTo>
                    <a:pt x="376" y="435"/>
                  </a:lnTo>
                  <a:lnTo>
                    <a:pt x="357" y="446"/>
                  </a:lnTo>
                  <a:lnTo>
                    <a:pt x="338" y="455"/>
                  </a:lnTo>
                  <a:lnTo>
                    <a:pt x="317" y="463"/>
                  </a:lnTo>
                  <a:lnTo>
                    <a:pt x="297" y="468"/>
                  </a:lnTo>
                  <a:lnTo>
                    <a:pt x="286" y="469"/>
                  </a:lnTo>
                  <a:lnTo>
                    <a:pt x="274" y="472"/>
                  </a:lnTo>
                  <a:lnTo>
                    <a:pt x="263" y="473"/>
                  </a:lnTo>
                  <a:lnTo>
                    <a:pt x="252" y="473"/>
                  </a:lnTo>
                  <a:lnTo>
                    <a:pt x="252" y="473"/>
                  </a:lnTo>
                  <a:close/>
                  <a:moveTo>
                    <a:pt x="252" y="0"/>
                  </a:moveTo>
                  <a:lnTo>
                    <a:pt x="239" y="1"/>
                  </a:lnTo>
                  <a:lnTo>
                    <a:pt x="227" y="1"/>
                  </a:lnTo>
                  <a:lnTo>
                    <a:pt x="214" y="3"/>
                  </a:lnTo>
                  <a:lnTo>
                    <a:pt x="201" y="5"/>
                  </a:lnTo>
                  <a:lnTo>
                    <a:pt x="189" y="8"/>
                  </a:lnTo>
                  <a:lnTo>
                    <a:pt x="177" y="12"/>
                  </a:lnTo>
                  <a:lnTo>
                    <a:pt x="165" y="15"/>
                  </a:lnTo>
                  <a:lnTo>
                    <a:pt x="154" y="20"/>
                  </a:lnTo>
                  <a:lnTo>
                    <a:pt x="142" y="24"/>
                  </a:lnTo>
                  <a:lnTo>
                    <a:pt x="132" y="30"/>
                  </a:lnTo>
                  <a:lnTo>
                    <a:pt x="121" y="36"/>
                  </a:lnTo>
                  <a:lnTo>
                    <a:pt x="111" y="43"/>
                  </a:lnTo>
                  <a:lnTo>
                    <a:pt x="101" y="50"/>
                  </a:lnTo>
                  <a:lnTo>
                    <a:pt x="92" y="58"/>
                  </a:lnTo>
                  <a:lnTo>
                    <a:pt x="83" y="66"/>
                  </a:lnTo>
                  <a:lnTo>
                    <a:pt x="73" y="74"/>
                  </a:lnTo>
                  <a:lnTo>
                    <a:pt x="66" y="83"/>
                  </a:lnTo>
                  <a:lnTo>
                    <a:pt x="57" y="91"/>
                  </a:lnTo>
                  <a:lnTo>
                    <a:pt x="50" y="101"/>
                  </a:lnTo>
                  <a:lnTo>
                    <a:pt x="43" y="111"/>
                  </a:lnTo>
                  <a:lnTo>
                    <a:pt x="37" y="122"/>
                  </a:lnTo>
                  <a:lnTo>
                    <a:pt x="30" y="131"/>
                  </a:lnTo>
                  <a:lnTo>
                    <a:pt x="25" y="142"/>
                  </a:lnTo>
                  <a:lnTo>
                    <a:pt x="19" y="154"/>
                  </a:lnTo>
                  <a:lnTo>
                    <a:pt x="15" y="165"/>
                  </a:lnTo>
                  <a:lnTo>
                    <a:pt x="12" y="177"/>
                  </a:lnTo>
                  <a:lnTo>
                    <a:pt x="7" y="189"/>
                  </a:lnTo>
                  <a:lnTo>
                    <a:pt x="5" y="202"/>
                  </a:lnTo>
                  <a:lnTo>
                    <a:pt x="3" y="213"/>
                  </a:lnTo>
                  <a:lnTo>
                    <a:pt x="1" y="226"/>
                  </a:lnTo>
                  <a:lnTo>
                    <a:pt x="0" y="239"/>
                  </a:lnTo>
                  <a:lnTo>
                    <a:pt x="0" y="252"/>
                  </a:lnTo>
                  <a:lnTo>
                    <a:pt x="0" y="265"/>
                  </a:lnTo>
                  <a:lnTo>
                    <a:pt x="1" y="277"/>
                  </a:lnTo>
                  <a:lnTo>
                    <a:pt x="3" y="290"/>
                  </a:lnTo>
                  <a:lnTo>
                    <a:pt x="5" y="303"/>
                  </a:lnTo>
                  <a:lnTo>
                    <a:pt x="7" y="315"/>
                  </a:lnTo>
                  <a:lnTo>
                    <a:pt x="12" y="327"/>
                  </a:lnTo>
                  <a:lnTo>
                    <a:pt x="15" y="339"/>
                  </a:lnTo>
                  <a:lnTo>
                    <a:pt x="19" y="350"/>
                  </a:lnTo>
                  <a:lnTo>
                    <a:pt x="25" y="361"/>
                  </a:lnTo>
                  <a:lnTo>
                    <a:pt x="30" y="372"/>
                  </a:lnTo>
                  <a:lnTo>
                    <a:pt x="37" y="383"/>
                  </a:lnTo>
                  <a:lnTo>
                    <a:pt x="43" y="393"/>
                  </a:lnTo>
                  <a:lnTo>
                    <a:pt x="50" y="402"/>
                  </a:lnTo>
                  <a:lnTo>
                    <a:pt x="57" y="412"/>
                  </a:lnTo>
                  <a:lnTo>
                    <a:pt x="66" y="421"/>
                  </a:lnTo>
                  <a:lnTo>
                    <a:pt x="73" y="431"/>
                  </a:lnTo>
                  <a:lnTo>
                    <a:pt x="83" y="438"/>
                  </a:lnTo>
                  <a:lnTo>
                    <a:pt x="92" y="447"/>
                  </a:lnTo>
                  <a:lnTo>
                    <a:pt x="101" y="454"/>
                  </a:lnTo>
                  <a:lnTo>
                    <a:pt x="111" y="461"/>
                  </a:lnTo>
                  <a:lnTo>
                    <a:pt x="121" y="467"/>
                  </a:lnTo>
                  <a:lnTo>
                    <a:pt x="132" y="474"/>
                  </a:lnTo>
                  <a:lnTo>
                    <a:pt x="142" y="479"/>
                  </a:lnTo>
                  <a:lnTo>
                    <a:pt x="154" y="485"/>
                  </a:lnTo>
                  <a:lnTo>
                    <a:pt x="165" y="489"/>
                  </a:lnTo>
                  <a:lnTo>
                    <a:pt x="177" y="492"/>
                  </a:lnTo>
                  <a:lnTo>
                    <a:pt x="189" y="496"/>
                  </a:lnTo>
                  <a:lnTo>
                    <a:pt x="201" y="499"/>
                  </a:lnTo>
                  <a:lnTo>
                    <a:pt x="214" y="501"/>
                  </a:lnTo>
                  <a:lnTo>
                    <a:pt x="227" y="503"/>
                  </a:lnTo>
                  <a:lnTo>
                    <a:pt x="239" y="504"/>
                  </a:lnTo>
                  <a:lnTo>
                    <a:pt x="252" y="504"/>
                  </a:lnTo>
                  <a:lnTo>
                    <a:pt x="265" y="504"/>
                  </a:lnTo>
                  <a:lnTo>
                    <a:pt x="277" y="503"/>
                  </a:lnTo>
                  <a:lnTo>
                    <a:pt x="290" y="501"/>
                  </a:lnTo>
                  <a:lnTo>
                    <a:pt x="302" y="499"/>
                  </a:lnTo>
                  <a:lnTo>
                    <a:pt x="315" y="496"/>
                  </a:lnTo>
                  <a:lnTo>
                    <a:pt x="327" y="492"/>
                  </a:lnTo>
                  <a:lnTo>
                    <a:pt x="339" y="489"/>
                  </a:lnTo>
                  <a:lnTo>
                    <a:pt x="350" y="485"/>
                  </a:lnTo>
                  <a:lnTo>
                    <a:pt x="362" y="479"/>
                  </a:lnTo>
                  <a:lnTo>
                    <a:pt x="373" y="474"/>
                  </a:lnTo>
                  <a:lnTo>
                    <a:pt x="382" y="467"/>
                  </a:lnTo>
                  <a:lnTo>
                    <a:pt x="393" y="461"/>
                  </a:lnTo>
                  <a:lnTo>
                    <a:pt x="403" y="454"/>
                  </a:lnTo>
                  <a:lnTo>
                    <a:pt x="412" y="447"/>
                  </a:lnTo>
                  <a:lnTo>
                    <a:pt x="421" y="438"/>
                  </a:lnTo>
                  <a:lnTo>
                    <a:pt x="430" y="431"/>
                  </a:lnTo>
                  <a:lnTo>
                    <a:pt x="438" y="421"/>
                  </a:lnTo>
                  <a:lnTo>
                    <a:pt x="446" y="412"/>
                  </a:lnTo>
                  <a:lnTo>
                    <a:pt x="454" y="402"/>
                  </a:lnTo>
                  <a:lnTo>
                    <a:pt x="461" y="393"/>
                  </a:lnTo>
                  <a:lnTo>
                    <a:pt x="468" y="383"/>
                  </a:lnTo>
                  <a:lnTo>
                    <a:pt x="474" y="372"/>
                  </a:lnTo>
                  <a:lnTo>
                    <a:pt x="479" y="361"/>
                  </a:lnTo>
                  <a:lnTo>
                    <a:pt x="484" y="350"/>
                  </a:lnTo>
                  <a:lnTo>
                    <a:pt x="489" y="339"/>
                  </a:lnTo>
                  <a:lnTo>
                    <a:pt x="492" y="327"/>
                  </a:lnTo>
                  <a:lnTo>
                    <a:pt x="496" y="315"/>
                  </a:lnTo>
                  <a:lnTo>
                    <a:pt x="499" y="303"/>
                  </a:lnTo>
                  <a:lnTo>
                    <a:pt x="501" y="290"/>
                  </a:lnTo>
                  <a:lnTo>
                    <a:pt x="503" y="277"/>
                  </a:lnTo>
                  <a:lnTo>
                    <a:pt x="503" y="265"/>
                  </a:lnTo>
                  <a:lnTo>
                    <a:pt x="504" y="252"/>
                  </a:lnTo>
                  <a:lnTo>
                    <a:pt x="503" y="239"/>
                  </a:lnTo>
                  <a:lnTo>
                    <a:pt x="503" y="226"/>
                  </a:lnTo>
                  <a:lnTo>
                    <a:pt x="501" y="213"/>
                  </a:lnTo>
                  <a:lnTo>
                    <a:pt x="499" y="202"/>
                  </a:lnTo>
                  <a:lnTo>
                    <a:pt x="496" y="189"/>
                  </a:lnTo>
                  <a:lnTo>
                    <a:pt x="492" y="177"/>
                  </a:lnTo>
                  <a:lnTo>
                    <a:pt x="489" y="165"/>
                  </a:lnTo>
                  <a:lnTo>
                    <a:pt x="484" y="154"/>
                  </a:lnTo>
                  <a:lnTo>
                    <a:pt x="479" y="142"/>
                  </a:lnTo>
                  <a:lnTo>
                    <a:pt x="474" y="131"/>
                  </a:lnTo>
                  <a:lnTo>
                    <a:pt x="468" y="122"/>
                  </a:lnTo>
                  <a:lnTo>
                    <a:pt x="461" y="111"/>
                  </a:lnTo>
                  <a:lnTo>
                    <a:pt x="454" y="101"/>
                  </a:lnTo>
                  <a:lnTo>
                    <a:pt x="446" y="91"/>
                  </a:lnTo>
                  <a:lnTo>
                    <a:pt x="438" y="83"/>
                  </a:lnTo>
                  <a:lnTo>
                    <a:pt x="430" y="74"/>
                  </a:lnTo>
                  <a:lnTo>
                    <a:pt x="421" y="66"/>
                  </a:lnTo>
                  <a:lnTo>
                    <a:pt x="412" y="58"/>
                  </a:lnTo>
                  <a:lnTo>
                    <a:pt x="403" y="50"/>
                  </a:lnTo>
                  <a:lnTo>
                    <a:pt x="393" y="43"/>
                  </a:lnTo>
                  <a:lnTo>
                    <a:pt x="382" y="36"/>
                  </a:lnTo>
                  <a:lnTo>
                    <a:pt x="373" y="30"/>
                  </a:lnTo>
                  <a:lnTo>
                    <a:pt x="362" y="24"/>
                  </a:lnTo>
                  <a:lnTo>
                    <a:pt x="350" y="20"/>
                  </a:lnTo>
                  <a:lnTo>
                    <a:pt x="339" y="15"/>
                  </a:lnTo>
                  <a:lnTo>
                    <a:pt x="327" y="12"/>
                  </a:lnTo>
                  <a:lnTo>
                    <a:pt x="315" y="8"/>
                  </a:lnTo>
                  <a:lnTo>
                    <a:pt x="302" y="5"/>
                  </a:lnTo>
                  <a:lnTo>
                    <a:pt x="290" y="3"/>
                  </a:lnTo>
                  <a:lnTo>
                    <a:pt x="277" y="1"/>
                  </a:lnTo>
                  <a:lnTo>
                    <a:pt x="265" y="1"/>
                  </a:lnTo>
                  <a:lnTo>
                    <a:pt x="25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solidFill>
                  <a:schemeClr val="tx1">
                    <a:lumMod val="95000"/>
                    <a:lumOff val="5000"/>
                  </a:schemeClr>
                </a:solidFill>
                <a:latin typeface="Raleway" panose="020B0503030101060003" pitchFamily="34" charset="0"/>
              </a:endParaRPr>
            </a:p>
          </p:txBody>
        </p:sp>
        <p:sp>
          <p:nvSpPr>
            <p:cNvPr id="29" name="Freeform 126"/>
            <p:cNvSpPr>
              <a:spLocks noEditPoints="1"/>
            </p:cNvSpPr>
            <p:nvPr/>
          </p:nvSpPr>
          <p:spPr bwMode="auto">
            <a:xfrm>
              <a:off x="4734718" y="2925365"/>
              <a:ext cx="114300" cy="114300"/>
            </a:xfrm>
            <a:custGeom>
              <a:avLst/>
              <a:gdLst>
                <a:gd name="T0" fmla="*/ 122 w 288"/>
                <a:gd name="T1" fmla="*/ 250 h 288"/>
                <a:gd name="T2" fmla="*/ 93 w 288"/>
                <a:gd name="T3" fmla="*/ 239 h 288"/>
                <a:gd name="T4" fmla="*/ 68 w 288"/>
                <a:gd name="T5" fmla="*/ 220 h 288"/>
                <a:gd name="T6" fmla="*/ 50 w 288"/>
                <a:gd name="T7" fmla="*/ 195 h 288"/>
                <a:gd name="T8" fmla="*/ 38 w 288"/>
                <a:gd name="T9" fmla="*/ 166 h 288"/>
                <a:gd name="T10" fmla="*/ 37 w 288"/>
                <a:gd name="T11" fmla="*/ 132 h 288"/>
                <a:gd name="T12" fmla="*/ 44 w 288"/>
                <a:gd name="T13" fmla="*/ 102 h 288"/>
                <a:gd name="T14" fmla="*/ 60 w 288"/>
                <a:gd name="T15" fmla="*/ 75 h 288"/>
                <a:gd name="T16" fmla="*/ 84 w 288"/>
                <a:gd name="T17" fmla="*/ 55 h 288"/>
                <a:gd name="T18" fmla="*/ 112 w 288"/>
                <a:gd name="T19" fmla="*/ 41 h 288"/>
                <a:gd name="T20" fmla="*/ 144 w 288"/>
                <a:gd name="T21" fmla="*/ 36 h 288"/>
                <a:gd name="T22" fmla="*/ 176 w 288"/>
                <a:gd name="T23" fmla="*/ 41 h 288"/>
                <a:gd name="T24" fmla="*/ 204 w 288"/>
                <a:gd name="T25" fmla="*/ 55 h 288"/>
                <a:gd name="T26" fmla="*/ 228 w 288"/>
                <a:gd name="T27" fmla="*/ 75 h 288"/>
                <a:gd name="T28" fmla="*/ 244 w 288"/>
                <a:gd name="T29" fmla="*/ 102 h 288"/>
                <a:gd name="T30" fmla="*/ 252 w 288"/>
                <a:gd name="T31" fmla="*/ 132 h 288"/>
                <a:gd name="T32" fmla="*/ 249 w 288"/>
                <a:gd name="T33" fmla="*/ 166 h 288"/>
                <a:gd name="T34" fmla="*/ 239 w 288"/>
                <a:gd name="T35" fmla="*/ 195 h 288"/>
                <a:gd name="T36" fmla="*/ 220 w 288"/>
                <a:gd name="T37" fmla="*/ 220 h 288"/>
                <a:gd name="T38" fmla="*/ 195 w 288"/>
                <a:gd name="T39" fmla="*/ 239 h 288"/>
                <a:gd name="T40" fmla="*/ 166 w 288"/>
                <a:gd name="T41" fmla="*/ 250 h 288"/>
                <a:gd name="T42" fmla="*/ 144 w 288"/>
                <a:gd name="T43" fmla="*/ 252 h 288"/>
                <a:gd name="T44" fmla="*/ 115 w 288"/>
                <a:gd name="T45" fmla="*/ 3 h 288"/>
                <a:gd name="T46" fmla="*/ 76 w 288"/>
                <a:gd name="T47" fmla="*/ 17 h 288"/>
                <a:gd name="T48" fmla="*/ 42 w 288"/>
                <a:gd name="T49" fmla="*/ 42 h 288"/>
                <a:gd name="T50" fmla="*/ 17 w 288"/>
                <a:gd name="T51" fmla="*/ 75 h 288"/>
                <a:gd name="T52" fmla="*/ 3 w 288"/>
                <a:gd name="T53" fmla="*/ 115 h 288"/>
                <a:gd name="T54" fmla="*/ 1 w 288"/>
                <a:gd name="T55" fmla="*/ 158 h 288"/>
                <a:gd name="T56" fmla="*/ 12 w 288"/>
                <a:gd name="T57" fmla="*/ 201 h 288"/>
                <a:gd name="T58" fmla="*/ 33 w 288"/>
                <a:gd name="T59" fmla="*/ 235 h 288"/>
                <a:gd name="T60" fmla="*/ 64 w 288"/>
                <a:gd name="T61" fmla="*/ 263 h 288"/>
                <a:gd name="T62" fmla="*/ 101 w 288"/>
                <a:gd name="T63" fmla="*/ 282 h 288"/>
                <a:gd name="T64" fmla="*/ 144 w 288"/>
                <a:gd name="T65" fmla="*/ 288 h 288"/>
                <a:gd name="T66" fmla="*/ 187 w 288"/>
                <a:gd name="T67" fmla="*/ 282 h 288"/>
                <a:gd name="T68" fmla="*/ 225 w 288"/>
                <a:gd name="T69" fmla="*/ 263 h 288"/>
                <a:gd name="T70" fmla="*/ 255 w 288"/>
                <a:gd name="T71" fmla="*/ 235 h 288"/>
                <a:gd name="T72" fmla="*/ 276 w 288"/>
                <a:gd name="T73" fmla="*/ 201 h 288"/>
                <a:gd name="T74" fmla="*/ 287 w 288"/>
                <a:gd name="T75" fmla="*/ 158 h 288"/>
                <a:gd name="T76" fmla="*/ 285 w 288"/>
                <a:gd name="T77" fmla="*/ 115 h 288"/>
                <a:gd name="T78" fmla="*/ 271 w 288"/>
                <a:gd name="T79" fmla="*/ 75 h 288"/>
                <a:gd name="T80" fmla="*/ 246 w 288"/>
                <a:gd name="T81" fmla="*/ 42 h 288"/>
                <a:gd name="T82" fmla="*/ 213 w 288"/>
                <a:gd name="T83" fmla="*/ 17 h 288"/>
                <a:gd name="T84" fmla="*/ 173 w 288"/>
                <a:gd name="T85" fmla="*/ 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8" h="288">
                  <a:moveTo>
                    <a:pt x="144" y="252"/>
                  </a:moveTo>
                  <a:lnTo>
                    <a:pt x="133" y="251"/>
                  </a:lnTo>
                  <a:lnTo>
                    <a:pt x="122" y="250"/>
                  </a:lnTo>
                  <a:lnTo>
                    <a:pt x="112" y="247"/>
                  </a:lnTo>
                  <a:lnTo>
                    <a:pt x="103" y="244"/>
                  </a:lnTo>
                  <a:lnTo>
                    <a:pt x="93" y="239"/>
                  </a:lnTo>
                  <a:lnTo>
                    <a:pt x="84" y="234"/>
                  </a:lnTo>
                  <a:lnTo>
                    <a:pt x="76" y="228"/>
                  </a:lnTo>
                  <a:lnTo>
                    <a:pt x="68" y="220"/>
                  </a:lnTo>
                  <a:lnTo>
                    <a:pt x="60" y="212"/>
                  </a:lnTo>
                  <a:lnTo>
                    <a:pt x="55" y="205"/>
                  </a:lnTo>
                  <a:lnTo>
                    <a:pt x="50" y="195"/>
                  </a:lnTo>
                  <a:lnTo>
                    <a:pt x="44" y="186"/>
                  </a:lnTo>
                  <a:lnTo>
                    <a:pt x="41" y="176"/>
                  </a:lnTo>
                  <a:lnTo>
                    <a:pt x="38" y="166"/>
                  </a:lnTo>
                  <a:lnTo>
                    <a:pt x="37" y="155"/>
                  </a:lnTo>
                  <a:lnTo>
                    <a:pt x="36" y="144"/>
                  </a:lnTo>
                  <a:lnTo>
                    <a:pt x="37" y="132"/>
                  </a:lnTo>
                  <a:lnTo>
                    <a:pt x="38" y="122"/>
                  </a:lnTo>
                  <a:lnTo>
                    <a:pt x="41" y="112"/>
                  </a:lnTo>
                  <a:lnTo>
                    <a:pt x="44" y="102"/>
                  </a:lnTo>
                  <a:lnTo>
                    <a:pt x="50" y="93"/>
                  </a:lnTo>
                  <a:lnTo>
                    <a:pt x="55" y="84"/>
                  </a:lnTo>
                  <a:lnTo>
                    <a:pt x="60" y="75"/>
                  </a:lnTo>
                  <a:lnTo>
                    <a:pt x="68" y="68"/>
                  </a:lnTo>
                  <a:lnTo>
                    <a:pt x="76" y="60"/>
                  </a:lnTo>
                  <a:lnTo>
                    <a:pt x="84" y="55"/>
                  </a:lnTo>
                  <a:lnTo>
                    <a:pt x="93" y="49"/>
                  </a:lnTo>
                  <a:lnTo>
                    <a:pt x="103" y="44"/>
                  </a:lnTo>
                  <a:lnTo>
                    <a:pt x="112" y="41"/>
                  </a:lnTo>
                  <a:lnTo>
                    <a:pt x="122" y="39"/>
                  </a:lnTo>
                  <a:lnTo>
                    <a:pt x="133" y="36"/>
                  </a:lnTo>
                  <a:lnTo>
                    <a:pt x="144" y="36"/>
                  </a:lnTo>
                  <a:lnTo>
                    <a:pt x="155" y="36"/>
                  </a:lnTo>
                  <a:lnTo>
                    <a:pt x="166" y="39"/>
                  </a:lnTo>
                  <a:lnTo>
                    <a:pt x="176" y="41"/>
                  </a:lnTo>
                  <a:lnTo>
                    <a:pt x="186" y="44"/>
                  </a:lnTo>
                  <a:lnTo>
                    <a:pt x="195" y="49"/>
                  </a:lnTo>
                  <a:lnTo>
                    <a:pt x="204" y="55"/>
                  </a:lnTo>
                  <a:lnTo>
                    <a:pt x="213" y="60"/>
                  </a:lnTo>
                  <a:lnTo>
                    <a:pt x="220" y="68"/>
                  </a:lnTo>
                  <a:lnTo>
                    <a:pt x="228" y="75"/>
                  </a:lnTo>
                  <a:lnTo>
                    <a:pt x="233" y="84"/>
                  </a:lnTo>
                  <a:lnTo>
                    <a:pt x="239" y="93"/>
                  </a:lnTo>
                  <a:lnTo>
                    <a:pt x="244" y="102"/>
                  </a:lnTo>
                  <a:lnTo>
                    <a:pt x="247" y="112"/>
                  </a:lnTo>
                  <a:lnTo>
                    <a:pt x="249" y="122"/>
                  </a:lnTo>
                  <a:lnTo>
                    <a:pt x="252" y="132"/>
                  </a:lnTo>
                  <a:lnTo>
                    <a:pt x="252" y="144"/>
                  </a:lnTo>
                  <a:lnTo>
                    <a:pt x="252" y="155"/>
                  </a:lnTo>
                  <a:lnTo>
                    <a:pt x="249" y="166"/>
                  </a:lnTo>
                  <a:lnTo>
                    <a:pt x="247" y="176"/>
                  </a:lnTo>
                  <a:lnTo>
                    <a:pt x="244" y="186"/>
                  </a:lnTo>
                  <a:lnTo>
                    <a:pt x="239" y="195"/>
                  </a:lnTo>
                  <a:lnTo>
                    <a:pt x="233" y="205"/>
                  </a:lnTo>
                  <a:lnTo>
                    <a:pt x="228" y="212"/>
                  </a:lnTo>
                  <a:lnTo>
                    <a:pt x="220" y="220"/>
                  </a:lnTo>
                  <a:lnTo>
                    <a:pt x="213" y="228"/>
                  </a:lnTo>
                  <a:lnTo>
                    <a:pt x="204" y="234"/>
                  </a:lnTo>
                  <a:lnTo>
                    <a:pt x="195" y="239"/>
                  </a:lnTo>
                  <a:lnTo>
                    <a:pt x="186" y="244"/>
                  </a:lnTo>
                  <a:lnTo>
                    <a:pt x="176" y="247"/>
                  </a:lnTo>
                  <a:lnTo>
                    <a:pt x="166" y="250"/>
                  </a:lnTo>
                  <a:lnTo>
                    <a:pt x="155" y="251"/>
                  </a:lnTo>
                  <a:lnTo>
                    <a:pt x="144" y="252"/>
                  </a:lnTo>
                  <a:lnTo>
                    <a:pt x="144" y="252"/>
                  </a:lnTo>
                  <a:close/>
                  <a:moveTo>
                    <a:pt x="144" y="0"/>
                  </a:moveTo>
                  <a:lnTo>
                    <a:pt x="130" y="1"/>
                  </a:lnTo>
                  <a:lnTo>
                    <a:pt x="115" y="3"/>
                  </a:lnTo>
                  <a:lnTo>
                    <a:pt x="101" y="6"/>
                  </a:lnTo>
                  <a:lnTo>
                    <a:pt x="88" y="12"/>
                  </a:lnTo>
                  <a:lnTo>
                    <a:pt x="76" y="17"/>
                  </a:lnTo>
                  <a:lnTo>
                    <a:pt x="64" y="24"/>
                  </a:lnTo>
                  <a:lnTo>
                    <a:pt x="53" y="33"/>
                  </a:lnTo>
                  <a:lnTo>
                    <a:pt x="42" y="42"/>
                  </a:lnTo>
                  <a:lnTo>
                    <a:pt x="33" y="53"/>
                  </a:lnTo>
                  <a:lnTo>
                    <a:pt x="25" y="63"/>
                  </a:lnTo>
                  <a:lnTo>
                    <a:pt x="17" y="75"/>
                  </a:lnTo>
                  <a:lnTo>
                    <a:pt x="12" y="88"/>
                  </a:lnTo>
                  <a:lnTo>
                    <a:pt x="6" y="101"/>
                  </a:lnTo>
                  <a:lnTo>
                    <a:pt x="3" y="115"/>
                  </a:lnTo>
                  <a:lnTo>
                    <a:pt x="1" y="129"/>
                  </a:lnTo>
                  <a:lnTo>
                    <a:pt x="0" y="144"/>
                  </a:lnTo>
                  <a:lnTo>
                    <a:pt x="1" y="158"/>
                  </a:lnTo>
                  <a:lnTo>
                    <a:pt x="3" y="174"/>
                  </a:lnTo>
                  <a:lnTo>
                    <a:pt x="6" y="186"/>
                  </a:lnTo>
                  <a:lnTo>
                    <a:pt x="12" y="201"/>
                  </a:lnTo>
                  <a:lnTo>
                    <a:pt x="17" y="212"/>
                  </a:lnTo>
                  <a:lnTo>
                    <a:pt x="25" y="224"/>
                  </a:lnTo>
                  <a:lnTo>
                    <a:pt x="33" y="235"/>
                  </a:lnTo>
                  <a:lnTo>
                    <a:pt x="42" y="246"/>
                  </a:lnTo>
                  <a:lnTo>
                    <a:pt x="53" y="256"/>
                  </a:lnTo>
                  <a:lnTo>
                    <a:pt x="64" y="263"/>
                  </a:lnTo>
                  <a:lnTo>
                    <a:pt x="76" y="271"/>
                  </a:lnTo>
                  <a:lnTo>
                    <a:pt x="88" y="276"/>
                  </a:lnTo>
                  <a:lnTo>
                    <a:pt x="101" y="282"/>
                  </a:lnTo>
                  <a:lnTo>
                    <a:pt x="115" y="285"/>
                  </a:lnTo>
                  <a:lnTo>
                    <a:pt x="130" y="287"/>
                  </a:lnTo>
                  <a:lnTo>
                    <a:pt x="144" y="288"/>
                  </a:lnTo>
                  <a:lnTo>
                    <a:pt x="159" y="287"/>
                  </a:lnTo>
                  <a:lnTo>
                    <a:pt x="173" y="285"/>
                  </a:lnTo>
                  <a:lnTo>
                    <a:pt x="187" y="282"/>
                  </a:lnTo>
                  <a:lnTo>
                    <a:pt x="200" y="276"/>
                  </a:lnTo>
                  <a:lnTo>
                    <a:pt x="213" y="271"/>
                  </a:lnTo>
                  <a:lnTo>
                    <a:pt x="225" y="263"/>
                  </a:lnTo>
                  <a:lnTo>
                    <a:pt x="235" y="256"/>
                  </a:lnTo>
                  <a:lnTo>
                    <a:pt x="246" y="246"/>
                  </a:lnTo>
                  <a:lnTo>
                    <a:pt x="255" y="235"/>
                  </a:lnTo>
                  <a:lnTo>
                    <a:pt x="263" y="224"/>
                  </a:lnTo>
                  <a:lnTo>
                    <a:pt x="271" y="212"/>
                  </a:lnTo>
                  <a:lnTo>
                    <a:pt x="276" y="201"/>
                  </a:lnTo>
                  <a:lnTo>
                    <a:pt x="282" y="186"/>
                  </a:lnTo>
                  <a:lnTo>
                    <a:pt x="285" y="174"/>
                  </a:lnTo>
                  <a:lnTo>
                    <a:pt x="287" y="158"/>
                  </a:lnTo>
                  <a:lnTo>
                    <a:pt x="288" y="144"/>
                  </a:lnTo>
                  <a:lnTo>
                    <a:pt x="287" y="129"/>
                  </a:lnTo>
                  <a:lnTo>
                    <a:pt x="285" y="115"/>
                  </a:lnTo>
                  <a:lnTo>
                    <a:pt x="282" y="101"/>
                  </a:lnTo>
                  <a:lnTo>
                    <a:pt x="276" y="88"/>
                  </a:lnTo>
                  <a:lnTo>
                    <a:pt x="271" y="75"/>
                  </a:lnTo>
                  <a:lnTo>
                    <a:pt x="263" y="63"/>
                  </a:lnTo>
                  <a:lnTo>
                    <a:pt x="255" y="53"/>
                  </a:lnTo>
                  <a:lnTo>
                    <a:pt x="246" y="42"/>
                  </a:lnTo>
                  <a:lnTo>
                    <a:pt x="235" y="33"/>
                  </a:lnTo>
                  <a:lnTo>
                    <a:pt x="225" y="24"/>
                  </a:lnTo>
                  <a:lnTo>
                    <a:pt x="213" y="17"/>
                  </a:lnTo>
                  <a:lnTo>
                    <a:pt x="200" y="12"/>
                  </a:lnTo>
                  <a:lnTo>
                    <a:pt x="187" y="6"/>
                  </a:lnTo>
                  <a:lnTo>
                    <a:pt x="173" y="3"/>
                  </a:lnTo>
                  <a:lnTo>
                    <a:pt x="159" y="1"/>
                  </a:lnTo>
                  <a:lnTo>
                    <a:pt x="14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solidFill>
                  <a:schemeClr val="tx1">
                    <a:lumMod val="95000"/>
                    <a:lumOff val="5000"/>
                  </a:schemeClr>
                </a:solidFill>
                <a:latin typeface="Raleway" panose="020B0503030101060003" pitchFamily="34" charset="0"/>
              </a:endParaRPr>
            </a:p>
          </p:txBody>
        </p:sp>
      </p:grpSp>
      <p:grpSp>
        <p:nvGrpSpPr>
          <p:cNvPr id="30" name="Group 29"/>
          <p:cNvGrpSpPr/>
          <p:nvPr/>
        </p:nvGrpSpPr>
        <p:grpSpPr>
          <a:xfrm>
            <a:off x="5867618" y="2096020"/>
            <a:ext cx="2492607" cy="102146"/>
            <a:chOff x="2951835" y="2230117"/>
            <a:chExt cx="2334966" cy="74428"/>
          </a:xfrm>
        </p:grpSpPr>
        <p:sp>
          <p:nvSpPr>
            <p:cNvPr id="31" name="Rectangle 30"/>
            <p:cNvSpPr/>
            <p:nvPr/>
          </p:nvSpPr>
          <p:spPr>
            <a:xfrm>
              <a:off x="2951835" y="2230117"/>
              <a:ext cx="2334966" cy="7442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solidFill>
                  <a:schemeClr val="tx1"/>
                </a:solidFill>
                <a:latin typeface="+mj-lt"/>
                <a:ea typeface="Open Sans" panose="020B0606030504020204" pitchFamily="34" charset="0"/>
                <a:cs typeface="Open Sans" panose="020B0606030504020204" pitchFamily="34" charset="0"/>
              </a:endParaRPr>
            </a:p>
          </p:txBody>
        </p:sp>
        <p:sp>
          <p:nvSpPr>
            <p:cNvPr id="32" name="Rectangle 31"/>
            <p:cNvSpPr/>
            <p:nvPr/>
          </p:nvSpPr>
          <p:spPr>
            <a:xfrm>
              <a:off x="2953490" y="2230117"/>
              <a:ext cx="1502199" cy="74428"/>
            </a:xfrm>
            <a:prstGeom prst="rect">
              <a:avLst/>
            </a:prstGeom>
            <a:solidFill>
              <a:srgbClr val="34502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solidFill>
                  <a:schemeClr val="tx1"/>
                </a:solidFill>
                <a:latin typeface="+mj-lt"/>
                <a:ea typeface="Open Sans" panose="020B0606030504020204" pitchFamily="34" charset="0"/>
                <a:cs typeface="Open Sans" panose="020B0606030504020204" pitchFamily="34" charset="0"/>
              </a:endParaRPr>
            </a:p>
          </p:txBody>
        </p:sp>
      </p:grpSp>
      <p:grpSp>
        <p:nvGrpSpPr>
          <p:cNvPr id="33" name="Group 32"/>
          <p:cNvGrpSpPr/>
          <p:nvPr/>
        </p:nvGrpSpPr>
        <p:grpSpPr>
          <a:xfrm>
            <a:off x="5867618" y="2496463"/>
            <a:ext cx="2492607" cy="102146"/>
            <a:chOff x="2951835" y="2230117"/>
            <a:chExt cx="2334966" cy="74428"/>
          </a:xfrm>
        </p:grpSpPr>
        <p:sp>
          <p:nvSpPr>
            <p:cNvPr id="34" name="Rectangle 33"/>
            <p:cNvSpPr/>
            <p:nvPr/>
          </p:nvSpPr>
          <p:spPr>
            <a:xfrm>
              <a:off x="2951835" y="2230117"/>
              <a:ext cx="2334966" cy="7442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solidFill>
                  <a:schemeClr val="tx1"/>
                </a:solidFill>
                <a:latin typeface="+mj-lt"/>
                <a:ea typeface="Open Sans" panose="020B0606030504020204" pitchFamily="34" charset="0"/>
                <a:cs typeface="Open Sans" panose="020B0606030504020204" pitchFamily="34" charset="0"/>
              </a:endParaRPr>
            </a:p>
          </p:txBody>
        </p:sp>
        <p:sp>
          <p:nvSpPr>
            <p:cNvPr id="35" name="Rectangle 34"/>
            <p:cNvSpPr/>
            <p:nvPr/>
          </p:nvSpPr>
          <p:spPr>
            <a:xfrm>
              <a:off x="2953490" y="2230117"/>
              <a:ext cx="932842" cy="74428"/>
            </a:xfrm>
            <a:prstGeom prst="rect">
              <a:avLst/>
            </a:prstGeom>
            <a:solidFill>
              <a:srgbClr val="34502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solidFill>
                  <a:schemeClr val="tx1"/>
                </a:solidFill>
                <a:latin typeface="+mj-lt"/>
                <a:ea typeface="Open Sans" panose="020B0606030504020204" pitchFamily="34" charset="0"/>
                <a:cs typeface="Open Sans" panose="020B0606030504020204" pitchFamily="34" charset="0"/>
              </a:endParaRPr>
            </a:p>
          </p:txBody>
        </p:sp>
      </p:grpSp>
      <p:grpSp>
        <p:nvGrpSpPr>
          <p:cNvPr id="36" name="Group 35"/>
          <p:cNvGrpSpPr/>
          <p:nvPr/>
        </p:nvGrpSpPr>
        <p:grpSpPr>
          <a:xfrm>
            <a:off x="5867618" y="2896904"/>
            <a:ext cx="2492607" cy="102146"/>
            <a:chOff x="2951835" y="2230117"/>
            <a:chExt cx="2334966" cy="74428"/>
          </a:xfrm>
        </p:grpSpPr>
        <p:sp>
          <p:nvSpPr>
            <p:cNvPr id="37" name="Rectangle 36"/>
            <p:cNvSpPr/>
            <p:nvPr/>
          </p:nvSpPr>
          <p:spPr>
            <a:xfrm>
              <a:off x="2951835" y="2230117"/>
              <a:ext cx="2334966" cy="7442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solidFill>
                  <a:schemeClr val="tx1"/>
                </a:solidFill>
                <a:latin typeface="+mj-lt"/>
                <a:ea typeface="Open Sans" panose="020B0606030504020204" pitchFamily="34" charset="0"/>
                <a:cs typeface="Open Sans" panose="020B0606030504020204" pitchFamily="34" charset="0"/>
              </a:endParaRPr>
            </a:p>
          </p:txBody>
        </p:sp>
        <p:sp>
          <p:nvSpPr>
            <p:cNvPr id="38" name="Rectangle 37"/>
            <p:cNvSpPr/>
            <p:nvPr/>
          </p:nvSpPr>
          <p:spPr>
            <a:xfrm>
              <a:off x="2953489" y="2230117"/>
              <a:ext cx="2101213" cy="74428"/>
            </a:xfrm>
            <a:prstGeom prst="rect">
              <a:avLst/>
            </a:prstGeom>
            <a:solidFill>
              <a:srgbClr val="34502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solidFill>
                  <a:schemeClr val="tx1"/>
                </a:solidFill>
                <a:latin typeface="+mj-lt"/>
                <a:ea typeface="Open Sans" panose="020B0606030504020204" pitchFamily="34" charset="0"/>
                <a:cs typeface="Open Sans" panose="020B0606030504020204" pitchFamily="34" charset="0"/>
              </a:endParaRPr>
            </a:p>
          </p:txBody>
        </p:sp>
      </p:grpSp>
      <p:sp>
        <p:nvSpPr>
          <p:cNvPr id="39" name="Title 1"/>
          <p:cNvSpPr txBox="1"/>
          <p:nvPr/>
        </p:nvSpPr>
        <p:spPr>
          <a:xfrm>
            <a:off x="678676" y="483253"/>
            <a:ext cx="3264674" cy="48474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2700" b="1" spc="-113" dirty="0">
                <a:solidFill>
                  <a:schemeClr val="bg1"/>
                </a:solidFill>
                <a:latin typeface="Lato" panose="020F0502020204030203" pitchFamily="34" charset="0"/>
                <a:ea typeface="Open Sans" panose="020B0606030504020204" pitchFamily="34" charset="0"/>
                <a:cs typeface="Lato" panose="020F0502020204030203" pitchFamily="34" charset="0"/>
              </a:rPr>
              <a:t>Our </a:t>
            </a:r>
            <a:r>
              <a:rPr lang="en-US" sz="2700" spc="-113" dirty="0">
                <a:solidFill>
                  <a:schemeClr val="bg1"/>
                </a:solidFill>
                <a:latin typeface="Lato" panose="020F0502020204030203" pitchFamily="34" charset="0"/>
                <a:ea typeface="Open Sans" panose="020B0606030504020204" pitchFamily="34" charset="0"/>
                <a:cs typeface="Lato" panose="020F0502020204030203" pitchFamily="34" charset="0"/>
              </a:rPr>
              <a:t>Portfolio</a:t>
            </a:r>
            <a:endParaRPr lang="en-US" sz="2700" spc="-113"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40" name="Rectangle 39"/>
          <p:cNvSpPr/>
          <p:nvPr/>
        </p:nvSpPr>
        <p:spPr>
          <a:xfrm>
            <a:off x="719019" y="968001"/>
            <a:ext cx="1617008" cy="219291"/>
          </a:xfrm>
          <a:prstGeom prst="rect">
            <a:avLst/>
          </a:prstGeom>
        </p:spPr>
        <p:txBody>
          <a:bodyPr wrap="square">
            <a:spAutoFit/>
          </a:bodyPr>
          <a:lstStyle/>
          <a:p>
            <a:pPr>
              <a:buClr>
                <a:srgbClr val="E24848"/>
              </a:buClr>
              <a:defRPr/>
            </a:pPr>
            <a:r>
              <a:rPr lang="en-US" sz="825" noProof="1">
                <a:solidFill>
                  <a:schemeClr val="bg1"/>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bg1"/>
              </a:solidFill>
              <a:latin typeface="+mj-lt"/>
              <a:ea typeface="Open Sans Light" panose="020B0306030504020204" pitchFamily="34" charset="0"/>
              <a:cs typeface="Open Sans Light" panose="020B0306030504020204" pitchFamily="34" charset="0"/>
            </a:endParaRPr>
          </a:p>
        </p:txBody>
      </p:sp>
      <p:pic>
        <p:nvPicPr>
          <p:cNvPr id="21" name="图片占位符 20"/>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l="21349" r="21349"/>
          <a:stretch>
            <a:fillRect/>
          </a:stretch>
        </p:blipFill>
        <p:spPr/>
      </p:pic>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278279" y="7566"/>
            <a:ext cx="3885248" cy="5141701"/>
          </a:xfrm>
          <a:prstGeom prst="rect">
            <a:avLst/>
          </a:prstGeom>
        </p:spPr>
      </p:pic>
      <p:sp>
        <p:nvSpPr>
          <p:cNvPr id="5" name="矩形 4"/>
          <p:cNvSpPr/>
          <p:nvPr/>
        </p:nvSpPr>
        <p:spPr>
          <a:xfrm>
            <a:off x="476" y="1245870"/>
            <a:ext cx="5964555" cy="247935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 name="文本框 5"/>
          <p:cNvSpPr txBox="1"/>
          <p:nvPr/>
        </p:nvSpPr>
        <p:spPr>
          <a:xfrm>
            <a:off x="-22860" y="1660525"/>
            <a:ext cx="6246495" cy="922020"/>
          </a:xfrm>
          <a:prstGeom prst="rect">
            <a:avLst/>
          </a:prstGeom>
          <a:noFill/>
        </p:spPr>
        <p:txBody>
          <a:bodyPr wrap="square" rtlCol="0">
            <a:spAutoFit/>
          </a:bodyPr>
          <a:lstStyle/>
          <a:p>
            <a:pPr algn="dist"/>
            <a:r>
              <a:rPr lang="en-US" altLang="zh-CN" sz="5400" dirty="0">
                <a:solidFill>
                  <a:schemeClr val="bg1"/>
                </a:solidFill>
                <a:latin typeface="LeviBrush" panose="00000400000000000000" charset="0"/>
                <a:ea typeface="方正清刻本悦宋简体" panose="02000000000000000000" charset="-122"/>
                <a:cs typeface="LeviBrush" panose="00000400000000000000" charset="0"/>
                <a:sym typeface="+mn-ea"/>
              </a:rPr>
              <a:t>PART </a:t>
            </a:r>
            <a:r>
              <a:rPr lang="en-US" altLang="zh-CN" sz="5400" dirty="0" smtClean="0">
                <a:solidFill>
                  <a:schemeClr val="bg1"/>
                </a:solidFill>
                <a:latin typeface="LeviBrush" panose="00000400000000000000" charset="0"/>
                <a:ea typeface="方正清刻本悦宋简体" panose="02000000000000000000" charset="-122"/>
                <a:cs typeface="LeviBrush" panose="00000400000000000000" charset="0"/>
                <a:sym typeface="+mn-ea"/>
              </a:rPr>
              <a:t>THREE</a:t>
            </a:r>
            <a:endParaRPr lang="en-US" altLang="zh-CN" sz="5400" dirty="0">
              <a:solidFill>
                <a:schemeClr val="bg1"/>
              </a:solidFill>
              <a:latin typeface="LeviBrush" panose="00000400000000000000" charset="0"/>
              <a:ea typeface="方正清刻本悦宋简体" panose="02000000000000000000" charset="-122"/>
              <a:cs typeface="LeviBrush" panose="00000400000000000000" charset="0"/>
              <a:sym typeface="+mn-ea"/>
            </a:endParaRPr>
          </a:p>
        </p:txBody>
      </p:sp>
      <p:sp>
        <p:nvSpPr>
          <p:cNvPr id="7" name="文本框 6"/>
          <p:cNvSpPr txBox="1"/>
          <p:nvPr/>
        </p:nvSpPr>
        <p:spPr>
          <a:xfrm>
            <a:off x="369094" y="2945130"/>
            <a:ext cx="5183029"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00000"/>
              </a:lnSpc>
            </a:pP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endParaRPr lang="en-US" altLang="zh-CN" sz="600" kern="0" dirty="0">
              <a:solidFill>
                <a:schemeClr val="bg1"/>
              </a:solidFill>
              <a:ea typeface="微软雅黑" panose="020B0503020204020204" charset="-122"/>
              <a:sym typeface="Arial" panose="020B0604020202020204" pitchFamily="34" charset="0"/>
            </a:endParaRPr>
          </a:p>
        </p:txBody>
      </p:sp>
      <p:sp>
        <p:nvSpPr>
          <p:cNvPr id="8" name="文本框 7"/>
          <p:cNvSpPr txBox="1"/>
          <p:nvPr/>
        </p:nvSpPr>
        <p:spPr>
          <a:xfrm>
            <a:off x="417196" y="2461261"/>
            <a:ext cx="3566636" cy="507831"/>
          </a:xfrm>
          <a:prstGeom prst="rect">
            <a:avLst/>
          </a:prstGeom>
          <a:noFill/>
        </p:spPr>
        <p:txBody>
          <a:bodyPr wrap="square" rtlCol="0">
            <a:spAutoFit/>
          </a:bodyPr>
          <a:lstStyle/>
          <a:p>
            <a:pPr algn="l"/>
            <a:r>
              <a:rPr lang="en-US" altLang="zh-CN" sz="2700" dirty="0">
                <a:solidFill>
                  <a:schemeClr val="bg1"/>
                </a:solidFill>
                <a:ea typeface="方正清刻本悦宋简体" panose="02000000000000000000" charset="-122"/>
                <a:cs typeface="+mn-lt"/>
                <a:sym typeface="+mn-ea"/>
              </a:rPr>
              <a:t>ADD YOUR TEXT HERE</a:t>
            </a:r>
            <a:endParaRPr lang="en-US" altLang="zh-CN" sz="2700" dirty="0">
              <a:solidFill>
                <a:schemeClr val="bg1"/>
              </a:solidFill>
              <a:ea typeface="方正清刻本悦宋简体" panose="02000000000000000000" charset="-122"/>
              <a:cs typeface="+mn-lt"/>
              <a:sym typeface="+mn-ea"/>
            </a:endParaRPr>
          </a:p>
        </p:txBody>
      </p:sp>
      <p:grpSp>
        <p:nvGrpSpPr>
          <p:cNvPr id="9" name="组合 8"/>
          <p:cNvGrpSpPr/>
          <p:nvPr/>
        </p:nvGrpSpPr>
        <p:grpSpPr>
          <a:xfrm>
            <a:off x="5714048" y="1710214"/>
            <a:ext cx="509111" cy="145733"/>
            <a:chOff x="7833" y="2869"/>
            <a:chExt cx="1614" cy="426"/>
          </a:xfrm>
        </p:grpSpPr>
        <p:sp>
          <p:nvSpPr>
            <p:cNvPr id="10" name="任意多边形 9"/>
            <p:cNvSpPr/>
            <p:nvPr/>
          </p:nvSpPr>
          <p:spPr>
            <a:xfrm>
              <a:off x="7833" y="2869"/>
              <a:ext cx="1615" cy="142"/>
            </a:xfrm>
            <a:custGeom>
              <a:avLst/>
              <a:gdLst>
                <a:gd name="connisteX0" fmla="*/ 0 w 1025320"/>
                <a:gd name="connsiteY0" fmla="*/ 51640 h 90133"/>
                <a:gd name="connisteX1" fmla="*/ 95250 w 1025320"/>
                <a:gd name="connsiteY1" fmla="*/ 840 h 90133"/>
                <a:gd name="connisteX2" fmla="*/ 209550 w 1025320"/>
                <a:gd name="connsiteY2" fmla="*/ 89740 h 90133"/>
                <a:gd name="connisteX3" fmla="*/ 425450 w 1025320"/>
                <a:gd name="connsiteY3" fmla="*/ 840 h 90133"/>
                <a:gd name="connisteX4" fmla="*/ 565150 w 1025320"/>
                <a:gd name="connsiteY4" fmla="*/ 77040 h 90133"/>
                <a:gd name="connisteX5" fmla="*/ 781050 w 1025320"/>
                <a:gd name="connsiteY5" fmla="*/ 13540 h 90133"/>
                <a:gd name="connisteX6" fmla="*/ 914400 w 1025320"/>
                <a:gd name="connsiteY6" fmla="*/ 89740 h 90133"/>
                <a:gd name="connisteX7" fmla="*/ 1016000 w 1025320"/>
                <a:gd name="connsiteY7" fmla="*/ 38940 h 90133"/>
                <a:gd name="connisteX8" fmla="*/ 1016000 w 1025320"/>
                <a:gd name="connsiteY8" fmla="*/ 38940 h 90133"/>
                <a:gd name="connisteX9" fmla="*/ 1009650 w 1025320"/>
                <a:gd name="connsiteY9" fmla="*/ 38940 h 901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025320" h="90133">
                  <a:moveTo>
                    <a:pt x="0" y="51641"/>
                  </a:moveTo>
                  <a:cubicBezTo>
                    <a:pt x="16510" y="39576"/>
                    <a:pt x="53340" y="-6779"/>
                    <a:pt x="95250" y="841"/>
                  </a:cubicBezTo>
                  <a:cubicBezTo>
                    <a:pt x="137160" y="8461"/>
                    <a:pt x="143510" y="89741"/>
                    <a:pt x="209550" y="89741"/>
                  </a:cubicBezTo>
                  <a:cubicBezTo>
                    <a:pt x="275590" y="89741"/>
                    <a:pt x="354330" y="3381"/>
                    <a:pt x="425450" y="841"/>
                  </a:cubicBezTo>
                  <a:cubicBezTo>
                    <a:pt x="496570" y="-1699"/>
                    <a:pt x="494030" y="74501"/>
                    <a:pt x="565150" y="77041"/>
                  </a:cubicBezTo>
                  <a:cubicBezTo>
                    <a:pt x="636270" y="79581"/>
                    <a:pt x="711200" y="11001"/>
                    <a:pt x="781050" y="13541"/>
                  </a:cubicBezTo>
                  <a:cubicBezTo>
                    <a:pt x="850900" y="16081"/>
                    <a:pt x="867410" y="84661"/>
                    <a:pt x="914400" y="89741"/>
                  </a:cubicBezTo>
                  <a:cubicBezTo>
                    <a:pt x="961390" y="94821"/>
                    <a:pt x="995680" y="49101"/>
                    <a:pt x="1016000" y="38941"/>
                  </a:cubicBezTo>
                  <a:cubicBezTo>
                    <a:pt x="1036320" y="28781"/>
                    <a:pt x="1017270" y="38941"/>
                    <a:pt x="1016000" y="38941"/>
                  </a:cubicBezTo>
                  <a:cubicBezTo>
                    <a:pt x="1014730" y="38941"/>
                    <a:pt x="1010920" y="38941"/>
                    <a:pt x="1009650" y="38941"/>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任意多边形 10"/>
            <p:cNvSpPr/>
            <p:nvPr/>
          </p:nvSpPr>
          <p:spPr>
            <a:xfrm>
              <a:off x="7833" y="3011"/>
              <a:ext cx="1615" cy="142"/>
            </a:xfrm>
            <a:custGeom>
              <a:avLst/>
              <a:gdLst>
                <a:gd name="connisteX0" fmla="*/ 0 w 1025320"/>
                <a:gd name="connsiteY0" fmla="*/ 51640 h 90133"/>
                <a:gd name="connisteX1" fmla="*/ 95250 w 1025320"/>
                <a:gd name="connsiteY1" fmla="*/ 840 h 90133"/>
                <a:gd name="connisteX2" fmla="*/ 209550 w 1025320"/>
                <a:gd name="connsiteY2" fmla="*/ 89740 h 90133"/>
                <a:gd name="connisteX3" fmla="*/ 425450 w 1025320"/>
                <a:gd name="connsiteY3" fmla="*/ 840 h 90133"/>
                <a:gd name="connisteX4" fmla="*/ 565150 w 1025320"/>
                <a:gd name="connsiteY4" fmla="*/ 77040 h 90133"/>
                <a:gd name="connisteX5" fmla="*/ 781050 w 1025320"/>
                <a:gd name="connsiteY5" fmla="*/ 13540 h 90133"/>
                <a:gd name="connisteX6" fmla="*/ 914400 w 1025320"/>
                <a:gd name="connsiteY6" fmla="*/ 89740 h 90133"/>
                <a:gd name="connisteX7" fmla="*/ 1016000 w 1025320"/>
                <a:gd name="connsiteY7" fmla="*/ 38940 h 90133"/>
                <a:gd name="connisteX8" fmla="*/ 1016000 w 1025320"/>
                <a:gd name="connsiteY8" fmla="*/ 38940 h 90133"/>
                <a:gd name="connisteX9" fmla="*/ 1009650 w 1025320"/>
                <a:gd name="connsiteY9" fmla="*/ 38940 h 901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025320" h="90133">
                  <a:moveTo>
                    <a:pt x="0" y="51641"/>
                  </a:moveTo>
                  <a:cubicBezTo>
                    <a:pt x="16510" y="39576"/>
                    <a:pt x="53340" y="-6779"/>
                    <a:pt x="95250" y="841"/>
                  </a:cubicBezTo>
                  <a:cubicBezTo>
                    <a:pt x="137160" y="8461"/>
                    <a:pt x="143510" y="89741"/>
                    <a:pt x="209550" y="89741"/>
                  </a:cubicBezTo>
                  <a:cubicBezTo>
                    <a:pt x="275590" y="89741"/>
                    <a:pt x="354330" y="3381"/>
                    <a:pt x="425450" y="841"/>
                  </a:cubicBezTo>
                  <a:cubicBezTo>
                    <a:pt x="496570" y="-1699"/>
                    <a:pt x="494030" y="74501"/>
                    <a:pt x="565150" y="77041"/>
                  </a:cubicBezTo>
                  <a:cubicBezTo>
                    <a:pt x="636270" y="79581"/>
                    <a:pt x="711200" y="11001"/>
                    <a:pt x="781050" y="13541"/>
                  </a:cubicBezTo>
                  <a:cubicBezTo>
                    <a:pt x="850900" y="16081"/>
                    <a:pt x="867410" y="84661"/>
                    <a:pt x="914400" y="89741"/>
                  </a:cubicBezTo>
                  <a:cubicBezTo>
                    <a:pt x="961390" y="94821"/>
                    <a:pt x="995680" y="49101"/>
                    <a:pt x="1016000" y="38941"/>
                  </a:cubicBezTo>
                  <a:cubicBezTo>
                    <a:pt x="1036320" y="28781"/>
                    <a:pt x="1017270" y="38941"/>
                    <a:pt x="1016000" y="38941"/>
                  </a:cubicBezTo>
                  <a:cubicBezTo>
                    <a:pt x="1014730" y="38941"/>
                    <a:pt x="1010920" y="38941"/>
                    <a:pt x="1009650" y="38941"/>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 name="任意多边形 11"/>
            <p:cNvSpPr/>
            <p:nvPr/>
          </p:nvSpPr>
          <p:spPr>
            <a:xfrm>
              <a:off x="7833" y="3153"/>
              <a:ext cx="1615" cy="142"/>
            </a:xfrm>
            <a:custGeom>
              <a:avLst/>
              <a:gdLst>
                <a:gd name="connisteX0" fmla="*/ 0 w 1025320"/>
                <a:gd name="connsiteY0" fmla="*/ 51640 h 90133"/>
                <a:gd name="connisteX1" fmla="*/ 95250 w 1025320"/>
                <a:gd name="connsiteY1" fmla="*/ 840 h 90133"/>
                <a:gd name="connisteX2" fmla="*/ 209550 w 1025320"/>
                <a:gd name="connsiteY2" fmla="*/ 89740 h 90133"/>
                <a:gd name="connisteX3" fmla="*/ 425450 w 1025320"/>
                <a:gd name="connsiteY3" fmla="*/ 840 h 90133"/>
                <a:gd name="connisteX4" fmla="*/ 565150 w 1025320"/>
                <a:gd name="connsiteY4" fmla="*/ 77040 h 90133"/>
                <a:gd name="connisteX5" fmla="*/ 781050 w 1025320"/>
                <a:gd name="connsiteY5" fmla="*/ 13540 h 90133"/>
                <a:gd name="connisteX6" fmla="*/ 914400 w 1025320"/>
                <a:gd name="connsiteY6" fmla="*/ 89740 h 90133"/>
                <a:gd name="connisteX7" fmla="*/ 1016000 w 1025320"/>
                <a:gd name="connsiteY7" fmla="*/ 38940 h 90133"/>
                <a:gd name="connisteX8" fmla="*/ 1016000 w 1025320"/>
                <a:gd name="connsiteY8" fmla="*/ 38940 h 90133"/>
                <a:gd name="connisteX9" fmla="*/ 1009650 w 1025320"/>
                <a:gd name="connsiteY9" fmla="*/ 38940 h 901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025320" h="90133">
                  <a:moveTo>
                    <a:pt x="0" y="51641"/>
                  </a:moveTo>
                  <a:cubicBezTo>
                    <a:pt x="16510" y="39576"/>
                    <a:pt x="53340" y="-6779"/>
                    <a:pt x="95250" y="841"/>
                  </a:cubicBezTo>
                  <a:cubicBezTo>
                    <a:pt x="137160" y="8461"/>
                    <a:pt x="143510" y="89741"/>
                    <a:pt x="209550" y="89741"/>
                  </a:cubicBezTo>
                  <a:cubicBezTo>
                    <a:pt x="275590" y="89741"/>
                    <a:pt x="354330" y="3381"/>
                    <a:pt x="425450" y="841"/>
                  </a:cubicBezTo>
                  <a:cubicBezTo>
                    <a:pt x="496570" y="-1699"/>
                    <a:pt x="494030" y="74501"/>
                    <a:pt x="565150" y="77041"/>
                  </a:cubicBezTo>
                  <a:cubicBezTo>
                    <a:pt x="636270" y="79581"/>
                    <a:pt x="711200" y="11001"/>
                    <a:pt x="781050" y="13541"/>
                  </a:cubicBezTo>
                  <a:cubicBezTo>
                    <a:pt x="850900" y="16081"/>
                    <a:pt x="867410" y="84661"/>
                    <a:pt x="914400" y="89741"/>
                  </a:cubicBezTo>
                  <a:cubicBezTo>
                    <a:pt x="961390" y="94821"/>
                    <a:pt x="995680" y="49101"/>
                    <a:pt x="1016000" y="38941"/>
                  </a:cubicBezTo>
                  <a:cubicBezTo>
                    <a:pt x="1036320" y="28781"/>
                    <a:pt x="1017270" y="38941"/>
                    <a:pt x="1016000" y="38941"/>
                  </a:cubicBezTo>
                  <a:cubicBezTo>
                    <a:pt x="1014730" y="38941"/>
                    <a:pt x="1010920" y="38941"/>
                    <a:pt x="1009650" y="38941"/>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p:nvPr/>
        </p:nvSpPr>
        <p:spPr>
          <a:xfrm>
            <a:off x="678676" y="483253"/>
            <a:ext cx="3264674" cy="48474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2700" b="1" spc="-113" dirty="0">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rPr>
              <a:t>Pricing </a:t>
            </a:r>
            <a:r>
              <a:rPr lang="en-US" sz="2700" spc="-113" dirty="0">
                <a:solidFill>
                  <a:srgbClr val="548235"/>
                </a:solidFill>
                <a:latin typeface="Lato" panose="020F0502020204030203" pitchFamily="34" charset="0"/>
                <a:ea typeface="Open Sans" panose="020B0606030504020204" pitchFamily="34" charset="0"/>
                <a:cs typeface="Lato" panose="020F0502020204030203" pitchFamily="34" charset="0"/>
              </a:rPr>
              <a:t>Plan Table</a:t>
            </a:r>
            <a:endParaRPr lang="en-US" sz="2700" spc="-113" dirty="0">
              <a:solidFill>
                <a:srgbClr val="548235"/>
              </a:solidFill>
              <a:latin typeface="Lato" panose="020F0502020204030203" pitchFamily="34" charset="0"/>
              <a:ea typeface="Open Sans" panose="020B0606030504020204" pitchFamily="34" charset="0"/>
              <a:cs typeface="Lato" panose="020F0502020204030203" pitchFamily="34" charset="0"/>
            </a:endParaRPr>
          </a:p>
        </p:txBody>
      </p:sp>
      <p:sp>
        <p:nvSpPr>
          <p:cNvPr id="4" name="Rectangle 3"/>
          <p:cNvSpPr/>
          <p:nvPr/>
        </p:nvSpPr>
        <p:spPr>
          <a:xfrm>
            <a:off x="719019" y="968001"/>
            <a:ext cx="1617008" cy="219291"/>
          </a:xfrm>
          <a:prstGeom prst="rect">
            <a:avLst/>
          </a:prstGeom>
        </p:spPr>
        <p:txBody>
          <a:bodyPr wrap="square">
            <a:spAutoFit/>
          </a:bodyPr>
          <a:lstStyle/>
          <a:p>
            <a:pP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34" name="Shape 17641"/>
          <p:cNvSpPr/>
          <p:nvPr/>
        </p:nvSpPr>
        <p:spPr>
          <a:xfrm>
            <a:off x="1410198" y="1520482"/>
            <a:ext cx="2127837" cy="2888213"/>
          </a:xfrm>
          <a:custGeom>
            <a:avLst/>
            <a:gdLst/>
            <a:ahLst/>
            <a:cxnLst>
              <a:cxn ang="0">
                <a:pos x="wd2" y="hd2"/>
              </a:cxn>
              <a:cxn ang="5400000">
                <a:pos x="wd2" y="hd2"/>
              </a:cxn>
              <a:cxn ang="10800000">
                <a:pos x="wd2" y="hd2"/>
              </a:cxn>
              <a:cxn ang="16200000">
                <a:pos x="wd2" y="hd2"/>
              </a:cxn>
            </a:cxnLst>
            <a:rect l="0" t="0" r="r" b="b"/>
            <a:pathLst>
              <a:path w="21600" h="21600" extrusionOk="0">
                <a:moveTo>
                  <a:pt x="11656" y="0"/>
                </a:moveTo>
                <a:lnTo>
                  <a:pt x="0" y="12414"/>
                </a:lnTo>
                <a:lnTo>
                  <a:pt x="11" y="17762"/>
                </a:lnTo>
                <a:lnTo>
                  <a:pt x="10828" y="21600"/>
                </a:lnTo>
                <a:lnTo>
                  <a:pt x="21600" y="17683"/>
                </a:lnTo>
                <a:lnTo>
                  <a:pt x="21600" y="0"/>
                </a:lnTo>
                <a:lnTo>
                  <a:pt x="11656" y="0"/>
                </a:lnTo>
                <a:close/>
              </a:path>
            </a:pathLst>
          </a:custGeom>
          <a:solidFill>
            <a:schemeClr val="bg1">
              <a:lumMod val="95000"/>
            </a:schemeClr>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sz="1200"/>
          </a:p>
        </p:txBody>
      </p:sp>
      <p:sp>
        <p:nvSpPr>
          <p:cNvPr id="54" name="Freeform 53"/>
          <p:cNvSpPr/>
          <p:nvPr/>
        </p:nvSpPr>
        <p:spPr>
          <a:xfrm>
            <a:off x="1408067" y="1520482"/>
            <a:ext cx="2130002" cy="1659975"/>
          </a:xfrm>
          <a:custGeom>
            <a:avLst/>
            <a:gdLst>
              <a:gd name="connsiteX0" fmla="*/ 1542621 w 3124003"/>
              <a:gd name="connsiteY0" fmla="*/ 0 h 2434630"/>
              <a:gd name="connsiteX1" fmla="*/ 1687251 w 3124003"/>
              <a:gd name="connsiteY1" fmla="*/ 0 h 2434630"/>
              <a:gd name="connsiteX2" fmla="*/ 1687282 w 3124003"/>
              <a:gd name="connsiteY2" fmla="*/ 0 h 2434630"/>
              <a:gd name="connsiteX3" fmla="*/ 3124003 w 3124003"/>
              <a:gd name="connsiteY3" fmla="*/ 0 h 2434630"/>
              <a:gd name="connsiteX4" fmla="*/ 3124003 w 3124003"/>
              <a:gd name="connsiteY4" fmla="*/ 984870 h 2434630"/>
              <a:gd name="connsiteX5" fmla="*/ 3124003 w 3124003"/>
              <a:gd name="connsiteY5" fmla="*/ 984898 h 2434630"/>
              <a:gd name="connsiteX6" fmla="*/ 2250295 w 3124003"/>
              <a:gd name="connsiteY6" fmla="*/ 1371396 h 2434630"/>
              <a:gd name="connsiteX7" fmla="*/ 2250288 w 3124003"/>
              <a:gd name="connsiteY7" fmla="*/ 1371390 h 2434630"/>
              <a:gd name="connsiteX8" fmla="*/ 2250260 w 3124003"/>
              <a:gd name="connsiteY8" fmla="*/ 1371402 h 2434630"/>
              <a:gd name="connsiteX9" fmla="*/ 2003348 w 3124003"/>
              <a:gd name="connsiteY9" fmla="*/ 1149535 h 2434630"/>
              <a:gd name="connsiteX10" fmla="*/ 1318011 w 3124003"/>
              <a:gd name="connsiteY10" fmla="*/ 533815 h 2434630"/>
              <a:gd name="connsiteX11" fmla="*/ 3182 w 3124003"/>
              <a:gd name="connsiteY11" fmla="*/ 2434630 h 2434630"/>
              <a:gd name="connsiteX12" fmla="*/ 3037 w 3124003"/>
              <a:gd name="connsiteY12" fmla="*/ 2225883 h 2434630"/>
              <a:gd name="connsiteX13" fmla="*/ 0 w 3124003"/>
              <a:gd name="connsiteY13" fmla="*/ 0 h 2434630"/>
              <a:gd name="connsiteX14" fmla="*/ 724098 w 3124003"/>
              <a:gd name="connsiteY14" fmla="*/ 0 h 2434630"/>
              <a:gd name="connsiteX15" fmla="*/ 724161 w 3124003"/>
              <a:gd name="connsiteY15" fmla="*/ 0 h 2434630"/>
              <a:gd name="connsiteX16" fmla="*/ 1386850 w 3124003"/>
              <a:gd name="connsiteY16" fmla="*/ 0 h 2434630"/>
              <a:gd name="connsiteX17" fmla="*/ 1386855 w 3124003"/>
              <a:gd name="connsiteY17" fmla="*/ 0 h 2434630"/>
              <a:gd name="connsiteX18" fmla="*/ 2748 w 3124003"/>
              <a:gd name="connsiteY18" fmla="*/ 2000680 h 243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24003" h="2434630">
                <a:moveTo>
                  <a:pt x="1542621" y="0"/>
                </a:moveTo>
                <a:lnTo>
                  <a:pt x="1687251" y="0"/>
                </a:lnTo>
                <a:lnTo>
                  <a:pt x="1687282" y="0"/>
                </a:lnTo>
                <a:lnTo>
                  <a:pt x="3124003" y="0"/>
                </a:lnTo>
                <a:lnTo>
                  <a:pt x="3124003" y="984870"/>
                </a:lnTo>
                <a:lnTo>
                  <a:pt x="3124003" y="984898"/>
                </a:lnTo>
                <a:lnTo>
                  <a:pt x="2250295" y="1371396"/>
                </a:lnTo>
                <a:lnTo>
                  <a:pt x="2250288" y="1371390"/>
                </a:lnTo>
                <a:lnTo>
                  <a:pt x="2250260" y="1371402"/>
                </a:lnTo>
                <a:lnTo>
                  <a:pt x="2003348" y="1149535"/>
                </a:lnTo>
                <a:lnTo>
                  <a:pt x="1318011" y="533815"/>
                </a:lnTo>
                <a:lnTo>
                  <a:pt x="3182" y="2434630"/>
                </a:lnTo>
                <a:lnTo>
                  <a:pt x="3037" y="2225883"/>
                </a:lnTo>
                <a:close/>
                <a:moveTo>
                  <a:pt x="0" y="0"/>
                </a:moveTo>
                <a:lnTo>
                  <a:pt x="724098" y="0"/>
                </a:lnTo>
                <a:lnTo>
                  <a:pt x="724161" y="0"/>
                </a:lnTo>
                <a:lnTo>
                  <a:pt x="1386850" y="0"/>
                </a:lnTo>
                <a:lnTo>
                  <a:pt x="1386855" y="0"/>
                </a:lnTo>
                <a:lnTo>
                  <a:pt x="2748" y="2000680"/>
                </a:lnTo>
                <a:close/>
              </a:path>
            </a:pathLst>
          </a:custGeom>
          <a:solidFill>
            <a:srgbClr val="548235"/>
          </a:solidFill>
          <a:ln>
            <a:noFill/>
          </a:ln>
          <a:effectLst>
            <a:outerShdw blurRad="266700" dist="508000" dir="1920000" sx="81000" sy="81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sz="1200"/>
          </a:p>
        </p:txBody>
      </p:sp>
      <p:sp>
        <p:nvSpPr>
          <p:cNvPr id="40" name="Shape 17647"/>
          <p:cNvSpPr/>
          <p:nvPr/>
        </p:nvSpPr>
        <p:spPr>
          <a:xfrm>
            <a:off x="1545995" y="1747926"/>
            <a:ext cx="537747" cy="225446"/>
          </a:xfrm>
          <a:prstGeom prst="rect">
            <a:avLst/>
          </a:prstGeom>
          <a:noFill/>
          <a:ln w="12700" cap="flat">
            <a:noFill/>
            <a:miter lim="400000"/>
          </a:ln>
          <a:effectLst/>
        </p:spPr>
        <p:txBody>
          <a:bodyPr wrap="square" lIns="19050" tIns="19050" rIns="19050" bIns="19050" numCol="1" anchor="t">
            <a:spAutoFit/>
          </a:bodyPr>
          <a:lstStyle/>
          <a:p>
            <a:pPr algn="l">
              <a:lnSpc>
                <a:spcPct val="90000"/>
              </a:lnSpc>
              <a:defRPr sz="2000">
                <a:solidFill>
                  <a:srgbClr val="FFFFFF"/>
                </a:solidFill>
                <a:latin typeface="Helvetica"/>
                <a:ea typeface="Helvetica"/>
                <a:cs typeface="Helvetica"/>
                <a:sym typeface="Helvetica"/>
              </a:defRPr>
            </a:pPr>
            <a:r>
              <a:rPr sz="675">
                <a:latin typeface="Lato" panose="020F0502020204030203" pitchFamily="34" charset="0"/>
                <a:cs typeface="Lato" panose="020F0502020204030203" pitchFamily="34" charset="0"/>
              </a:rPr>
              <a:t>BASIC</a:t>
            </a:r>
            <a:endParaRPr sz="675">
              <a:latin typeface="Lato" panose="020F0502020204030203" pitchFamily="34" charset="0"/>
              <a:cs typeface="Lato" panose="020F0502020204030203" pitchFamily="34" charset="0"/>
            </a:endParaRPr>
          </a:p>
          <a:p>
            <a:pPr algn="l">
              <a:lnSpc>
                <a:spcPct val="90000"/>
              </a:lnSpc>
              <a:defRPr sz="2000">
                <a:solidFill>
                  <a:srgbClr val="FFFFFF"/>
                </a:solidFill>
                <a:latin typeface="Helvetica"/>
                <a:ea typeface="Helvetica"/>
                <a:cs typeface="Helvetica"/>
                <a:sym typeface="Helvetica"/>
              </a:defRPr>
            </a:pPr>
            <a:r>
              <a:rPr sz="675">
                <a:latin typeface="Lato" panose="020F0502020204030203" pitchFamily="34" charset="0"/>
                <a:cs typeface="Lato" panose="020F0502020204030203" pitchFamily="34" charset="0"/>
              </a:rPr>
              <a:t>PACK</a:t>
            </a:r>
            <a:endParaRPr sz="675">
              <a:latin typeface="Lato" panose="020F0502020204030203" pitchFamily="34" charset="0"/>
              <a:cs typeface="Lato" panose="020F0502020204030203" pitchFamily="34" charset="0"/>
            </a:endParaRPr>
          </a:p>
        </p:txBody>
      </p:sp>
      <p:sp>
        <p:nvSpPr>
          <p:cNvPr id="41" name="Shape 17648"/>
          <p:cNvSpPr/>
          <p:nvPr/>
        </p:nvSpPr>
        <p:spPr>
          <a:xfrm>
            <a:off x="2507254" y="1654408"/>
            <a:ext cx="878444" cy="422808"/>
          </a:xfrm>
          <a:prstGeom prst="rect">
            <a:avLst/>
          </a:prstGeom>
          <a:noFill/>
          <a:ln w="12700" cap="flat">
            <a:noFill/>
            <a:miter lim="400000"/>
          </a:ln>
          <a:effectLst/>
        </p:spPr>
        <p:txBody>
          <a:bodyPr wrap="square" lIns="19050" tIns="19050" rIns="19050" bIns="19050" numCol="1" anchor="t">
            <a:spAutoFit/>
          </a:bodyPr>
          <a:lstStyle/>
          <a:p>
            <a:pPr algn="r">
              <a:lnSpc>
                <a:spcPct val="90000"/>
              </a:lnSpc>
              <a:defRPr sz="6000">
                <a:solidFill>
                  <a:srgbClr val="FFFFFF"/>
                </a:solidFill>
                <a:latin typeface="Helvetica"/>
                <a:ea typeface="Helvetica"/>
                <a:cs typeface="Helvetica"/>
                <a:sym typeface="Helvetica"/>
              </a:defRPr>
            </a:pPr>
            <a:r>
              <a:rPr sz="2100">
                <a:latin typeface="Lato" panose="020F0502020204030203" pitchFamily="34" charset="0"/>
                <a:cs typeface="Lato" panose="020F0502020204030203" pitchFamily="34" charset="0"/>
              </a:rPr>
              <a:t>$99.99</a:t>
            </a:r>
            <a:endParaRPr sz="2100">
              <a:latin typeface="Lato" panose="020F0502020204030203" pitchFamily="34" charset="0"/>
              <a:cs typeface="Lato" panose="020F0502020204030203" pitchFamily="34" charset="0"/>
            </a:endParaRPr>
          </a:p>
          <a:p>
            <a:pPr algn="r">
              <a:lnSpc>
                <a:spcPct val="90000"/>
              </a:lnSpc>
              <a:defRPr sz="2000">
                <a:solidFill>
                  <a:srgbClr val="FFFFFF"/>
                </a:solidFill>
                <a:latin typeface="Helvetica"/>
                <a:ea typeface="Helvetica"/>
                <a:cs typeface="Helvetica"/>
                <a:sym typeface="Helvetica"/>
              </a:defRPr>
            </a:pPr>
            <a:r>
              <a:rPr sz="675">
                <a:latin typeface="Lato" panose="020F0502020204030203" pitchFamily="34" charset="0"/>
                <a:cs typeface="Lato" panose="020F0502020204030203" pitchFamily="34" charset="0"/>
              </a:rPr>
              <a:t>PER MONTH</a:t>
            </a:r>
            <a:endParaRPr sz="675">
              <a:latin typeface="Lato" panose="020F0502020204030203" pitchFamily="34" charset="0"/>
              <a:cs typeface="Lato" panose="020F0502020204030203" pitchFamily="34" charset="0"/>
            </a:endParaRPr>
          </a:p>
        </p:txBody>
      </p:sp>
      <p:sp>
        <p:nvSpPr>
          <p:cNvPr id="49" name="Shape 17650"/>
          <p:cNvSpPr/>
          <p:nvPr/>
        </p:nvSpPr>
        <p:spPr>
          <a:xfrm>
            <a:off x="2198966" y="2575896"/>
            <a:ext cx="1265523" cy="1134926"/>
          </a:xfrm>
          <a:prstGeom prst="rect">
            <a:avLst/>
          </a:prstGeom>
          <a:noFill/>
          <a:ln w="12700" cap="flat">
            <a:noFill/>
            <a:miter lim="400000"/>
          </a:ln>
          <a:effectLst/>
        </p:spPr>
        <p:txBody>
          <a:bodyPr wrap="square" lIns="19050" tIns="19050" rIns="19050" bIns="19050" numCol="1" anchor="t">
            <a:spAutoFit/>
          </a:bodyPr>
          <a:lstStyle/>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Lifetime Support</a:t>
            </a:r>
            <a:endParaRPr sz="750" dirty="0">
              <a:solidFill>
                <a:schemeClr val="tx1">
                  <a:lumMod val="85000"/>
                  <a:lumOff val="15000"/>
                </a:schemeClr>
              </a:solidFill>
              <a:latin typeface="Lato" panose="020F0502020204030203" pitchFamily="34" charset="0"/>
              <a:cs typeface="Lato" panose="020F0502020204030203" pitchFamily="34" charset="0"/>
            </a:endParaRPr>
          </a:p>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Advance Option</a:t>
            </a:r>
            <a:endParaRPr sz="750" dirty="0">
              <a:solidFill>
                <a:schemeClr val="tx1">
                  <a:lumMod val="85000"/>
                  <a:lumOff val="15000"/>
                </a:schemeClr>
              </a:solidFill>
              <a:latin typeface="Lato" panose="020F0502020204030203" pitchFamily="34" charset="0"/>
              <a:cs typeface="Lato" panose="020F0502020204030203" pitchFamily="34" charset="0"/>
            </a:endParaRPr>
          </a:p>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Free Update (Monthly)</a:t>
            </a:r>
            <a:endParaRPr sz="750" dirty="0">
              <a:solidFill>
                <a:schemeClr val="tx1">
                  <a:lumMod val="85000"/>
                  <a:lumOff val="15000"/>
                </a:schemeClr>
              </a:solidFill>
              <a:latin typeface="Lato" panose="020F0502020204030203" pitchFamily="34" charset="0"/>
              <a:cs typeface="Lato" panose="020F0502020204030203" pitchFamily="34" charset="0"/>
            </a:endParaRPr>
          </a:p>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30 Email boxes</a:t>
            </a:r>
            <a:endParaRPr sz="750" dirty="0">
              <a:solidFill>
                <a:schemeClr val="tx1">
                  <a:lumMod val="85000"/>
                  <a:lumOff val="15000"/>
                </a:schemeClr>
              </a:solidFill>
              <a:latin typeface="Lato" panose="020F0502020204030203" pitchFamily="34" charset="0"/>
              <a:cs typeface="Lato" panose="020F0502020204030203" pitchFamily="34" charset="0"/>
            </a:endParaRPr>
          </a:p>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24/7 Phone Support</a:t>
            </a:r>
            <a:endParaRPr sz="750" dirty="0">
              <a:solidFill>
                <a:schemeClr val="tx1">
                  <a:lumMod val="85000"/>
                  <a:lumOff val="15000"/>
                </a:schemeClr>
              </a:solidFill>
              <a:latin typeface="Lato" panose="020F0502020204030203" pitchFamily="34" charset="0"/>
              <a:cs typeface="Lato" panose="020F0502020204030203" pitchFamily="34" charset="0"/>
            </a:endParaRPr>
          </a:p>
        </p:txBody>
      </p:sp>
      <p:sp>
        <p:nvSpPr>
          <p:cNvPr id="44" name="Shape 17656"/>
          <p:cNvSpPr/>
          <p:nvPr/>
        </p:nvSpPr>
        <p:spPr>
          <a:xfrm>
            <a:off x="2004560" y="2894953"/>
            <a:ext cx="87280" cy="72960"/>
          </a:xfrm>
          <a:custGeom>
            <a:avLst/>
            <a:gdLst/>
            <a:ahLst/>
            <a:cxnLst>
              <a:cxn ang="0">
                <a:pos x="wd2" y="hd2"/>
              </a:cxn>
              <a:cxn ang="5400000">
                <a:pos x="wd2" y="hd2"/>
              </a:cxn>
              <a:cxn ang="10800000">
                <a:pos x="wd2" y="hd2"/>
              </a:cxn>
              <a:cxn ang="16200000">
                <a:pos x="wd2" y="hd2"/>
              </a:cxn>
            </a:cxnLst>
            <a:rect l="0" t="0" r="r" b="b"/>
            <a:pathLst>
              <a:path w="21600" h="21600" extrusionOk="0">
                <a:moveTo>
                  <a:pt x="904" y="0"/>
                </a:moveTo>
                <a:cubicBezTo>
                  <a:pt x="363" y="0"/>
                  <a:pt x="0" y="434"/>
                  <a:pt x="0" y="1081"/>
                </a:cubicBezTo>
                <a:lnTo>
                  <a:pt x="0" y="3222"/>
                </a:lnTo>
                <a:cubicBezTo>
                  <a:pt x="0" y="3869"/>
                  <a:pt x="363" y="4303"/>
                  <a:pt x="904" y="4303"/>
                </a:cubicBezTo>
                <a:lnTo>
                  <a:pt x="20696" y="4303"/>
                </a:lnTo>
                <a:cubicBezTo>
                  <a:pt x="21237" y="4303"/>
                  <a:pt x="21600" y="3869"/>
                  <a:pt x="21600" y="3222"/>
                </a:cubicBezTo>
                <a:cubicBezTo>
                  <a:pt x="21600" y="3222"/>
                  <a:pt x="21600" y="1081"/>
                  <a:pt x="21600" y="1081"/>
                </a:cubicBezTo>
                <a:cubicBezTo>
                  <a:pt x="21600" y="434"/>
                  <a:pt x="21237" y="0"/>
                  <a:pt x="20696" y="0"/>
                </a:cubicBezTo>
                <a:lnTo>
                  <a:pt x="904" y="0"/>
                </a:lnTo>
                <a:close/>
                <a:moveTo>
                  <a:pt x="904" y="8818"/>
                </a:moveTo>
                <a:cubicBezTo>
                  <a:pt x="363" y="8818"/>
                  <a:pt x="0" y="9253"/>
                  <a:pt x="0" y="9899"/>
                </a:cubicBezTo>
                <a:lnTo>
                  <a:pt x="0" y="12051"/>
                </a:lnTo>
                <a:cubicBezTo>
                  <a:pt x="0" y="12697"/>
                  <a:pt x="363" y="13132"/>
                  <a:pt x="904" y="13132"/>
                </a:cubicBezTo>
                <a:lnTo>
                  <a:pt x="20696" y="13132"/>
                </a:lnTo>
                <a:cubicBezTo>
                  <a:pt x="21237" y="13132"/>
                  <a:pt x="21600" y="12697"/>
                  <a:pt x="21600" y="12051"/>
                </a:cubicBezTo>
                <a:cubicBezTo>
                  <a:pt x="21600" y="12051"/>
                  <a:pt x="21600" y="9899"/>
                  <a:pt x="21600" y="9899"/>
                </a:cubicBezTo>
                <a:cubicBezTo>
                  <a:pt x="21600" y="9253"/>
                  <a:pt x="21237" y="8818"/>
                  <a:pt x="20696" y="8818"/>
                </a:cubicBezTo>
                <a:lnTo>
                  <a:pt x="904" y="8818"/>
                </a:lnTo>
                <a:close/>
                <a:moveTo>
                  <a:pt x="904" y="17297"/>
                </a:moveTo>
                <a:cubicBezTo>
                  <a:pt x="363" y="17297"/>
                  <a:pt x="0" y="17730"/>
                  <a:pt x="0" y="18378"/>
                </a:cubicBezTo>
                <a:lnTo>
                  <a:pt x="0" y="20519"/>
                </a:lnTo>
                <a:cubicBezTo>
                  <a:pt x="0" y="21167"/>
                  <a:pt x="363" y="21600"/>
                  <a:pt x="904" y="21600"/>
                </a:cubicBezTo>
                <a:lnTo>
                  <a:pt x="20696" y="21600"/>
                </a:lnTo>
                <a:cubicBezTo>
                  <a:pt x="21237" y="21600"/>
                  <a:pt x="21600" y="21167"/>
                  <a:pt x="21600" y="20519"/>
                </a:cubicBezTo>
                <a:cubicBezTo>
                  <a:pt x="21600" y="20519"/>
                  <a:pt x="21600" y="18378"/>
                  <a:pt x="21600" y="18378"/>
                </a:cubicBezTo>
                <a:cubicBezTo>
                  <a:pt x="21600" y="17730"/>
                  <a:pt x="21237" y="17297"/>
                  <a:pt x="20696" y="17297"/>
                </a:cubicBezTo>
                <a:lnTo>
                  <a:pt x="904" y="17297"/>
                </a:ln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45" name="Shape 17657"/>
          <p:cNvSpPr/>
          <p:nvPr/>
        </p:nvSpPr>
        <p:spPr>
          <a:xfrm>
            <a:off x="2000169" y="3294364"/>
            <a:ext cx="91670" cy="75651"/>
          </a:xfrm>
          <a:custGeom>
            <a:avLst/>
            <a:gdLst/>
            <a:ahLst/>
            <a:cxnLst>
              <a:cxn ang="0">
                <a:pos x="wd2" y="hd2"/>
              </a:cxn>
              <a:cxn ang="5400000">
                <a:pos x="wd2" y="hd2"/>
              </a:cxn>
              <a:cxn ang="10800000">
                <a:pos x="wd2" y="hd2"/>
              </a:cxn>
              <a:cxn ang="16200000">
                <a:pos x="wd2" y="hd2"/>
              </a:cxn>
            </a:cxnLst>
            <a:rect l="0" t="0" r="r" b="b"/>
            <a:pathLst>
              <a:path w="21600" h="21600" extrusionOk="0">
                <a:moveTo>
                  <a:pt x="2629" y="0"/>
                </a:moveTo>
                <a:cubicBezTo>
                  <a:pt x="2275" y="0"/>
                  <a:pt x="1989" y="346"/>
                  <a:pt x="1989" y="775"/>
                </a:cubicBezTo>
                <a:lnTo>
                  <a:pt x="1989" y="7222"/>
                </a:lnTo>
                <a:cubicBezTo>
                  <a:pt x="1989" y="7475"/>
                  <a:pt x="2089" y="7703"/>
                  <a:pt x="2256" y="7846"/>
                </a:cubicBezTo>
                <a:lnTo>
                  <a:pt x="10391" y="14874"/>
                </a:lnTo>
                <a:cubicBezTo>
                  <a:pt x="10502" y="14969"/>
                  <a:pt x="10635" y="15024"/>
                  <a:pt x="10764" y="15024"/>
                </a:cubicBezTo>
                <a:cubicBezTo>
                  <a:pt x="10894" y="15024"/>
                  <a:pt x="11023" y="14969"/>
                  <a:pt x="11137" y="14874"/>
                </a:cubicBezTo>
                <a:lnTo>
                  <a:pt x="19273" y="7846"/>
                </a:lnTo>
                <a:cubicBezTo>
                  <a:pt x="19441" y="7698"/>
                  <a:pt x="19539" y="7471"/>
                  <a:pt x="19539" y="7222"/>
                </a:cubicBezTo>
                <a:lnTo>
                  <a:pt x="19539" y="775"/>
                </a:lnTo>
                <a:cubicBezTo>
                  <a:pt x="19539" y="346"/>
                  <a:pt x="19254" y="0"/>
                  <a:pt x="18900" y="0"/>
                </a:cubicBezTo>
                <a:lnTo>
                  <a:pt x="2629" y="0"/>
                </a:lnTo>
                <a:close/>
                <a:moveTo>
                  <a:pt x="3268" y="1550"/>
                </a:moveTo>
                <a:lnTo>
                  <a:pt x="18261" y="1550"/>
                </a:lnTo>
                <a:lnTo>
                  <a:pt x="18261" y="6813"/>
                </a:lnTo>
                <a:lnTo>
                  <a:pt x="10764" y="13291"/>
                </a:lnTo>
                <a:lnTo>
                  <a:pt x="3268" y="6813"/>
                </a:lnTo>
                <a:cubicBezTo>
                  <a:pt x="3268" y="6813"/>
                  <a:pt x="3268" y="1550"/>
                  <a:pt x="3268" y="1550"/>
                </a:cubicBezTo>
                <a:close/>
                <a:moveTo>
                  <a:pt x="5809" y="3100"/>
                </a:moveTo>
                <a:cubicBezTo>
                  <a:pt x="5424" y="3100"/>
                  <a:pt x="5116" y="3474"/>
                  <a:pt x="5116" y="3939"/>
                </a:cubicBezTo>
                <a:cubicBezTo>
                  <a:pt x="5116" y="4406"/>
                  <a:pt x="5424" y="4778"/>
                  <a:pt x="5809" y="4778"/>
                </a:cubicBezTo>
                <a:lnTo>
                  <a:pt x="15338" y="4778"/>
                </a:lnTo>
                <a:cubicBezTo>
                  <a:pt x="15723" y="4778"/>
                  <a:pt x="16031" y="4406"/>
                  <a:pt x="16031" y="3939"/>
                </a:cubicBezTo>
                <a:cubicBezTo>
                  <a:pt x="16031" y="3474"/>
                  <a:pt x="15723" y="3100"/>
                  <a:pt x="15338" y="3100"/>
                </a:cubicBezTo>
                <a:lnTo>
                  <a:pt x="5809" y="3100"/>
                </a:lnTo>
                <a:close/>
                <a:moveTo>
                  <a:pt x="5809" y="6199"/>
                </a:moveTo>
                <a:cubicBezTo>
                  <a:pt x="5424" y="6199"/>
                  <a:pt x="5116" y="6572"/>
                  <a:pt x="5116" y="7039"/>
                </a:cubicBezTo>
                <a:cubicBezTo>
                  <a:pt x="5116" y="7504"/>
                  <a:pt x="5424" y="7878"/>
                  <a:pt x="5809" y="7878"/>
                </a:cubicBezTo>
                <a:lnTo>
                  <a:pt x="15338" y="7878"/>
                </a:lnTo>
                <a:cubicBezTo>
                  <a:pt x="15723" y="7878"/>
                  <a:pt x="16031" y="7504"/>
                  <a:pt x="16031" y="7039"/>
                </a:cubicBezTo>
                <a:cubicBezTo>
                  <a:pt x="16031" y="6577"/>
                  <a:pt x="15723" y="6199"/>
                  <a:pt x="15338" y="6199"/>
                </a:cubicBezTo>
                <a:lnTo>
                  <a:pt x="5809" y="6199"/>
                </a:lnTo>
                <a:close/>
                <a:moveTo>
                  <a:pt x="0" y="6543"/>
                </a:moveTo>
                <a:lnTo>
                  <a:pt x="0" y="21600"/>
                </a:lnTo>
                <a:lnTo>
                  <a:pt x="21600" y="21600"/>
                </a:lnTo>
                <a:lnTo>
                  <a:pt x="21600" y="6543"/>
                </a:lnTo>
                <a:cubicBezTo>
                  <a:pt x="21600" y="6543"/>
                  <a:pt x="18936" y="8847"/>
                  <a:pt x="18936" y="8847"/>
                </a:cubicBezTo>
                <a:lnTo>
                  <a:pt x="10800" y="15874"/>
                </a:lnTo>
                <a:lnTo>
                  <a:pt x="2664" y="8847"/>
                </a:lnTo>
                <a:lnTo>
                  <a:pt x="0" y="6543"/>
                </a:ln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46" name="Shape 17658"/>
          <p:cNvSpPr/>
          <p:nvPr/>
        </p:nvSpPr>
        <p:spPr>
          <a:xfrm>
            <a:off x="2000169" y="3089269"/>
            <a:ext cx="91670" cy="85085"/>
          </a:xfrm>
          <a:custGeom>
            <a:avLst/>
            <a:gdLst/>
            <a:ahLst/>
            <a:cxnLst>
              <a:cxn ang="0">
                <a:pos x="wd2" y="hd2"/>
              </a:cxn>
              <a:cxn ang="5400000">
                <a:pos x="wd2" y="hd2"/>
              </a:cxn>
              <a:cxn ang="10800000">
                <a:pos x="wd2" y="hd2"/>
              </a:cxn>
              <a:cxn ang="16200000">
                <a:pos x="wd2" y="hd2"/>
              </a:cxn>
            </a:cxnLst>
            <a:rect l="0" t="0" r="r" b="b"/>
            <a:pathLst>
              <a:path w="21499" h="21600" extrusionOk="0">
                <a:moveTo>
                  <a:pt x="10802" y="0"/>
                </a:moveTo>
                <a:cubicBezTo>
                  <a:pt x="6813" y="0"/>
                  <a:pt x="3297" y="2576"/>
                  <a:pt x="1796" y="6506"/>
                </a:cubicBezTo>
                <a:lnTo>
                  <a:pt x="869" y="6105"/>
                </a:lnTo>
                <a:cubicBezTo>
                  <a:pt x="630" y="6003"/>
                  <a:pt x="362" y="6067"/>
                  <a:pt x="186" y="6263"/>
                </a:cubicBezTo>
                <a:cubicBezTo>
                  <a:pt x="7" y="6463"/>
                  <a:pt x="-52" y="6760"/>
                  <a:pt x="49" y="7013"/>
                </a:cubicBezTo>
                <a:lnTo>
                  <a:pt x="1639" y="11038"/>
                </a:lnTo>
                <a:cubicBezTo>
                  <a:pt x="1706" y="11205"/>
                  <a:pt x="1835" y="11341"/>
                  <a:pt x="1991" y="11407"/>
                </a:cubicBezTo>
                <a:cubicBezTo>
                  <a:pt x="2147" y="11475"/>
                  <a:pt x="2325" y="11480"/>
                  <a:pt x="2479" y="11407"/>
                </a:cubicBezTo>
                <a:lnTo>
                  <a:pt x="6196" y="9675"/>
                </a:lnTo>
                <a:cubicBezTo>
                  <a:pt x="6430" y="9566"/>
                  <a:pt x="6589" y="9318"/>
                  <a:pt x="6587" y="9041"/>
                </a:cubicBezTo>
                <a:cubicBezTo>
                  <a:pt x="6582" y="8763"/>
                  <a:pt x="6423" y="8523"/>
                  <a:pt x="6186" y="8418"/>
                </a:cubicBezTo>
                <a:lnTo>
                  <a:pt x="5162" y="7975"/>
                </a:lnTo>
                <a:cubicBezTo>
                  <a:pt x="6106" y="5570"/>
                  <a:pt x="8315" y="3929"/>
                  <a:pt x="10802" y="3929"/>
                </a:cubicBezTo>
                <a:cubicBezTo>
                  <a:pt x="13298" y="3929"/>
                  <a:pt x="15505" y="5594"/>
                  <a:pt x="16442" y="7996"/>
                </a:cubicBezTo>
                <a:cubicBezTo>
                  <a:pt x="16766" y="8821"/>
                  <a:pt x="17580" y="9287"/>
                  <a:pt x="18393" y="9115"/>
                </a:cubicBezTo>
                <a:lnTo>
                  <a:pt x="18520" y="9094"/>
                </a:lnTo>
                <a:cubicBezTo>
                  <a:pt x="19039" y="8985"/>
                  <a:pt x="19482" y="8627"/>
                  <a:pt x="19730" y="8122"/>
                </a:cubicBezTo>
                <a:cubicBezTo>
                  <a:pt x="19978" y="7618"/>
                  <a:pt x="20003" y="7023"/>
                  <a:pt x="19798" y="6496"/>
                </a:cubicBezTo>
                <a:cubicBezTo>
                  <a:pt x="18310" y="2658"/>
                  <a:pt x="14786" y="0"/>
                  <a:pt x="10802" y="0"/>
                </a:cubicBezTo>
                <a:close/>
                <a:moveTo>
                  <a:pt x="19506" y="10182"/>
                </a:moveTo>
                <a:cubicBezTo>
                  <a:pt x="19349" y="10115"/>
                  <a:pt x="19181" y="10123"/>
                  <a:pt x="19027" y="10193"/>
                </a:cubicBezTo>
                <a:lnTo>
                  <a:pt x="15300" y="11914"/>
                </a:lnTo>
                <a:cubicBezTo>
                  <a:pt x="15066" y="12021"/>
                  <a:pt x="14917" y="12283"/>
                  <a:pt x="14920" y="12559"/>
                </a:cubicBezTo>
                <a:cubicBezTo>
                  <a:pt x="14924" y="12835"/>
                  <a:pt x="15073" y="13080"/>
                  <a:pt x="15310" y="13182"/>
                </a:cubicBezTo>
                <a:lnTo>
                  <a:pt x="16334" y="13625"/>
                </a:lnTo>
                <a:cubicBezTo>
                  <a:pt x="15390" y="16029"/>
                  <a:pt x="13182" y="17671"/>
                  <a:pt x="10694" y="17671"/>
                </a:cubicBezTo>
                <a:cubicBezTo>
                  <a:pt x="8198" y="17671"/>
                  <a:pt x="5992" y="16008"/>
                  <a:pt x="5055" y="13604"/>
                </a:cubicBezTo>
                <a:cubicBezTo>
                  <a:pt x="4731" y="12779"/>
                  <a:pt x="3916" y="12302"/>
                  <a:pt x="3103" y="12474"/>
                </a:cubicBezTo>
                <a:lnTo>
                  <a:pt x="2976" y="12506"/>
                </a:lnTo>
                <a:cubicBezTo>
                  <a:pt x="2457" y="12613"/>
                  <a:pt x="2014" y="12965"/>
                  <a:pt x="1766" y="13467"/>
                </a:cubicBezTo>
                <a:cubicBezTo>
                  <a:pt x="1518" y="13972"/>
                  <a:pt x="1494" y="14577"/>
                  <a:pt x="1698" y="15104"/>
                </a:cubicBezTo>
                <a:cubicBezTo>
                  <a:pt x="3188" y="18940"/>
                  <a:pt x="6710" y="21600"/>
                  <a:pt x="10694" y="21600"/>
                </a:cubicBezTo>
                <a:cubicBezTo>
                  <a:pt x="14686" y="21600"/>
                  <a:pt x="18209" y="19023"/>
                  <a:pt x="19711" y="15094"/>
                </a:cubicBezTo>
                <a:lnTo>
                  <a:pt x="20637" y="15484"/>
                </a:lnTo>
                <a:cubicBezTo>
                  <a:pt x="20874" y="15589"/>
                  <a:pt x="21141" y="15535"/>
                  <a:pt x="21321" y="15337"/>
                </a:cubicBezTo>
                <a:cubicBezTo>
                  <a:pt x="21497" y="15137"/>
                  <a:pt x="21548" y="14843"/>
                  <a:pt x="21447" y="14587"/>
                </a:cubicBezTo>
                <a:lnTo>
                  <a:pt x="19857" y="10552"/>
                </a:lnTo>
                <a:cubicBezTo>
                  <a:pt x="19790" y="10386"/>
                  <a:pt x="19662" y="10250"/>
                  <a:pt x="19506" y="10182"/>
                </a:cubicBez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47" name="Shape 17659"/>
          <p:cNvSpPr/>
          <p:nvPr/>
        </p:nvSpPr>
        <p:spPr>
          <a:xfrm>
            <a:off x="1998948" y="3486013"/>
            <a:ext cx="92891" cy="93110"/>
          </a:xfrm>
          <a:custGeom>
            <a:avLst/>
            <a:gdLst/>
            <a:ahLst/>
            <a:cxnLst>
              <a:cxn ang="0">
                <a:pos x="wd2" y="hd2"/>
              </a:cxn>
              <a:cxn ang="5400000">
                <a:pos x="wd2" y="hd2"/>
              </a:cxn>
              <a:cxn ang="10800000">
                <a:pos x="wd2" y="hd2"/>
              </a:cxn>
              <a:cxn ang="16200000">
                <a:pos x="wd2" y="hd2"/>
              </a:cxn>
            </a:cxnLst>
            <a:rect l="0" t="0" r="r" b="b"/>
            <a:pathLst>
              <a:path w="21600" h="21600" extrusionOk="0">
                <a:moveTo>
                  <a:pt x="10775" y="0"/>
                </a:moveTo>
                <a:cubicBezTo>
                  <a:pt x="10041" y="0"/>
                  <a:pt x="9310" y="67"/>
                  <a:pt x="8597" y="213"/>
                </a:cubicBezTo>
                <a:cubicBezTo>
                  <a:pt x="8064" y="321"/>
                  <a:pt x="7726" y="849"/>
                  <a:pt x="7834" y="1380"/>
                </a:cubicBezTo>
                <a:cubicBezTo>
                  <a:pt x="7942" y="1912"/>
                  <a:pt x="8461" y="2254"/>
                  <a:pt x="8994" y="2142"/>
                </a:cubicBezTo>
                <a:cubicBezTo>
                  <a:pt x="9259" y="2088"/>
                  <a:pt x="9528" y="2049"/>
                  <a:pt x="9798" y="2020"/>
                </a:cubicBezTo>
                <a:lnTo>
                  <a:pt x="9798" y="7450"/>
                </a:lnTo>
                <a:cubicBezTo>
                  <a:pt x="9512" y="7434"/>
                  <a:pt x="9222" y="7410"/>
                  <a:pt x="8943" y="7379"/>
                </a:cubicBezTo>
                <a:cubicBezTo>
                  <a:pt x="8404" y="7318"/>
                  <a:pt x="7925" y="7714"/>
                  <a:pt x="7865" y="8252"/>
                </a:cubicBezTo>
                <a:cubicBezTo>
                  <a:pt x="7804" y="8791"/>
                  <a:pt x="8187" y="9276"/>
                  <a:pt x="8730" y="9338"/>
                </a:cubicBezTo>
                <a:cubicBezTo>
                  <a:pt x="9080" y="9377"/>
                  <a:pt x="9438" y="9399"/>
                  <a:pt x="9798" y="9420"/>
                </a:cubicBezTo>
                <a:lnTo>
                  <a:pt x="9798" y="12170"/>
                </a:lnTo>
                <a:cubicBezTo>
                  <a:pt x="9438" y="12188"/>
                  <a:pt x="9080" y="12224"/>
                  <a:pt x="8730" y="12262"/>
                </a:cubicBezTo>
                <a:cubicBezTo>
                  <a:pt x="8187" y="12322"/>
                  <a:pt x="7804" y="12809"/>
                  <a:pt x="7865" y="13348"/>
                </a:cubicBezTo>
                <a:cubicBezTo>
                  <a:pt x="7925" y="13886"/>
                  <a:pt x="8404" y="14273"/>
                  <a:pt x="8943" y="14211"/>
                </a:cubicBezTo>
                <a:cubicBezTo>
                  <a:pt x="9222" y="14179"/>
                  <a:pt x="9512" y="14158"/>
                  <a:pt x="9798" y="14139"/>
                </a:cubicBezTo>
                <a:lnTo>
                  <a:pt x="9798" y="19570"/>
                </a:lnTo>
                <a:cubicBezTo>
                  <a:pt x="9542" y="19543"/>
                  <a:pt x="9287" y="19508"/>
                  <a:pt x="9035" y="19458"/>
                </a:cubicBezTo>
                <a:cubicBezTo>
                  <a:pt x="8502" y="19353"/>
                  <a:pt x="7980" y="19698"/>
                  <a:pt x="7875" y="20230"/>
                </a:cubicBezTo>
                <a:cubicBezTo>
                  <a:pt x="7767" y="20761"/>
                  <a:pt x="8115" y="21279"/>
                  <a:pt x="8648" y="21387"/>
                </a:cubicBezTo>
                <a:cubicBezTo>
                  <a:pt x="9345" y="21526"/>
                  <a:pt x="10057" y="21600"/>
                  <a:pt x="10775" y="21600"/>
                </a:cubicBezTo>
                <a:cubicBezTo>
                  <a:pt x="16743" y="21600"/>
                  <a:pt x="21600" y="16754"/>
                  <a:pt x="21600" y="10800"/>
                </a:cubicBezTo>
                <a:cubicBezTo>
                  <a:pt x="21600" y="4845"/>
                  <a:pt x="16743" y="0"/>
                  <a:pt x="10775" y="0"/>
                </a:cubicBezTo>
                <a:close/>
                <a:moveTo>
                  <a:pt x="6400" y="2274"/>
                </a:moveTo>
                <a:cubicBezTo>
                  <a:pt x="6400" y="2274"/>
                  <a:pt x="5267" y="2276"/>
                  <a:pt x="5189" y="2294"/>
                </a:cubicBezTo>
                <a:cubicBezTo>
                  <a:pt x="2600" y="2541"/>
                  <a:pt x="0" y="4889"/>
                  <a:pt x="0" y="10861"/>
                </a:cubicBezTo>
                <a:cubicBezTo>
                  <a:pt x="0" y="16833"/>
                  <a:pt x="2600" y="19181"/>
                  <a:pt x="5189" y="19428"/>
                </a:cubicBezTo>
                <a:cubicBezTo>
                  <a:pt x="5267" y="19444"/>
                  <a:pt x="6400" y="19448"/>
                  <a:pt x="6400" y="19448"/>
                </a:cubicBezTo>
                <a:cubicBezTo>
                  <a:pt x="6818" y="19448"/>
                  <a:pt x="7202" y="19242"/>
                  <a:pt x="7427" y="18890"/>
                </a:cubicBezTo>
                <a:cubicBezTo>
                  <a:pt x="7654" y="18538"/>
                  <a:pt x="7686" y="18094"/>
                  <a:pt x="7509" y="17712"/>
                </a:cubicBezTo>
                <a:cubicBezTo>
                  <a:pt x="7509" y="17712"/>
                  <a:pt x="6461" y="15429"/>
                  <a:pt x="6461" y="15429"/>
                </a:cubicBezTo>
                <a:cubicBezTo>
                  <a:pt x="6290" y="15060"/>
                  <a:pt x="5946" y="14808"/>
                  <a:pt x="5545" y="14738"/>
                </a:cubicBezTo>
                <a:lnTo>
                  <a:pt x="2889" y="14282"/>
                </a:lnTo>
                <a:cubicBezTo>
                  <a:pt x="2512" y="12976"/>
                  <a:pt x="2462" y="11547"/>
                  <a:pt x="2462" y="10861"/>
                </a:cubicBezTo>
                <a:cubicBezTo>
                  <a:pt x="2462" y="10172"/>
                  <a:pt x="2512" y="8746"/>
                  <a:pt x="2889" y="7440"/>
                </a:cubicBezTo>
                <a:lnTo>
                  <a:pt x="5545" y="6994"/>
                </a:lnTo>
                <a:cubicBezTo>
                  <a:pt x="5946" y="6924"/>
                  <a:pt x="6290" y="6661"/>
                  <a:pt x="6461" y="6293"/>
                </a:cubicBezTo>
                <a:lnTo>
                  <a:pt x="7509" y="4009"/>
                </a:lnTo>
                <a:cubicBezTo>
                  <a:pt x="7686" y="3630"/>
                  <a:pt x="7654" y="3195"/>
                  <a:pt x="7427" y="2842"/>
                </a:cubicBezTo>
                <a:cubicBezTo>
                  <a:pt x="7202" y="2490"/>
                  <a:pt x="6818" y="2274"/>
                  <a:pt x="6400" y="2274"/>
                </a:cubicBezTo>
                <a:close/>
                <a:moveTo>
                  <a:pt x="11761" y="2284"/>
                </a:moveTo>
                <a:cubicBezTo>
                  <a:pt x="12814" y="2966"/>
                  <a:pt x="13804" y="4689"/>
                  <a:pt x="14325" y="7085"/>
                </a:cubicBezTo>
                <a:cubicBezTo>
                  <a:pt x="13516" y="7273"/>
                  <a:pt x="12654" y="7396"/>
                  <a:pt x="11761" y="7450"/>
                </a:cubicBezTo>
                <a:lnTo>
                  <a:pt x="11761" y="2284"/>
                </a:lnTo>
                <a:close/>
                <a:moveTo>
                  <a:pt x="14885" y="2974"/>
                </a:moveTo>
                <a:cubicBezTo>
                  <a:pt x="16084" y="3602"/>
                  <a:pt x="17119" y="4501"/>
                  <a:pt x="17917" y="5583"/>
                </a:cubicBezTo>
                <a:cubicBezTo>
                  <a:pt x="17424" y="5930"/>
                  <a:pt x="16844" y="6236"/>
                  <a:pt x="16208" y="6496"/>
                </a:cubicBezTo>
                <a:cubicBezTo>
                  <a:pt x="15897" y="5157"/>
                  <a:pt x="15447" y="3962"/>
                  <a:pt x="14885" y="2974"/>
                </a:cubicBezTo>
                <a:close/>
                <a:moveTo>
                  <a:pt x="18904" y="7278"/>
                </a:moveTo>
                <a:cubicBezTo>
                  <a:pt x="19374" y="8357"/>
                  <a:pt x="19636" y="9550"/>
                  <a:pt x="19636" y="10800"/>
                </a:cubicBezTo>
                <a:cubicBezTo>
                  <a:pt x="19636" y="12047"/>
                  <a:pt x="19374" y="13235"/>
                  <a:pt x="18904" y="14312"/>
                </a:cubicBezTo>
                <a:cubicBezTo>
                  <a:pt x="18215" y="13845"/>
                  <a:pt x="17416" y="13439"/>
                  <a:pt x="16543" y="13114"/>
                </a:cubicBezTo>
                <a:cubicBezTo>
                  <a:pt x="16629" y="12367"/>
                  <a:pt x="16686" y="11594"/>
                  <a:pt x="16686" y="10790"/>
                </a:cubicBezTo>
                <a:cubicBezTo>
                  <a:pt x="16686" y="9989"/>
                  <a:pt x="16629" y="9223"/>
                  <a:pt x="16543" y="8476"/>
                </a:cubicBezTo>
                <a:cubicBezTo>
                  <a:pt x="17416" y="8153"/>
                  <a:pt x="18215" y="7744"/>
                  <a:pt x="18904" y="7278"/>
                </a:cubicBezTo>
                <a:close/>
                <a:moveTo>
                  <a:pt x="14631" y="9034"/>
                </a:moveTo>
                <a:cubicBezTo>
                  <a:pt x="14685" y="9597"/>
                  <a:pt x="14712" y="10188"/>
                  <a:pt x="14712" y="10800"/>
                </a:cubicBezTo>
                <a:cubicBezTo>
                  <a:pt x="14712" y="11410"/>
                  <a:pt x="14685" y="11991"/>
                  <a:pt x="14631" y="12556"/>
                </a:cubicBezTo>
                <a:cubicBezTo>
                  <a:pt x="13720" y="12354"/>
                  <a:pt x="12755" y="12224"/>
                  <a:pt x="11761" y="12170"/>
                </a:cubicBezTo>
                <a:lnTo>
                  <a:pt x="11761" y="9420"/>
                </a:lnTo>
                <a:cubicBezTo>
                  <a:pt x="12755" y="9368"/>
                  <a:pt x="13720" y="9236"/>
                  <a:pt x="14631" y="9034"/>
                </a:cubicBezTo>
                <a:close/>
                <a:moveTo>
                  <a:pt x="11761" y="14139"/>
                </a:moveTo>
                <a:cubicBezTo>
                  <a:pt x="12654" y="14191"/>
                  <a:pt x="13516" y="14316"/>
                  <a:pt x="14325" y="14505"/>
                </a:cubicBezTo>
                <a:cubicBezTo>
                  <a:pt x="13804" y="16898"/>
                  <a:pt x="12814" y="18627"/>
                  <a:pt x="11761" y="19306"/>
                </a:cubicBezTo>
                <a:lnTo>
                  <a:pt x="11761" y="14139"/>
                </a:lnTo>
                <a:close/>
                <a:moveTo>
                  <a:pt x="16208" y="15104"/>
                </a:moveTo>
                <a:cubicBezTo>
                  <a:pt x="16842" y="15364"/>
                  <a:pt x="17424" y="15662"/>
                  <a:pt x="17917" y="16007"/>
                </a:cubicBezTo>
                <a:cubicBezTo>
                  <a:pt x="17119" y="17089"/>
                  <a:pt x="16081" y="17988"/>
                  <a:pt x="14885" y="18616"/>
                </a:cubicBezTo>
                <a:cubicBezTo>
                  <a:pt x="15445" y="17631"/>
                  <a:pt x="15897" y="16444"/>
                  <a:pt x="16208" y="15104"/>
                </a:cubicBez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48" name="Shape 17660"/>
          <p:cNvSpPr/>
          <p:nvPr/>
        </p:nvSpPr>
        <p:spPr>
          <a:xfrm>
            <a:off x="2007358" y="2687797"/>
            <a:ext cx="84481" cy="86515"/>
          </a:xfrm>
          <a:custGeom>
            <a:avLst/>
            <a:gdLst/>
            <a:ahLst/>
            <a:cxnLst>
              <a:cxn ang="0">
                <a:pos x="wd2" y="hd2"/>
              </a:cxn>
              <a:cxn ang="5400000">
                <a:pos x="wd2" y="hd2"/>
              </a:cxn>
              <a:cxn ang="10800000">
                <a:pos x="wd2" y="hd2"/>
              </a:cxn>
              <a:cxn ang="16200000">
                <a:pos x="wd2" y="hd2"/>
              </a:cxn>
            </a:cxnLst>
            <a:rect l="0" t="0" r="r" b="b"/>
            <a:pathLst>
              <a:path w="21600" h="21600" extrusionOk="0">
                <a:moveTo>
                  <a:pt x="3939" y="0"/>
                </a:moveTo>
                <a:cubicBezTo>
                  <a:pt x="3525" y="0"/>
                  <a:pt x="3187" y="330"/>
                  <a:pt x="3187" y="735"/>
                </a:cubicBezTo>
                <a:lnTo>
                  <a:pt x="3187" y="5014"/>
                </a:lnTo>
                <a:cubicBezTo>
                  <a:pt x="3187" y="5418"/>
                  <a:pt x="3525" y="5738"/>
                  <a:pt x="3939" y="5738"/>
                </a:cubicBezTo>
                <a:lnTo>
                  <a:pt x="5300" y="5738"/>
                </a:lnTo>
                <a:cubicBezTo>
                  <a:pt x="5715" y="5738"/>
                  <a:pt x="6053" y="5418"/>
                  <a:pt x="6053" y="5014"/>
                </a:cubicBezTo>
                <a:lnTo>
                  <a:pt x="6053" y="735"/>
                </a:lnTo>
                <a:cubicBezTo>
                  <a:pt x="6053" y="330"/>
                  <a:pt x="5715" y="0"/>
                  <a:pt x="5300" y="0"/>
                </a:cubicBezTo>
                <a:lnTo>
                  <a:pt x="3939" y="0"/>
                </a:lnTo>
                <a:close/>
                <a:moveTo>
                  <a:pt x="15979" y="0"/>
                </a:moveTo>
                <a:cubicBezTo>
                  <a:pt x="15564" y="0"/>
                  <a:pt x="15226" y="330"/>
                  <a:pt x="15226" y="735"/>
                </a:cubicBezTo>
                <a:lnTo>
                  <a:pt x="15226" y="5014"/>
                </a:lnTo>
                <a:cubicBezTo>
                  <a:pt x="15226" y="5418"/>
                  <a:pt x="15564" y="5738"/>
                  <a:pt x="15979" y="5738"/>
                </a:cubicBezTo>
                <a:lnTo>
                  <a:pt x="17340" y="5738"/>
                </a:lnTo>
                <a:cubicBezTo>
                  <a:pt x="17754" y="5738"/>
                  <a:pt x="18092" y="5418"/>
                  <a:pt x="18092" y="5014"/>
                </a:cubicBezTo>
                <a:lnTo>
                  <a:pt x="18092" y="735"/>
                </a:lnTo>
                <a:cubicBezTo>
                  <a:pt x="18092" y="330"/>
                  <a:pt x="17754" y="0"/>
                  <a:pt x="17340" y="0"/>
                </a:cubicBezTo>
                <a:lnTo>
                  <a:pt x="15979" y="0"/>
                </a:lnTo>
                <a:close/>
                <a:moveTo>
                  <a:pt x="7691" y="2420"/>
                </a:moveTo>
                <a:lnTo>
                  <a:pt x="7691" y="5035"/>
                </a:lnTo>
                <a:cubicBezTo>
                  <a:pt x="7691" y="6215"/>
                  <a:pt x="6696" y="7164"/>
                  <a:pt x="5489" y="7164"/>
                </a:cubicBezTo>
                <a:lnTo>
                  <a:pt x="4105" y="7164"/>
                </a:lnTo>
                <a:cubicBezTo>
                  <a:pt x="2897" y="7164"/>
                  <a:pt x="1925" y="6215"/>
                  <a:pt x="1925" y="5035"/>
                </a:cubicBezTo>
                <a:lnTo>
                  <a:pt x="1925" y="2431"/>
                </a:lnTo>
                <a:cubicBezTo>
                  <a:pt x="870" y="2462"/>
                  <a:pt x="0" y="3317"/>
                  <a:pt x="0" y="4365"/>
                </a:cubicBezTo>
                <a:lnTo>
                  <a:pt x="0" y="19655"/>
                </a:lnTo>
                <a:cubicBezTo>
                  <a:pt x="0" y="20723"/>
                  <a:pt x="887" y="21600"/>
                  <a:pt x="1981" y="21600"/>
                </a:cubicBezTo>
                <a:lnTo>
                  <a:pt x="19619" y="21600"/>
                </a:lnTo>
                <a:cubicBezTo>
                  <a:pt x="20711" y="21600"/>
                  <a:pt x="21600" y="20721"/>
                  <a:pt x="21600" y="19655"/>
                </a:cubicBezTo>
                <a:lnTo>
                  <a:pt x="21600" y="4365"/>
                </a:lnTo>
                <a:cubicBezTo>
                  <a:pt x="21600" y="3317"/>
                  <a:pt x="20741" y="2462"/>
                  <a:pt x="19686" y="2431"/>
                </a:cubicBezTo>
                <a:lnTo>
                  <a:pt x="19686" y="5035"/>
                </a:lnTo>
                <a:cubicBezTo>
                  <a:pt x="19686" y="6215"/>
                  <a:pt x="18703" y="7164"/>
                  <a:pt x="17495" y="7164"/>
                </a:cubicBezTo>
                <a:lnTo>
                  <a:pt x="16111" y="7164"/>
                </a:lnTo>
                <a:cubicBezTo>
                  <a:pt x="14904" y="7164"/>
                  <a:pt x="13909" y="6215"/>
                  <a:pt x="13909" y="5035"/>
                </a:cubicBezTo>
                <a:lnTo>
                  <a:pt x="13909" y="2420"/>
                </a:lnTo>
                <a:lnTo>
                  <a:pt x="7691" y="2420"/>
                </a:lnTo>
                <a:close/>
                <a:moveTo>
                  <a:pt x="3386" y="9963"/>
                </a:moveTo>
                <a:lnTo>
                  <a:pt x="18181" y="9963"/>
                </a:lnTo>
                <a:cubicBezTo>
                  <a:pt x="18654" y="9963"/>
                  <a:pt x="19044" y="10344"/>
                  <a:pt x="19044" y="10805"/>
                </a:cubicBezTo>
                <a:cubicBezTo>
                  <a:pt x="19044" y="10805"/>
                  <a:pt x="19044" y="18704"/>
                  <a:pt x="19044" y="18704"/>
                </a:cubicBezTo>
                <a:cubicBezTo>
                  <a:pt x="19044" y="19166"/>
                  <a:pt x="18654" y="19536"/>
                  <a:pt x="18181" y="19536"/>
                </a:cubicBezTo>
                <a:lnTo>
                  <a:pt x="3386" y="19536"/>
                </a:lnTo>
                <a:cubicBezTo>
                  <a:pt x="2913" y="19536"/>
                  <a:pt x="2523" y="19166"/>
                  <a:pt x="2523" y="18704"/>
                </a:cubicBezTo>
                <a:lnTo>
                  <a:pt x="2523" y="10805"/>
                </a:lnTo>
                <a:cubicBezTo>
                  <a:pt x="2523" y="10344"/>
                  <a:pt x="2913" y="9963"/>
                  <a:pt x="3386" y="9963"/>
                </a:cubicBezTo>
                <a:close/>
                <a:moveTo>
                  <a:pt x="5455" y="11411"/>
                </a:moveTo>
                <a:cubicBezTo>
                  <a:pt x="5178" y="11411"/>
                  <a:pt x="4957" y="11627"/>
                  <a:pt x="4957" y="11897"/>
                </a:cubicBezTo>
                <a:lnTo>
                  <a:pt x="4957" y="13604"/>
                </a:lnTo>
                <a:cubicBezTo>
                  <a:pt x="4957" y="13875"/>
                  <a:pt x="5178" y="14101"/>
                  <a:pt x="5455" y="14101"/>
                </a:cubicBezTo>
                <a:lnTo>
                  <a:pt x="7204" y="14101"/>
                </a:lnTo>
                <a:cubicBezTo>
                  <a:pt x="7481" y="14101"/>
                  <a:pt x="7713" y="13875"/>
                  <a:pt x="7713" y="13604"/>
                </a:cubicBezTo>
                <a:cubicBezTo>
                  <a:pt x="7713" y="13604"/>
                  <a:pt x="7713" y="11897"/>
                  <a:pt x="7713" y="11897"/>
                </a:cubicBezTo>
                <a:cubicBezTo>
                  <a:pt x="7713" y="11627"/>
                  <a:pt x="7481" y="11411"/>
                  <a:pt x="7204" y="11411"/>
                </a:cubicBezTo>
                <a:lnTo>
                  <a:pt x="5455" y="11411"/>
                </a:lnTo>
                <a:close/>
                <a:moveTo>
                  <a:pt x="9705" y="11411"/>
                </a:moveTo>
                <a:cubicBezTo>
                  <a:pt x="9428" y="11411"/>
                  <a:pt x="9207" y="11627"/>
                  <a:pt x="9207" y="11897"/>
                </a:cubicBezTo>
                <a:lnTo>
                  <a:pt x="9207" y="13604"/>
                </a:lnTo>
                <a:cubicBezTo>
                  <a:pt x="9207" y="13875"/>
                  <a:pt x="9428" y="14101"/>
                  <a:pt x="9705" y="14101"/>
                </a:cubicBezTo>
                <a:lnTo>
                  <a:pt x="11453" y="14101"/>
                </a:lnTo>
                <a:cubicBezTo>
                  <a:pt x="11730" y="14101"/>
                  <a:pt x="11962" y="13875"/>
                  <a:pt x="11962" y="13604"/>
                </a:cubicBezTo>
                <a:cubicBezTo>
                  <a:pt x="11962" y="13604"/>
                  <a:pt x="11962" y="11897"/>
                  <a:pt x="11962" y="11897"/>
                </a:cubicBezTo>
                <a:cubicBezTo>
                  <a:pt x="11962" y="11627"/>
                  <a:pt x="11730" y="11411"/>
                  <a:pt x="11453" y="11411"/>
                </a:cubicBezTo>
                <a:lnTo>
                  <a:pt x="9705" y="11411"/>
                </a:lnTo>
                <a:close/>
                <a:moveTo>
                  <a:pt x="14308" y="11411"/>
                </a:moveTo>
                <a:cubicBezTo>
                  <a:pt x="14030" y="11411"/>
                  <a:pt x="13810" y="11627"/>
                  <a:pt x="13810" y="11897"/>
                </a:cubicBezTo>
                <a:lnTo>
                  <a:pt x="13810" y="13604"/>
                </a:lnTo>
                <a:cubicBezTo>
                  <a:pt x="13810" y="13875"/>
                  <a:pt x="14030" y="14101"/>
                  <a:pt x="14308" y="14101"/>
                </a:cubicBezTo>
                <a:lnTo>
                  <a:pt x="16056" y="14101"/>
                </a:lnTo>
                <a:cubicBezTo>
                  <a:pt x="16333" y="14101"/>
                  <a:pt x="16565" y="13875"/>
                  <a:pt x="16565" y="13604"/>
                </a:cubicBezTo>
                <a:cubicBezTo>
                  <a:pt x="16565" y="13604"/>
                  <a:pt x="16565" y="11897"/>
                  <a:pt x="16565" y="11897"/>
                </a:cubicBezTo>
                <a:cubicBezTo>
                  <a:pt x="16565" y="11627"/>
                  <a:pt x="16333" y="11411"/>
                  <a:pt x="16056" y="11411"/>
                </a:cubicBezTo>
                <a:lnTo>
                  <a:pt x="14308" y="11411"/>
                </a:lnTo>
                <a:close/>
                <a:moveTo>
                  <a:pt x="5455" y="15560"/>
                </a:moveTo>
                <a:cubicBezTo>
                  <a:pt x="5178" y="15560"/>
                  <a:pt x="4957" y="15775"/>
                  <a:pt x="4957" y="16046"/>
                </a:cubicBezTo>
                <a:lnTo>
                  <a:pt x="4957" y="17753"/>
                </a:lnTo>
                <a:cubicBezTo>
                  <a:pt x="4957" y="18024"/>
                  <a:pt x="5178" y="18250"/>
                  <a:pt x="5455" y="18250"/>
                </a:cubicBezTo>
                <a:lnTo>
                  <a:pt x="7204" y="18250"/>
                </a:lnTo>
                <a:cubicBezTo>
                  <a:pt x="7481" y="18250"/>
                  <a:pt x="7713" y="18024"/>
                  <a:pt x="7713" y="17753"/>
                </a:cubicBezTo>
                <a:cubicBezTo>
                  <a:pt x="7713" y="17753"/>
                  <a:pt x="7713" y="16046"/>
                  <a:pt x="7713" y="16046"/>
                </a:cubicBezTo>
                <a:cubicBezTo>
                  <a:pt x="7713" y="15775"/>
                  <a:pt x="7481" y="15560"/>
                  <a:pt x="7204" y="15560"/>
                </a:cubicBezTo>
                <a:lnTo>
                  <a:pt x="5455" y="15560"/>
                </a:lnTo>
                <a:close/>
                <a:moveTo>
                  <a:pt x="9705" y="15560"/>
                </a:moveTo>
                <a:cubicBezTo>
                  <a:pt x="9428" y="15560"/>
                  <a:pt x="9207" y="15775"/>
                  <a:pt x="9207" y="16046"/>
                </a:cubicBezTo>
                <a:lnTo>
                  <a:pt x="9207" y="17753"/>
                </a:lnTo>
                <a:cubicBezTo>
                  <a:pt x="9207" y="18024"/>
                  <a:pt x="9428" y="18250"/>
                  <a:pt x="9705" y="18250"/>
                </a:cubicBezTo>
                <a:lnTo>
                  <a:pt x="11453" y="18250"/>
                </a:lnTo>
                <a:cubicBezTo>
                  <a:pt x="11730" y="18250"/>
                  <a:pt x="11962" y="18024"/>
                  <a:pt x="11962" y="17753"/>
                </a:cubicBezTo>
                <a:cubicBezTo>
                  <a:pt x="11962" y="17753"/>
                  <a:pt x="11962" y="16046"/>
                  <a:pt x="11962" y="16046"/>
                </a:cubicBezTo>
                <a:cubicBezTo>
                  <a:pt x="11962" y="15775"/>
                  <a:pt x="11730" y="15560"/>
                  <a:pt x="11453" y="15560"/>
                </a:cubicBezTo>
                <a:lnTo>
                  <a:pt x="9705" y="15560"/>
                </a:lnTo>
                <a:close/>
                <a:moveTo>
                  <a:pt x="14308" y="15560"/>
                </a:moveTo>
                <a:cubicBezTo>
                  <a:pt x="14030" y="15560"/>
                  <a:pt x="13810" y="15775"/>
                  <a:pt x="13810" y="16046"/>
                </a:cubicBezTo>
                <a:lnTo>
                  <a:pt x="13810" y="17753"/>
                </a:lnTo>
                <a:cubicBezTo>
                  <a:pt x="13810" y="18024"/>
                  <a:pt x="14030" y="18250"/>
                  <a:pt x="14308" y="18250"/>
                </a:cubicBezTo>
                <a:lnTo>
                  <a:pt x="16056" y="18250"/>
                </a:lnTo>
                <a:cubicBezTo>
                  <a:pt x="16332" y="18250"/>
                  <a:pt x="16565" y="18024"/>
                  <a:pt x="16565" y="17753"/>
                </a:cubicBezTo>
                <a:cubicBezTo>
                  <a:pt x="16565" y="17753"/>
                  <a:pt x="16565" y="16046"/>
                  <a:pt x="16565" y="16046"/>
                </a:cubicBezTo>
                <a:cubicBezTo>
                  <a:pt x="16565" y="15775"/>
                  <a:pt x="16332" y="15560"/>
                  <a:pt x="16056" y="15560"/>
                </a:cubicBezTo>
                <a:lnTo>
                  <a:pt x="14308" y="15560"/>
                </a:ln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55" name="Shape 17641"/>
          <p:cNvSpPr/>
          <p:nvPr/>
        </p:nvSpPr>
        <p:spPr>
          <a:xfrm>
            <a:off x="3890131" y="1520482"/>
            <a:ext cx="2127837" cy="2888213"/>
          </a:xfrm>
          <a:custGeom>
            <a:avLst/>
            <a:gdLst/>
            <a:ahLst/>
            <a:cxnLst>
              <a:cxn ang="0">
                <a:pos x="wd2" y="hd2"/>
              </a:cxn>
              <a:cxn ang="5400000">
                <a:pos x="wd2" y="hd2"/>
              </a:cxn>
              <a:cxn ang="10800000">
                <a:pos x="wd2" y="hd2"/>
              </a:cxn>
              <a:cxn ang="16200000">
                <a:pos x="wd2" y="hd2"/>
              </a:cxn>
            </a:cxnLst>
            <a:rect l="0" t="0" r="r" b="b"/>
            <a:pathLst>
              <a:path w="21600" h="21600" extrusionOk="0">
                <a:moveTo>
                  <a:pt x="11656" y="0"/>
                </a:moveTo>
                <a:lnTo>
                  <a:pt x="0" y="12414"/>
                </a:lnTo>
                <a:lnTo>
                  <a:pt x="11" y="17762"/>
                </a:lnTo>
                <a:lnTo>
                  <a:pt x="10828" y="21600"/>
                </a:lnTo>
                <a:lnTo>
                  <a:pt x="21600" y="17683"/>
                </a:lnTo>
                <a:lnTo>
                  <a:pt x="21600" y="0"/>
                </a:lnTo>
                <a:lnTo>
                  <a:pt x="11656" y="0"/>
                </a:lnTo>
                <a:close/>
              </a:path>
            </a:pathLst>
          </a:custGeom>
          <a:solidFill>
            <a:schemeClr val="bg1">
              <a:lumMod val="95000"/>
            </a:schemeClr>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sz="1200"/>
          </a:p>
        </p:txBody>
      </p:sp>
      <p:sp>
        <p:nvSpPr>
          <p:cNvPr id="56" name="Freeform 55"/>
          <p:cNvSpPr/>
          <p:nvPr/>
        </p:nvSpPr>
        <p:spPr>
          <a:xfrm>
            <a:off x="3888000" y="1520482"/>
            <a:ext cx="2130002" cy="1659975"/>
          </a:xfrm>
          <a:custGeom>
            <a:avLst/>
            <a:gdLst>
              <a:gd name="connsiteX0" fmla="*/ 1542621 w 3124003"/>
              <a:gd name="connsiteY0" fmla="*/ 0 h 2434630"/>
              <a:gd name="connsiteX1" fmla="*/ 1687251 w 3124003"/>
              <a:gd name="connsiteY1" fmla="*/ 0 h 2434630"/>
              <a:gd name="connsiteX2" fmla="*/ 1687282 w 3124003"/>
              <a:gd name="connsiteY2" fmla="*/ 0 h 2434630"/>
              <a:gd name="connsiteX3" fmla="*/ 3124003 w 3124003"/>
              <a:gd name="connsiteY3" fmla="*/ 0 h 2434630"/>
              <a:gd name="connsiteX4" fmla="*/ 3124003 w 3124003"/>
              <a:gd name="connsiteY4" fmla="*/ 984870 h 2434630"/>
              <a:gd name="connsiteX5" fmla="*/ 3124003 w 3124003"/>
              <a:gd name="connsiteY5" fmla="*/ 984898 h 2434630"/>
              <a:gd name="connsiteX6" fmla="*/ 2250295 w 3124003"/>
              <a:gd name="connsiteY6" fmla="*/ 1371396 h 2434630"/>
              <a:gd name="connsiteX7" fmla="*/ 2250288 w 3124003"/>
              <a:gd name="connsiteY7" fmla="*/ 1371390 h 2434630"/>
              <a:gd name="connsiteX8" fmla="*/ 2250260 w 3124003"/>
              <a:gd name="connsiteY8" fmla="*/ 1371402 h 2434630"/>
              <a:gd name="connsiteX9" fmla="*/ 2003348 w 3124003"/>
              <a:gd name="connsiteY9" fmla="*/ 1149535 h 2434630"/>
              <a:gd name="connsiteX10" fmla="*/ 1318011 w 3124003"/>
              <a:gd name="connsiteY10" fmla="*/ 533815 h 2434630"/>
              <a:gd name="connsiteX11" fmla="*/ 3182 w 3124003"/>
              <a:gd name="connsiteY11" fmla="*/ 2434630 h 2434630"/>
              <a:gd name="connsiteX12" fmla="*/ 3037 w 3124003"/>
              <a:gd name="connsiteY12" fmla="*/ 2225883 h 2434630"/>
              <a:gd name="connsiteX13" fmla="*/ 0 w 3124003"/>
              <a:gd name="connsiteY13" fmla="*/ 0 h 2434630"/>
              <a:gd name="connsiteX14" fmla="*/ 724098 w 3124003"/>
              <a:gd name="connsiteY14" fmla="*/ 0 h 2434630"/>
              <a:gd name="connsiteX15" fmla="*/ 724161 w 3124003"/>
              <a:gd name="connsiteY15" fmla="*/ 0 h 2434630"/>
              <a:gd name="connsiteX16" fmla="*/ 1386850 w 3124003"/>
              <a:gd name="connsiteY16" fmla="*/ 0 h 2434630"/>
              <a:gd name="connsiteX17" fmla="*/ 1386855 w 3124003"/>
              <a:gd name="connsiteY17" fmla="*/ 0 h 2434630"/>
              <a:gd name="connsiteX18" fmla="*/ 2748 w 3124003"/>
              <a:gd name="connsiteY18" fmla="*/ 2000680 h 243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24003" h="2434630">
                <a:moveTo>
                  <a:pt x="1542621" y="0"/>
                </a:moveTo>
                <a:lnTo>
                  <a:pt x="1687251" y="0"/>
                </a:lnTo>
                <a:lnTo>
                  <a:pt x="1687282" y="0"/>
                </a:lnTo>
                <a:lnTo>
                  <a:pt x="3124003" y="0"/>
                </a:lnTo>
                <a:lnTo>
                  <a:pt x="3124003" y="984870"/>
                </a:lnTo>
                <a:lnTo>
                  <a:pt x="3124003" y="984898"/>
                </a:lnTo>
                <a:lnTo>
                  <a:pt x="2250295" y="1371396"/>
                </a:lnTo>
                <a:lnTo>
                  <a:pt x="2250288" y="1371390"/>
                </a:lnTo>
                <a:lnTo>
                  <a:pt x="2250260" y="1371402"/>
                </a:lnTo>
                <a:lnTo>
                  <a:pt x="2003348" y="1149535"/>
                </a:lnTo>
                <a:lnTo>
                  <a:pt x="1318011" y="533815"/>
                </a:lnTo>
                <a:lnTo>
                  <a:pt x="3182" y="2434630"/>
                </a:lnTo>
                <a:lnTo>
                  <a:pt x="3037" y="2225883"/>
                </a:lnTo>
                <a:close/>
                <a:moveTo>
                  <a:pt x="0" y="0"/>
                </a:moveTo>
                <a:lnTo>
                  <a:pt x="724098" y="0"/>
                </a:lnTo>
                <a:lnTo>
                  <a:pt x="724161" y="0"/>
                </a:lnTo>
                <a:lnTo>
                  <a:pt x="1386850" y="0"/>
                </a:lnTo>
                <a:lnTo>
                  <a:pt x="1386855" y="0"/>
                </a:lnTo>
                <a:lnTo>
                  <a:pt x="2748" y="2000680"/>
                </a:lnTo>
                <a:close/>
              </a:path>
            </a:pathLst>
          </a:custGeom>
          <a:solidFill>
            <a:srgbClr val="548235"/>
          </a:solidFill>
          <a:ln>
            <a:noFill/>
          </a:ln>
          <a:effectLst>
            <a:outerShdw blurRad="266700" dist="508000" dir="1920000" sx="81000" sy="81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sz="1200"/>
          </a:p>
        </p:txBody>
      </p:sp>
      <p:sp>
        <p:nvSpPr>
          <p:cNvPr id="57" name="Shape 17647"/>
          <p:cNvSpPr/>
          <p:nvPr/>
        </p:nvSpPr>
        <p:spPr>
          <a:xfrm>
            <a:off x="4025928" y="1747926"/>
            <a:ext cx="537747" cy="225446"/>
          </a:xfrm>
          <a:prstGeom prst="rect">
            <a:avLst/>
          </a:prstGeom>
          <a:noFill/>
          <a:ln w="12700" cap="flat">
            <a:noFill/>
            <a:miter lim="400000"/>
          </a:ln>
          <a:effectLst/>
        </p:spPr>
        <p:txBody>
          <a:bodyPr wrap="square" lIns="19050" tIns="19050" rIns="19050" bIns="19050" numCol="1" anchor="t">
            <a:spAutoFit/>
          </a:bodyPr>
          <a:lstStyle/>
          <a:p>
            <a:pPr algn="l">
              <a:lnSpc>
                <a:spcPct val="90000"/>
              </a:lnSpc>
              <a:defRPr sz="2000">
                <a:solidFill>
                  <a:srgbClr val="FFFFFF"/>
                </a:solidFill>
                <a:latin typeface="Helvetica"/>
                <a:ea typeface="Helvetica"/>
                <a:cs typeface="Helvetica"/>
                <a:sym typeface="Helvetica"/>
              </a:defRPr>
            </a:pPr>
            <a:r>
              <a:rPr sz="675">
                <a:latin typeface="Lato" panose="020F0502020204030203" pitchFamily="34" charset="0"/>
                <a:cs typeface="Lato" panose="020F0502020204030203" pitchFamily="34" charset="0"/>
              </a:rPr>
              <a:t>BASIC</a:t>
            </a:r>
            <a:endParaRPr sz="675">
              <a:latin typeface="Lato" panose="020F0502020204030203" pitchFamily="34" charset="0"/>
              <a:cs typeface="Lato" panose="020F0502020204030203" pitchFamily="34" charset="0"/>
            </a:endParaRPr>
          </a:p>
          <a:p>
            <a:pPr algn="l">
              <a:lnSpc>
                <a:spcPct val="90000"/>
              </a:lnSpc>
              <a:defRPr sz="2000">
                <a:solidFill>
                  <a:srgbClr val="FFFFFF"/>
                </a:solidFill>
                <a:latin typeface="Helvetica"/>
                <a:ea typeface="Helvetica"/>
                <a:cs typeface="Helvetica"/>
                <a:sym typeface="Helvetica"/>
              </a:defRPr>
            </a:pPr>
            <a:r>
              <a:rPr sz="675">
                <a:latin typeface="Lato" panose="020F0502020204030203" pitchFamily="34" charset="0"/>
                <a:cs typeface="Lato" panose="020F0502020204030203" pitchFamily="34" charset="0"/>
              </a:rPr>
              <a:t>PACK</a:t>
            </a:r>
            <a:endParaRPr sz="675">
              <a:latin typeface="Lato" panose="020F0502020204030203" pitchFamily="34" charset="0"/>
              <a:cs typeface="Lato" panose="020F0502020204030203" pitchFamily="34" charset="0"/>
            </a:endParaRPr>
          </a:p>
        </p:txBody>
      </p:sp>
      <p:sp>
        <p:nvSpPr>
          <p:cNvPr id="58" name="Shape 17648"/>
          <p:cNvSpPr/>
          <p:nvPr/>
        </p:nvSpPr>
        <p:spPr>
          <a:xfrm>
            <a:off x="4987187" y="1654408"/>
            <a:ext cx="878444" cy="422808"/>
          </a:xfrm>
          <a:prstGeom prst="rect">
            <a:avLst/>
          </a:prstGeom>
          <a:noFill/>
          <a:ln w="12700" cap="flat">
            <a:noFill/>
            <a:miter lim="400000"/>
          </a:ln>
          <a:effectLst/>
        </p:spPr>
        <p:txBody>
          <a:bodyPr wrap="square" lIns="19050" tIns="19050" rIns="19050" bIns="19050" numCol="1" anchor="t">
            <a:spAutoFit/>
          </a:bodyPr>
          <a:lstStyle/>
          <a:p>
            <a:pPr algn="r">
              <a:lnSpc>
                <a:spcPct val="90000"/>
              </a:lnSpc>
              <a:defRPr sz="6000">
                <a:solidFill>
                  <a:srgbClr val="FFFFFF"/>
                </a:solidFill>
                <a:latin typeface="Helvetica"/>
                <a:ea typeface="Helvetica"/>
                <a:cs typeface="Helvetica"/>
                <a:sym typeface="Helvetica"/>
              </a:defRPr>
            </a:pPr>
            <a:r>
              <a:rPr sz="2100">
                <a:latin typeface="Lato" panose="020F0502020204030203" pitchFamily="34" charset="0"/>
                <a:cs typeface="Lato" panose="020F0502020204030203" pitchFamily="34" charset="0"/>
              </a:rPr>
              <a:t>$99.99</a:t>
            </a:r>
            <a:endParaRPr sz="2100">
              <a:latin typeface="Lato" panose="020F0502020204030203" pitchFamily="34" charset="0"/>
              <a:cs typeface="Lato" panose="020F0502020204030203" pitchFamily="34" charset="0"/>
            </a:endParaRPr>
          </a:p>
          <a:p>
            <a:pPr algn="r">
              <a:lnSpc>
                <a:spcPct val="90000"/>
              </a:lnSpc>
              <a:defRPr sz="2000">
                <a:solidFill>
                  <a:srgbClr val="FFFFFF"/>
                </a:solidFill>
                <a:latin typeface="Helvetica"/>
                <a:ea typeface="Helvetica"/>
                <a:cs typeface="Helvetica"/>
                <a:sym typeface="Helvetica"/>
              </a:defRPr>
            </a:pPr>
            <a:r>
              <a:rPr sz="675">
                <a:latin typeface="Lato" panose="020F0502020204030203" pitchFamily="34" charset="0"/>
                <a:cs typeface="Lato" panose="020F0502020204030203" pitchFamily="34" charset="0"/>
              </a:rPr>
              <a:t>PER MONTH</a:t>
            </a:r>
            <a:endParaRPr sz="675">
              <a:latin typeface="Lato" panose="020F0502020204030203" pitchFamily="34" charset="0"/>
              <a:cs typeface="Lato" panose="020F0502020204030203" pitchFamily="34" charset="0"/>
            </a:endParaRPr>
          </a:p>
        </p:txBody>
      </p:sp>
      <p:sp>
        <p:nvSpPr>
          <p:cNvPr id="60" name="Shape 17650"/>
          <p:cNvSpPr/>
          <p:nvPr/>
        </p:nvSpPr>
        <p:spPr>
          <a:xfrm>
            <a:off x="4678898" y="2575896"/>
            <a:ext cx="1265523" cy="1134926"/>
          </a:xfrm>
          <a:prstGeom prst="rect">
            <a:avLst/>
          </a:prstGeom>
          <a:noFill/>
          <a:ln w="12700" cap="flat">
            <a:noFill/>
            <a:miter lim="400000"/>
          </a:ln>
          <a:effectLst/>
        </p:spPr>
        <p:txBody>
          <a:bodyPr wrap="square" lIns="19050" tIns="19050" rIns="19050" bIns="19050" numCol="1" anchor="t">
            <a:spAutoFit/>
          </a:bodyPr>
          <a:lstStyle/>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Lifetime Support</a:t>
            </a:r>
            <a:endParaRPr sz="750" dirty="0">
              <a:solidFill>
                <a:schemeClr val="tx1">
                  <a:lumMod val="85000"/>
                  <a:lumOff val="15000"/>
                </a:schemeClr>
              </a:solidFill>
              <a:latin typeface="Lato" panose="020F0502020204030203" pitchFamily="34" charset="0"/>
              <a:cs typeface="Lato" panose="020F0502020204030203" pitchFamily="34" charset="0"/>
            </a:endParaRPr>
          </a:p>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Advance Option</a:t>
            </a:r>
            <a:endParaRPr sz="750" dirty="0">
              <a:solidFill>
                <a:schemeClr val="tx1">
                  <a:lumMod val="85000"/>
                  <a:lumOff val="15000"/>
                </a:schemeClr>
              </a:solidFill>
              <a:latin typeface="Lato" panose="020F0502020204030203" pitchFamily="34" charset="0"/>
              <a:cs typeface="Lato" panose="020F0502020204030203" pitchFamily="34" charset="0"/>
            </a:endParaRPr>
          </a:p>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Free Update (Monthly)</a:t>
            </a:r>
            <a:endParaRPr sz="750" dirty="0">
              <a:solidFill>
                <a:schemeClr val="tx1">
                  <a:lumMod val="85000"/>
                  <a:lumOff val="15000"/>
                </a:schemeClr>
              </a:solidFill>
              <a:latin typeface="Lato" panose="020F0502020204030203" pitchFamily="34" charset="0"/>
              <a:cs typeface="Lato" panose="020F0502020204030203" pitchFamily="34" charset="0"/>
            </a:endParaRPr>
          </a:p>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30 Email boxes</a:t>
            </a:r>
            <a:endParaRPr sz="750" dirty="0">
              <a:solidFill>
                <a:schemeClr val="tx1">
                  <a:lumMod val="85000"/>
                  <a:lumOff val="15000"/>
                </a:schemeClr>
              </a:solidFill>
              <a:latin typeface="Lato" panose="020F0502020204030203" pitchFamily="34" charset="0"/>
              <a:cs typeface="Lato" panose="020F0502020204030203" pitchFamily="34" charset="0"/>
            </a:endParaRPr>
          </a:p>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24/7 Phone Support</a:t>
            </a:r>
            <a:endParaRPr sz="750" dirty="0">
              <a:solidFill>
                <a:schemeClr val="tx1">
                  <a:lumMod val="85000"/>
                  <a:lumOff val="15000"/>
                </a:schemeClr>
              </a:solidFill>
              <a:latin typeface="Lato" panose="020F0502020204030203" pitchFamily="34" charset="0"/>
              <a:cs typeface="Lato" panose="020F0502020204030203" pitchFamily="34" charset="0"/>
            </a:endParaRPr>
          </a:p>
        </p:txBody>
      </p:sp>
      <p:sp>
        <p:nvSpPr>
          <p:cNvPr id="61" name="Shape 17656"/>
          <p:cNvSpPr/>
          <p:nvPr/>
        </p:nvSpPr>
        <p:spPr>
          <a:xfrm>
            <a:off x="4484493" y="2894953"/>
            <a:ext cx="87280" cy="72960"/>
          </a:xfrm>
          <a:custGeom>
            <a:avLst/>
            <a:gdLst/>
            <a:ahLst/>
            <a:cxnLst>
              <a:cxn ang="0">
                <a:pos x="wd2" y="hd2"/>
              </a:cxn>
              <a:cxn ang="5400000">
                <a:pos x="wd2" y="hd2"/>
              </a:cxn>
              <a:cxn ang="10800000">
                <a:pos x="wd2" y="hd2"/>
              </a:cxn>
              <a:cxn ang="16200000">
                <a:pos x="wd2" y="hd2"/>
              </a:cxn>
            </a:cxnLst>
            <a:rect l="0" t="0" r="r" b="b"/>
            <a:pathLst>
              <a:path w="21600" h="21600" extrusionOk="0">
                <a:moveTo>
                  <a:pt x="904" y="0"/>
                </a:moveTo>
                <a:cubicBezTo>
                  <a:pt x="363" y="0"/>
                  <a:pt x="0" y="434"/>
                  <a:pt x="0" y="1081"/>
                </a:cubicBezTo>
                <a:lnTo>
                  <a:pt x="0" y="3222"/>
                </a:lnTo>
                <a:cubicBezTo>
                  <a:pt x="0" y="3869"/>
                  <a:pt x="363" y="4303"/>
                  <a:pt x="904" y="4303"/>
                </a:cubicBezTo>
                <a:lnTo>
                  <a:pt x="20696" y="4303"/>
                </a:lnTo>
                <a:cubicBezTo>
                  <a:pt x="21237" y="4303"/>
                  <a:pt x="21600" y="3869"/>
                  <a:pt x="21600" y="3222"/>
                </a:cubicBezTo>
                <a:cubicBezTo>
                  <a:pt x="21600" y="3222"/>
                  <a:pt x="21600" y="1081"/>
                  <a:pt x="21600" y="1081"/>
                </a:cubicBezTo>
                <a:cubicBezTo>
                  <a:pt x="21600" y="434"/>
                  <a:pt x="21237" y="0"/>
                  <a:pt x="20696" y="0"/>
                </a:cubicBezTo>
                <a:lnTo>
                  <a:pt x="904" y="0"/>
                </a:lnTo>
                <a:close/>
                <a:moveTo>
                  <a:pt x="904" y="8818"/>
                </a:moveTo>
                <a:cubicBezTo>
                  <a:pt x="363" y="8818"/>
                  <a:pt x="0" y="9253"/>
                  <a:pt x="0" y="9899"/>
                </a:cubicBezTo>
                <a:lnTo>
                  <a:pt x="0" y="12051"/>
                </a:lnTo>
                <a:cubicBezTo>
                  <a:pt x="0" y="12697"/>
                  <a:pt x="363" y="13132"/>
                  <a:pt x="904" y="13132"/>
                </a:cubicBezTo>
                <a:lnTo>
                  <a:pt x="20696" y="13132"/>
                </a:lnTo>
                <a:cubicBezTo>
                  <a:pt x="21237" y="13132"/>
                  <a:pt x="21600" y="12697"/>
                  <a:pt x="21600" y="12051"/>
                </a:cubicBezTo>
                <a:cubicBezTo>
                  <a:pt x="21600" y="12051"/>
                  <a:pt x="21600" y="9899"/>
                  <a:pt x="21600" y="9899"/>
                </a:cubicBezTo>
                <a:cubicBezTo>
                  <a:pt x="21600" y="9253"/>
                  <a:pt x="21237" y="8818"/>
                  <a:pt x="20696" y="8818"/>
                </a:cubicBezTo>
                <a:lnTo>
                  <a:pt x="904" y="8818"/>
                </a:lnTo>
                <a:close/>
                <a:moveTo>
                  <a:pt x="904" y="17297"/>
                </a:moveTo>
                <a:cubicBezTo>
                  <a:pt x="363" y="17297"/>
                  <a:pt x="0" y="17730"/>
                  <a:pt x="0" y="18378"/>
                </a:cubicBezTo>
                <a:lnTo>
                  <a:pt x="0" y="20519"/>
                </a:lnTo>
                <a:cubicBezTo>
                  <a:pt x="0" y="21167"/>
                  <a:pt x="363" y="21600"/>
                  <a:pt x="904" y="21600"/>
                </a:cubicBezTo>
                <a:lnTo>
                  <a:pt x="20696" y="21600"/>
                </a:lnTo>
                <a:cubicBezTo>
                  <a:pt x="21237" y="21600"/>
                  <a:pt x="21600" y="21167"/>
                  <a:pt x="21600" y="20519"/>
                </a:cubicBezTo>
                <a:cubicBezTo>
                  <a:pt x="21600" y="20519"/>
                  <a:pt x="21600" y="18378"/>
                  <a:pt x="21600" y="18378"/>
                </a:cubicBezTo>
                <a:cubicBezTo>
                  <a:pt x="21600" y="17730"/>
                  <a:pt x="21237" y="17297"/>
                  <a:pt x="20696" y="17297"/>
                </a:cubicBezTo>
                <a:lnTo>
                  <a:pt x="904" y="17297"/>
                </a:ln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62" name="Shape 17657"/>
          <p:cNvSpPr/>
          <p:nvPr/>
        </p:nvSpPr>
        <p:spPr>
          <a:xfrm>
            <a:off x="4480102" y="3294364"/>
            <a:ext cx="91670" cy="75651"/>
          </a:xfrm>
          <a:custGeom>
            <a:avLst/>
            <a:gdLst/>
            <a:ahLst/>
            <a:cxnLst>
              <a:cxn ang="0">
                <a:pos x="wd2" y="hd2"/>
              </a:cxn>
              <a:cxn ang="5400000">
                <a:pos x="wd2" y="hd2"/>
              </a:cxn>
              <a:cxn ang="10800000">
                <a:pos x="wd2" y="hd2"/>
              </a:cxn>
              <a:cxn ang="16200000">
                <a:pos x="wd2" y="hd2"/>
              </a:cxn>
            </a:cxnLst>
            <a:rect l="0" t="0" r="r" b="b"/>
            <a:pathLst>
              <a:path w="21600" h="21600" extrusionOk="0">
                <a:moveTo>
                  <a:pt x="2629" y="0"/>
                </a:moveTo>
                <a:cubicBezTo>
                  <a:pt x="2275" y="0"/>
                  <a:pt x="1989" y="346"/>
                  <a:pt x="1989" y="775"/>
                </a:cubicBezTo>
                <a:lnTo>
                  <a:pt x="1989" y="7222"/>
                </a:lnTo>
                <a:cubicBezTo>
                  <a:pt x="1989" y="7475"/>
                  <a:pt x="2089" y="7703"/>
                  <a:pt x="2256" y="7846"/>
                </a:cubicBezTo>
                <a:lnTo>
                  <a:pt x="10391" y="14874"/>
                </a:lnTo>
                <a:cubicBezTo>
                  <a:pt x="10502" y="14969"/>
                  <a:pt x="10635" y="15024"/>
                  <a:pt x="10764" y="15024"/>
                </a:cubicBezTo>
                <a:cubicBezTo>
                  <a:pt x="10894" y="15024"/>
                  <a:pt x="11023" y="14969"/>
                  <a:pt x="11137" y="14874"/>
                </a:cubicBezTo>
                <a:lnTo>
                  <a:pt x="19273" y="7846"/>
                </a:lnTo>
                <a:cubicBezTo>
                  <a:pt x="19441" y="7698"/>
                  <a:pt x="19539" y="7471"/>
                  <a:pt x="19539" y="7222"/>
                </a:cubicBezTo>
                <a:lnTo>
                  <a:pt x="19539" y="775"/>
                </a:lnTo>
                <a:cubicBezTo>
                  <a:pt x="19539" y="346"/>
                  <a:pt x="19254" y="0"/>
                  <a:pt x="18900" y="0"/>
                </a:cubicBezTo>
                <a:lnTo>
                  <a:pt x="2629" y="0"/>
                </a:lnTo>
                <a:close/>
                <a:moveTo>
                  <a:pt x="3268" y="1550"/>
                </a:moveTo>
                <a:lnTo>
                  <a:pt x="18261" y="1550"/>
                </a:lnTo>
                <a:lnTo>
                  <a:pt x="18261" y="6813"/>
                </a:lnTo>
                <a:lnTo>
                  <a:pt x="10764" y="13291"/>
                </a:lnTo>
                <a:lnTo>
                  <a:pt x="3268" y="6813"/>
                </a:lnTo>
                <a:cubicBezTo>
                  <a:pt x="3268" y="6813"/>
                  <a:pt x="3268" y="1550"/>
                  <a:pt x="3268" y="1550"/>
                </a:cubicBezTo>
                <a:close/>
                <a:moveTo>
                  <a:pt x="5809" y="3100"/>
                </a:moveTo>
                <a:cubicBezTo>
                  <a:pt x="5424" y="3100"/>
                  <a:pt x="5116" y="3474"/>
                  <a:pt x="5116" y="3939"/>
                </a:cubicBezTo>
                <a:cubicBezTo>
                  <a:pt x="5116" y="4406"/>
                  <a:pt x="5424" y="4778"/>
                  <a:pt x="5809" y="4778"/>
                </a:cubicBezTo>
                <a:lnTo>
                  <a:pt x="15338" y="4778"/>
                </a:lnTo>
                <a:cubicBezTo>
                  <a:pt x="15723" y="4778"/>
                  <a:pt x="16031" y="4406"/>
                  <a:pt x="16031" y="3939"/>
                </a:cubicBezTo>
                <a:cubicBezTo>
                  <a:pt x="16031" y="3474"/>
                  <a:pt x="15723" y="3100"/>
                  <a:pt x="15338" y="3100"/>
                </a:cubicBezTo>
                <a:lnTo>
                  <a:pt x="5809" y="3100"/>
                </a:lnTo>
                <a:close/>
                <a:moveTo>
                  <a:pt x="5809" y="6199"/>
                </a:moveTo>
                <a:cubicBezTo>
                  <a:pt x="5424" y="6199"/>
                  <a:pt x="5116" y="6572"/>
                  <a:pt x="5116" y="7039"/>
                </a:cubicBezTo>
                <a:cubicBezTo>
                  <a:pt x="5116" y="7504"/>
                  <a:pt x="5424" y="7878"/>
                  <a:pt x="5809" y="7878"/>
                </a:cubicBezTo>
                <a:lnTo>
                  <a:pt x="15338" y="7878"/>
                </a:lnTo>
                <a:cubicBezTo>
                  <a:pt x="15723" y="7878"/>
                  <a:pt x="16031" y="7504"/>
                  <a:pt x="16031" y="7039"/>
                </a:cubicBezTo>
                <a:cubicBezTo>
                  <a:pt x="16031" y="6577"/>
                  <a:pt x="15723" y="6199"/>
                  <a:pt x="15338" y="6199"/>
                </a:cubicBezTo>
                <a:lnTo>
                  <a:pt x="5809" y="6199"/>
                </a:lnTo>
                <a:close/>
                <a:moveTo>
                  <a:pt x="0" y="6543"/>
                </a:moveTo>
                <a:lnTo>
                  <a:pt x="0" y="21600"/>
                </a:lnTo>
                <a:lnTo>
                  <a:pt x="21600" y="21600"/>
                </a:lnTo>
                <a:lnTo>
                  <a:pt x="21600" y="6543"/>
                </a:lnTo>
                <a:cubicBezTo>
                  <a:pt x="21600" y="6543"/>
                  <a:pt x="18936" y="8847"/>
                  <a:pt x="18936" y="8847"/>
                </a:cubicBezTo>
                <a:lnTo>
                  <a:pt x="10800" y="15874"/>
                </a:lnTo>
                <a:lnTo>
                  <a:pt x="2664" y="8847"/>
                </a:lnTo>
                <a:lnTo>
                  <a:pt x="0" y="6543"/>
                </a:ln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63" name="Shape 17658"/>
          <p:cNvSpPr/>
          <p:nvPr/>
        </p:nvSpPr>
        <p:spPr>
          <a:xfrm>
            <a:off x="4480102" y="3089269"/>
            <a:ext cx="91670" cy="85085"/>
          </a:xfrm>
          <a:custGeom>
            <a:avLst/>
            <a:gdLst/>
            <a:ahLst/>
            <a:cxnLst>
              <a:cxn ang="0">
                <a:pos x="wd2" y="hd2"/>
              </a:cxn>
              <a:cxn ang="5400000">
                <a:pos x="wd2" y="hd2"/>
              </a:cxn>
              <a:cxn ang="10800000">
                <a:pos x="wd2" y="hd2"/>
              </a:cxn>
              <a:cxn ang="16200000">
                <a:pos x="wd2" y="hd2"/>
              </a:cxn>
            </a:cxnLst>
            <a:rect l="0" t="0" r="r" b="b"/>
            <a:pathLst>
              <a:path w="21499" h="21600" extrusionOk="0">
                <a:moveTo>
                  <a:pt x="10802" y="0"/>
                </a:moveTo>
                <a:cubicBezTo>
                  <a:pt x="6813" y="0"/>
                  <a:pt x="3297" y="2576"/>
                  <a:pt x="1796" y="6506"/>
                </a:cubicBezTo>
                <a:lnTo>
                  <a:pt x="869" y="6105"/>
                </a:lnTo>
                <a:cubicBezTo>
                  <a:pt x="630" y="6003"/>
                  <a:pt x="362" y="6067"/>
                  <a:pt x="186" y="6263"/>
                </a:cubicBezTo>
                <a:cubicBezTo>
                  <a:pt x="7" y="6463"/>
                  <a:pt x="-52" y="6760"/>
                  <a:pt x="49" y="7013"/>
                </a:cubicBezTo>
                <a:lnTo>
                  <a:pt x="1639" y="11038"/>
                </a:lnTo>
                <a:cubicBezTo>
                  <a:pt x="1706" y="11205"/>
                  <a:pt x="1835" y="11341"/>
                  <a:pt x="1991" y="11407"/>
                </a:cubicBezTo>
                <a:cubicBezTo>
                  <a:pt x="2147" y="11475"/>
                  <a:pt x="2325" y="11480"/>
                  <a:pt x="2479" y="11407"/>
                </a:cubicBezTo>
                <a:lnTo>
                  <a:pt x="6196" y="9675"/>
                </a:lnTo>
                <a:cubicBezTo>
                  <a:pt x="6430" y="9566"/>
                  <a:pt x="6589" y="9318"/>
                  <a:pt x="6587" y="9041"/>
                </a:cubicBezTo>
                <a:cubicBezTo>
                  <a:pt x="6582" y="8763"/>
                  <a:pt x="6423" y="8523"/>
                  <a:pt x="6186" y="8418"/>
                </a:cubicBezTo>
                <a:lnTo>
                  <a:pt x="5162" y="7975"/>
                </a:lnTo>
                <a:cubicBezTo>
                  <a:pt x="6106" y="5570"/>
                  <a:pt x="8315" y="3929"/>
                  <a:pt x="10802" y="3929"/>
                </a:cubicBezTo>
                <a:cubicBezTo>
                  <a:pt x="13298" y="3929"/>
                  <a:pt x="15505" y="5594"/>
                  <a:pt x="16442" y="7996"/>
                </a:cubicBezTo>
                <a:cubicBezTo>
                  <a:pt x="16766" y="8821"/>
                  <a:pt x="17580" y="9287"/>
                  <a:pt x="18393" y="9115"/>
                </a:cubicBezTo>
                <a:lnTo>
                  <a:pt x="18520" y="9094"/>
                </a:lnTo>
                <a:cubicBezTo>
                  <a:pt x="19039" y="8985"/>
                  <a:pt x="19482" y="8627"/>
                  <a:pt x="19730" y="8122"/>
                </a:cubicBezTo>
                <a:cubicBezTo>
                  <a:pt x="19978" y="7618"/>
                  <a:pt x="20003" y="7023"/>
                  <a:pt x="19798" y="6496"/>
                </a:cubicBezTo>
                <a:cubicBezTo>
                  <a:pt x="18310" y="2658"/>
                  <a:pt x="14786" y="0"/>
                  <a:pt x="10802" y="0"/>
                </a:cubicBezTo>
                <a:close/>
                <a:moveTo>
                  <a:pt x="19506" y="10182"/>
                </a:moveTo>
                <a:cubicBezTo>
                  <a:pt x="19349" y="10115"/>
                  <a:pt x="19181" y="10123"/>
                  <a:pt x="19027" y="10193"/>
                </a:cubicBezTo>
                <a:lnTo>
                  <a:pt x="15300" y="11914"/>
                </a:lnTo>
                <a:cubicBezTo>
                  <a:pt x="15066" y="12021"/>
                  <a:pt x="14917" y="12283"/>
                  <a:pt x="14920" y="12559"/>
                </a:cubicBezTo>
                <a:cubicBezTo>
                  <a:pt x="14924" y="12835"/>
                  <a:pt x="15073" y="13080"/>
                  <a:pt x="15310" y="13182"/>
                </a:cubicBezTo>
                <a:lnTo>
                  <a:pt x="16334" y="13625"/>
                </a:lnTo>
                <a:cubicBezTo>
                  <a:pt x="15390" y="16029"/>
                  <a:pt x="13182" y="17671"/>
                  <a:pt x="10694" y="17671"/>
                </a:cubicBezTo>
                <a:cubicBezTo>
                  <a:pt x="8198" y="17671"/>
                  <a:pt x="5992" y="16008"/>
                  <a:pt x="5055" y="13604"/>
                </a:cubicBezTo>
                <a:cubicBezTo>
                  <a:pt x="4731" y="12779"/>
                  <a:pt x="3916" y="12302"/>
                  <a:pt x="3103" y="12474"/>
                </a:cubicBezTo>
                <a:lnTo>
                  <a:pt x="2976" y="12506"/>
                </a:lnTo>
                <a:cubicBezTo>
                  <a:pt x="2457" y="12613"/>
                  <a:pt x="2014" y="12965"/>
                  <a:pt x="1766" y="13467"/>
                </a:cubicBezTo>
                <a:cubicBezTo>
                  <a:pt x="1518" y="13972"/>
                  <a:pt x="1494" y="14577"/>
                  <a:pt x="1698" y="15104"/>
                </a:cubicBezTo>
                <a:cubicBezTo>
                  <a:pt x="3188" y="18940"/>
                  <a:pt x="6710" y="21600"/>
                  <a:pt x="10694" y="21600"/>
                </a:cubicBezTo>
                <a:cubicBezTo>
                  <a:pt x="14686" y="21600"/>
                  <a:pt x="18209" y="19023"/>
                  <a:pt x="19711" y="15094"/>
                </a:cubicBezTo>
                <a:lnTo>
                  <a:pt x="20637" y="15484"/>
                </a:lnTo>
                <a:cubicBezTo>
                  <a:pt x="20874" y="15589"/>
                  <a:pt x="21141" y="15535"/>
                  <a:pt x="21321" y="15337"/>
                </a:cubicBezTo>
                <a:cubicBezTo>
                  <a:pt x="21497" y="15137"/>
                  <a:pt x="21548" y="14843"/>
                  <a:pt x="21447" y="14587"/>
                </a:cubicBezTo>
                <a:lnTo>
                  <a:pt x="19857" y="10552"/>
                </a:lnTo>
                <a:cubicBezTo>
                  <a:pt x="19790" y="10386"/>
                  <a:pt x="19662" y="10250"/>
                  <a:pt x="19506" y="10182"/>
                </a:cubicBez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64" name="Shape 17659"/>
          <p:cNvSpPr/>
          <p:nvPr/>
        </p:nvSpPr>
        <p:spPr>
          <a:xfrm>
            <a:off x="4478881" y="3486013"/>
            <a:ext cx="92891" cy="93110"/>
          </a:xfrm>
          <a:custGeom>
            <a:avLst/>
            <a:gdLst/>
            <a:ahLst/>
            <a:cxnLst>
              <a:cxn ang="0">
                <a:pos x="wd2" y="hd2"/>
              </a:cxn>
              <a:cxn ang="5400000">
                <a:pos x="wd2" y="hd2"/>
              </a:cxn>
              <a:cxn ang="10800000">
                <a:pos x="wd2" y="hd2"/>
              </a:cxn>
              <a:cxn ang="16200000">
                <a:pos x="wd2" y="hd2"/>
              </a:cxn>
            </a:cxnLst>
            <a:rect l="0" t="0" r="r" b="b"/>
            <a:pathLst>
              <a:path w="21600" h="21600" extrusionOk="0">
                <a:moveTo>
                  <a:pt x="10775" y="0"/>
                </a:moveTo>
                <a:cubicBezTo>
                  <a:pt x="10041" y="0"/>
                  <a:pt x="9310" y="67"/>
                  <a:pt x="8597" y="213"/>
                </a:cubicBezTo>
                <a:cubicBezTo>
                  <a:pt x="8064" y="321"/>
                  <a:pt x="7726" y="849"/>
                  <a:pt x="7834" y="1380"/>
                </a:cubicBezTo>
                <a:cubicBezTo>
                  <a:pt x="7942" y="1912"/>
                  <a:pt x="8461" y="2254"/>
                  <a:pt x="8994" y="2142"/>
                </a:cubicBezTo>
                <a:cubicBezTo>
                  <a:pt x="9259" y="2088"/>
                  <a:pt x="9528" y="2049"/>
                  <a:pt x="9798" y="2020"/>
                </a:cubicBezTo>
                <a:lnTo>
                  <a:pt x="9798" y="7450"/>
                </a:lnTo>
                <a:cubicBezTo>
                  <a:pt x="9512" y="7434"/>
                  <a:pt x="9222" y="7410"/>
                  <a:pt x="8943" y="7379"/>
                </a:cubicBezTo>
                <a:cubicBezTo>
                  <a:pt x="8404" y="7318"/>
                  <a:pt x="7925" y="7714"/>
                  <a:pt x="7865" y="8252"/>
                </a:cubicBezTo>
                <a:cubicBezTo>
                  <a:pt x="7804" y="8791"/>
                  <a:pt x="8187" y="9276"/>
                  <a:pt x="8730" y="9338"/>
                </a:cubicBezTo>
                <a:cubicBezTo>
                  <a:pt x="9080" y="9377"/>
                  <a:pt x="9438" y="9399"/>
                  <a:pt x="9798" y="9420"/>
                </a:cubicBezTo>
                <a:lnTo>
                  <a:pt x="9798" y="12170"/>
                </a:lnTo>
                <a:cubicBezTo>
                  <a:pt x="9438" y="12188"/>
                  <a:pt x="9080" y="12224"/>
                  <a:pt x="8730" y="12262"/>
                </a:cubicBezTo>
                <a:cubicBezTo>
                  <a:pt x="8187" y="12322"/>
                  <a:pt x="7804" y="12809"/>
                  <a:pt x="7865" y="13348"/>
                </a:cubicBezTo>
                <a:cubicBezTo>
                  <a:pt x="7925" y="13886"/>
                  <a:pt x="8404" y="14273"/>
                  <a:pt x="8943" y="14211"/>
                </a:cubicBezTo>
                <a:cubicBezTo>
                  <a:pt x="9222" y="14179"/>
                  <a:pt x="9512" y="14158"/>
                  <a:pt x="9798" y="14139"/>
                </a:cubicBezTo>
                <a:lnTo>
                  <a:pt x="9798" y="19570"/>
                </a:lnTo>
                <a:cubicBezTo>
                  <a:pt x="9542" y="19543"/>
                  <a:pt x="9287" y="19508"/>
                  <a:pt x="9035" y="19458"/>
                </a:cubicBezTo>
                <a:cubicBezTo>
                  <a:pt x="8502" y="19353"/>
                  <a:pt x="7980" y="19698"/>
                  <a:pt x="7875" y="20230"/>
                </a:cubicBezTo>
                <a:cubicBezTo>
                  <a:pt x="7767" y="20761"/>
                  <a:pt x="8115" y="21279"/>
                  <a:pt x="8648" y="21387"/>
                </a:cubicBezTo>
                <a:cubicBezTo>
                  <a:pt x="9345" y="21526"/>
                  <a:pt x="10057" y="21600"/>
                  <a:pt x="10775" y="21600"/>
                </a:cubicBezTo>
                <a:cubicBezTo>
                  <a:pt x="16743" y="21600"/>
                  <a:pt x="21600" y="16754"/>
                  <a:pt x="21600" y="10800"/>
                </a:cubicBezTo>
                <a:cubicBezTo>
                  <a:pt x="21600" y="4845"/>
                  <a:pt x="16743" y="0"/>
                  <a:pt x="10775" y="0"/>
                </a:cubicBezTo>
                <a:close/>
                <a:moveTo>
                  <a:pt x="6400" y="2274"/>
                </a:moveTo>
                <a:cubicBezTo>
                  <a:pt x="6400" y="2274"/>
                  <a:pt x="5267" y="2276"/>
                  <a:pt x="5189" y="2294"/>
                </a:cubicBezTo>
                <a:cubicBezTo>
                  <a:pt x="2600" y="2541"/>
                  <a:pt x="0" y="4889"/>
                  <a:pt x="0" y="10861"/>
                </a:cubicBezTo>
                <a:cubicBezTo>
                  <a:pt x="0" y="16833"/>
                  <a:pt x="2600" y="19181"/>
                  <a:pt x="5189" y="19428"/>
                </a:cubicBezTo>
                <a:cubicBezTo>
                  <a:pt x="5267" y="19444"/>
                  <a:pt x="6400" y="19448"/>
                  <a:pt x="6400" y="19448"/>
                </a:cubicBezTo>
                <a:cubicBezTo>
                  <a:pt x="6818" y="19448"/>
                  <a:pt x="7202" y="19242"/>
                  <a:pt x="7427" y="18890"/>
                </a:cubicBezTo>
                <a:cubicBezTo>
                  <a:pt x="7654" y="18538"/>
                  <a:pt x="7686" y="18094"/>
                  <a:pt x="7509" y="17712"/>
                </a:cubicBezTo>
                <a:cubicBezTo>
                  <a:pt x="7509" y="17712"/>
                  <a:pt x="6461" y="15429"/>
                  <a:pt x="6461" y="15429"/>
                </a:cubicBezTo>
                <a:cubicBezTo>
                  <a:pt x="6290" y="15060"/>
                  <a:pt x="5946" y="14808"/>
                  <a:pt x="5545" y="14738"/>
                </a:cubicBezTo>
                <a:lnTo>
                  <a:pt x="2889" y="14282"/>
                </a:lnTo>
                <a:cubicBezTo>
                  <a:pt x="2512" y="12976"/>
                  <a:pt x="2462" y="11547"/>
                  <a:pt x="2462" y="10861"/>
                </a:cubicBezTo>
                <a:cubicBezTo>
                  <a:pt x="2462" y="10172"/>
                  <a:pt x="2512" y="8746"/>
                  <a:pt x="2889" y="7440"/>
                </a:cubicBezTo>
                <a:lnTo>
                  <a:pt x="5545" y="6994"/>
                </a:lnTo>
                <a:cubicBezTo>
                  <a:pt x="5946" y="6924"/>
                  <a:pt x="6290" y="6661"/>
                  <a:pt x="6461" y="6293"/>
                </a:cubicBezTo>
                <a:lnTo>
                  <a:pt x="7509" y="4009"/>
                </a:lnTo>
                <a:cubicBezTo>
                  <a:pt x="7686" y="3630"/>
                  <a:pt x="7654" y="3195"/>
                  <a:pt x="7427" y="2842"/>
                </a:cubicBezTo>
                <a:cubicBezTo>
                  <a:pt x="7202" y="2490"/>
                  <a:pt x="6818" y="2274"/>
                  <a:pt x="6400" y="2274"/>
                </a:cubicBezTo>
                <a:close/>
                <a:moveTo>
                  <a:pt x="11761" y="2284"/>
                </a:moveTo>
                <a:cubicBezTo>
                  <a:pt x="12814" y="2966"/>
                  <a:pt x="13804" y="4689"/>
                  <a:pt x="14325" y="7085"/>
                </a:cubicBezTo>
                <a:cubicBezTo>
                  <a:pt x="13516" y="7273"/>
                  <a:pt x="12654" y="7396"/>
                  <a:pt x="11761" y="7450"/>
                </a:cubicBezTo>
                <a:lnTo>
                  <a:pt x="11761" y="2284"/>
                </a:lnTo>
                <a:close/>
                <a:moveTo>
                  <a:pt x="14885" y="2974"/>
                </a:moveTo>
                <a:cubicBezTo>
                  <a:pt x="16084" y="3602"/>
                  <a:pt x="17119" y="4501"/>
                  <a:pt x="17917" y="5583"/>
                </a:cubicBezTo>
                <a:cubicBezTo>
                  <a:pt x="17424" y="5930"/>
                  <a:pt x="16844" y="6236"/>
                  <a:pt x="16208" y="6496"/>
                </a:cubicBezTo>
                <a:cubicBezTo>
                  <a:pt x="15897" y="5157"/>
                  <a:pt x="15447" y="3962"/>
                  <a:pt x="14885" y="2974"/>
                </a:cubicBezTo>
                <a:close/>
                <a:moveTo>
                  <a:pt x="18904" y="7278"/>
                </a:moveTo>
                <a:cubicBezTo>
                  <a:pt x="19374" y="8357"/>
                  <a:pt x="19636" y="9550"/>
                  <a:pt x="19636" y="10800"/>
                </a:cubicBezTo>
                <a:cubicBezTo>
                  <a:pt x="19636" y="12047"/>
                  <a:pt x="19374" y="13235"/>
                  <a:pt x="18904" y="14312"/>
                </a:cubicBezTo>
                <a:cubicBezTo>
                  <a:pt x="18215" y="13845"/>
                  <a:pt x="17416" y="13439"/>
                  <a:pt x="16543" y="13114"/>
                </a:cubicBezTo>
                <a:cubicBezTo>
                  <a:pt x="16629" y="12367"/>
                  <a:pt x="16686" y="11594"/>
                  <a:pt x="16686" y="10790"/>
                </a:cubicBezTo>
                <a:cubicBezTo>
                  <a:pt x="16686" y="9989"/>
                  <a:pt x="16629" y="9223"/>
                  <a:pt x="16543" y="8476"/>
                </a:cubicBezTo>
                <a:cubicBezTo>
                  <a:pt x="17416" y="8153"/>
                  <a:pt x="18215" y="7744"/>
                  <a:pt x="18904" y="7278"/>
                </a:cubicBezTo>
                <a:close/>
                <a:moveTo>
                  <a:pt x="14631" y="9034"/>
                </a:moveTo>
                <a:cubicBezTo>
                  <a:pt x="14685" y="9597"/>
                  <a:pt x="14712" y="10188"/>
                  <a:pt x="14712" y="10800"/>
                </a:cubicBezTo>
                <a:cubicBezTo>
                  <a:pt x="14712" y="11410"/>
                  <a:pt x="14685" y="11991"/>
                  <a:pt x="14631" y="12556"/>
                </a:cubicBezTo>
                <a:cubicBezTo>
                  <a:pt x="13720" y="12354"/>
                  <a:pt x="12755" y="12224"/>
                  <a:pt x="11761" y="12170"/>
                </a:cubicBezTo>
                <a:lnTo>
                  <a:pt x="11761" y="9420"/>
                </a:lnTo>
                <a:cubicBezTo>
                  <a:pt x="12755" y="9368"/>
                  <a:pt x="13720" y="9236"/>
                  <a:pt x="14631" y="9034"/>
                </a:cubicBezTo>
                <a:close/>
                <a:moveTo>
                  <a:pt x="11761" y="14139"/>
                </a:moveTo>
                <a:cubicBezTo>
                  <a:pt x="12654" y="14191"/>
                  <a:pt x="13516" y="14316"/>
                  <a:pt x="14325" y="14505"/>
                </a:cubicBezTo>
                <a:cubicBezTo>
                  <a:pt x="13804" y="16898"/>
                  <a:pt x="12814" y="18627"/>
                  <a:pt x="11761" y="19306"/>
                </a:cubicBezTo>
                <a:lnTo>
                  <a:pt x="11761" y="14139"/>
                </a:lnTo>
                <a:close/>
                <a:moveTo>
                  <a:pt x="16208" y="15104"/>
                </a:moveTo>
                <a:cubicBezTo>
                  <a:pt x="16842" y="15364"/>
                  <a:pt x="17424" y="15662"/>
                  <a:pt x="17917" y="16007"/>
                </a:cubicBezTo>
                <a:cubicBezTo>
                  <a:pt x="17119" y="17089"/>
                  <a:pt x="16081" y="17988"/>
                  <a:pt x="14885" y="18616"/>
                </a:cubicBezTo>
                <a:cubicBezTo>
                  <a:pt x="15445" y="17631"/>
                  <a:pt x="15897" y="16444"/>
                  <a:pt x="16208" y="15104"/>
                </a:cubicBez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65" name="Shape 17660"/>
          <p:cNvSpPr/>
          <p:nvPr/>
        </p:nvSpPr>
        <p:spPr>
          <a:xfrm>
            <a:off x="4487292" y="2687797"/>
            <a:ext cx="84481" cy="86515"/>
          </a:xfrm>
          <a:custGeom>
            <a:avLst/>
            <a:gdLst/>
            <a:ahLst/>
            <a:cxnLst>
              <a:cxn ang="0">
                <a:pos x="wd2" y="hd2"/>
              </a:cxn>
              <a:cxn ang="5400000">
                <a:pos x="wd2" y="hd2"/>
              </a:cxn>
              <a:cxn ang="10800000">
                <a:pos x="wd2" y="hd2"/>
              </a:cxn>
              <a:cxn ang="16200000">
                <a:pos x="wd2" y="hd2"/>
              </a:cxn>
            </a:cxnLst>
            <a:rect l="0" t="0" r="r" b="b"/>
            <a:pathLst>
              <a:path w="21600" h="21600" extrusionOk="0">
                <a:moveTo>
                  <a:pt x="3939" y="0"/>
                </a:moveTo>
                <a:cubicBezTo>
                  <a:pt x="3525" y="0"/>
                  <a:pt x="3187" y="330"/>
                  <a:pt x="3187" y="735"/>
                </a:cubicBezTo>
                <a:lnTo>
                  <a:pt x="3187" y="5014"/>
                </a:lnTo>
                <a:cubicBezTo>
                  <a:pt x="3187" y="5418"/>
                  <a:pt x="3525" y="5738"/>
                  <a:pt x="3939" y="5738"/>
                </a:cubicBezTo>
                <a:lnTo>
                  <a:pt x="5300" y="5738"/>
                </a:lnTo>
                <a:cubicBezTo>
                  <a:pt x="5715" y="5738"/>
                  <a:pt x="6053" y="5418"/>
                  <a:pt x="6053" y="5014"/>
                </a:cubicBezTo>
                <a:lnTo>
                  <a:pt x="6053" y="735"/>
                </a:lnTo>
                <a:cubicBezTo>
                  <a:pt x="6053" y="330"/>
                  <a:pt x="5715" y="0"/>
                  <a:pt x="5300" y="0"/>
                </a:cubicBezTo>
                <a:lnTo>
                  <a:pt x="3939" y="0"/>
                </a:lnTo>
                <a:close/>
                <a:moveTo>
                  <a:pt x="15979" y="0"/>
                </a:moveTo>
                <a:cubicBezTo>
                  <a:pt x="15564" y="0"/>
                  <a:pt x="15226" y="330"/>
                  <a:pt x="15226" y="735"/>
                </a:cubicBezTo>
                <a:lnTo>
                  <a:pt x="15226" y="5014"/>
                </a:lnTo>
                <a:cubicBezTo>
                  <a:pt x="15226" y="5418"/>
                  <a:pt x="15564" y="5738"/>
                  <a:pt x="15979" y="5738"/>
                </a:cubicBezTo>
                <a:lnTo>
                  <a:pt x="17340" y="5738"/>
                </a:lnTo>
                <a:cubicBezTo>
                  <a:pt x="17754" y="5738"/>
                  <a:pt x="18092" y="5418"/>
                  <a:pt x="18092" y="5014"/>
                </a:cubicBezTo>
                <a:lnTo>
                  <a:pt x="18092" y="735"/>
                </a:lnTo>
                <a:cubicBezTo>
                  <a:pt x="18092" y="330"/>
                  <a:pt x="17754" y="0"/>
                  <a:pt x="17340" y="0"/>
                </a:cubicBezTo>
                <a:lnTo>
                  <a:pt x="15979" y="0"/>
                </a:lnTo>
                <a:close/>
                <a:moveTo>
                  <a:pt x="7691" y="2420"/>
                </a:moveTo>
                <a:lnTo>
                  <a:pt x="7691" y="5035"/>
                </a:lnTo>
                <a:cubicBezTo>
                  <a:pt x="7691" y="6215"/>
                  <a:pt x="6696" y="7164"/>
                  <a:pt x="5489" y="7164"/>
                </a:cubicBezTo>
                <a:lnTo>
                  <a:pt x="4105" y="7164"/>
                </a:lnTo>
                <a:cubicBezTo>
                  <a:pt x="2897" y="7164"/>
                  <a:pt x="1925" y="6215"/>
                  <a:pt x="1925" y="5035"/>
                </a:cubicBezTo>
                <a:lnTo>
                  <a:pt x="1925" y="2431"/>
                </a:lnTo>
                <a:cubicBezTo>
                  <a:pt x="870" y="2462"/>
                  <a:pt x="0" y="3317"/>
                  <a:pt x="0" y="4365"/>
                </a:cubicBezTo>
                <a:lnTo>
                  <a:pt x="0" y="19655"/>
                </a:lnTo>
                <a:cubicBezTo>
                  <a:pt x="0" y="20723"/>
                  <a:pt x="887" y="21600"/>
                  <a:pt x="1981" y="21600"/>
                </a:cubicBezTo>
                <a:lnTo>
                  <a:pt x="19619" y="21600"/>
                </a:lnTo>
                <a:cubicBezTo>
                  <a:pt x="20711" y="21600"/>
                  <a:pt x="21600" y="20721"/>
                  <a:pt x="21600" y="19655"/>
                </a:cubicBezTo>
                <a:lnTo>
                  <a:pt x="21600" y="4365"/>
                </a:lnTo>
                <a:cubicBezTo>
                  <a:pt x="21600" y="3317"/>
                  <a:pt x="20741" y="2462"/>
                  <a:pt x="19686" y="2431"/>
                </a:cubicBezTo>
                <a:lnTo>
                  <a:pt x="19686" y="5035"/>
                </a:lnTo>
                <a:cubicBezTo>
                  <a:pt x="19686" y="6215"/>
                  <a:pt x="18703" y="7164"/>
                  <a:pt x="17495" y="7164"/>
                </a:cubicBezTo>
                <a:lnTo>
                  <a:pt x="16111" y="7164"/>
                </a:lnTo>
                <a:cubicBezTo>
                  <a:pt x="14904" y="7164"/>
                  <a:pt x="13909" y="6215"/>
                  <a:pt x="13909" y="5035"/>
                </a:cubicBezTo>
                <a:lnTo>
                  <a:pt x="13909" y="2420"/>
                </a:lnTo>
                <a:lnTo>
                  <a:pt x="7691" y="2420"/>
                </a:lnTo>
                <a:close/>
                <a:moveTo>
                  <a:pt x="3386" y="9963"/>
                </a:moveTo>
                <a:lnTo>
                  <a:pt x="18181" y="9963"/>
                </a:lnTo>
                <a:cubicBezTo>
                  <a:pt x="18654" y="9963"/>
                  <a:pt x="19044" y="10344"/>
                  <a:pt x="19044" y="10805"/>
                </a:cubicBezTo>
                <a:cubicBezTo>
                  <a:pt x="19044" y="10805"/>
                  <a:pt x="19044" y="18704"/>
                  <a:pt x="19044" y="18704"/>
                </a:cubicBezTo>
                <a:cubicBezTo>
                  <a:pt x="19044" y="19166"/>
                  <a:pt x="18654" y="19536"/>
                  <a:pt x="18181" y="19536"/>
                </a:cubicBezTo>
                <a:lnTo>
                  <a:pt x="3386" y="19536"/>
                </a:lnTo>
                <a:cubicBezTo>
                  <a:pt x="2913" y="19536"/>
                  <a:pt x="2523" y="19166"/>
                  <a:pt x="2523" y="18704"/>
                </a:cubicBezTo>
                <a:lnTo>
                  <a:pt x="2523" y="10805"/>
                </a:lnTo>
                <a:cubicBezTo>
                  <a:pt x="2523" y="10344"/>
                  <a:pt x="2913" y="9963"/>
                  <a:pt x="3386" y="9963"/>
                </a:cubicBezTo>
                <a:close/>
                <a:moveTo>
                  <a:pt x="5455" y="11411"/>
                </a:moveTo>
                <a:cubicBezTo>
                  <a:pt x="5178" y="11411"/>
                  <a:pt x="4957" y="11627"/>
                  <a:pt x="4957" y="11897"/>
                </a:cubicBezTo>
                <a:lnTo>
                  <a:pt x="4957" y="13604"/>
                </a:lnTo>
                <a:cubicBezTo>
                  <a:pt x="4957" y="13875"/>
                  <a:pt x="5178" y="14101"/>
                  <a:pt x="5455" y="14101"/>
                </a:cubicBezTo>
                <a:lnTo>
                  <a:pt x="7204" y="14101"/>
                </a:lnTo>
                <a:cubicBezTo>
                  <a:pt x="7481" y="14101"/>
                  <a:pt x="7713" y="13875"/>
                  <a:pt x="7713" y="13604"/>
                </a:cubicBezTo>
                <a:cubicBezTo>
                  <a:pt x="7713" y="13604"/>
                  <a:pt x="7713" y="11897"/>
                  <a:pt x="7713" y="11897"/>
                </a:cubicBezTo>
                <a:cubicBezTo>
                  <a:pt x="7713" y="11627"/>
                  <a:pt x="7481" y="11411"/>
                  <a:pt x="7204" y="11411"/>
                </a:cubicBezTo>
                <a:lnTo>
                  <a:pt x="5455" y="11411"/>
                </a:lnTo>
                <a:close/>
                <a:moveTo>
                  <a:pt x="9705" y="11411"/>
                </a:moveTo>
                <a:cubicBezTo>
                  <a:pt x="9428" y="11411"/>
                  <a:pt x="9207" y="11627"/>
                  <a:pt x="9207" y="11897"/>
                </a:cubicBezTo>
                <a:lnTo>
                  <a:pt x="9207" y="13604"/>
                </a:lnTo>
                <a:cubicBezTo>
                  <a:pt x="9207" y="13875"/>
                  <a:pt x="9428" y="14101"/>
                  <a:pt x="9705" y="14101"/>
                </a:cubicBezTo>
                <a:lnTo>
                  <a:pt x="11453" y="14101"/>
                </a:lnTo>
                <a:cubicBezTo>
                  <a:pt x="11730" y="14101"/>
                  <a:pt x="11962" y="13875"/>
                  <a:pt x="11962" y="13604"/>
                </a:cubicBezTo>
                <a:cubicBezTo>
                  <a:pt x="11962" y="13604"/>
                  <a:pt x="11962" y="11897"/>
                  <a:pt x="11962" y="11897"/>
                </a:cubicBezTo>
                <a:cubicBezTo>
                  <a:pt x="11962" y="11627"/>
                  <a:pt x="11730" y="11411"/>
                  <a:pt x="11453" y="11411"/>
                </a:cubicBezTo>
                <a:lnTo>
                  <a:pt x="9705" y="11411"/>
                </a:lnTo>
                <a:close/>
                <a:moveTo>
                  <a:pt x="14308" y="11411"/>
                </a:moveTo>
                <a:cubicBezTo>
                  <a:pt x="14030" y="11411"/>
                  <a:pt x="13810" y="11627"/>
                  <a:pt x="13810" y="11897"/>
                </a:cubicBezTo>
                <a:lnTo>
                  <a:pt x="13810" y="13604"/>
                </a:lnTo>
                <a:cubicBezTo>
                  <a:pt x="13810" y="13875"/>
                  <a:pt x="14030" y="14101"/>
                  <a:pt x="14308" y="14101"/>
                </a:cubicBezTo>
                <a:lnTo>
                  <a:pt x="16056" y="14101"/>
                </a:lnTo>
                <a:cubicBezTo>
                  <a:pt x="16333" y="14101"/>
                  <a:pt x="16565" y="13875"/>
                  <a:pt x="16565" y="13604"/>
                </a:cubicBezTo>
                <a:cubicBezTo>
                  <a:pt x="16565" y="13604"/>
                  <a:pt x="16565" y="11897"/>
                  <a:pt x="16565" y="11897"/>
                </a:cubicBezTo>
                <a:cubicBezTo>
                  <a:pt x="16565" y="11627"/>
                  <a:pt x="16333" y="11411"/>
                  <a:pt x="16056" y="11411"/>
                </a:cubicBezTo>
                <a:lnTo>
                  <a:pt x="14308" y="11411"/>
                </a:lnTo>
                <a:close/>
                <a:moveTo>
                  <a:pt x="5455" y="15560"/>
                </a:moveTo>
                <a:cubicBezTo>
                  <a:pt x="5178" y="15560"/>
                  <a:pt x="4957" y="15775"/>
                  <a:pt x="4957" y="16046"/>
                </a:cubicBezTo>
                <a:lnTo>
                  <a:pt x="4957" y="17753"/>
                </a:lnTo>
                <a:cubicBezTo>
                  <a:pt x="4957" y="18024"/>
                  <a:pt x="5178" y="18250"/>
                  <a:pt x="5455" y="18250"/>
                </a:cubicBezTo>
                <a:lnTo>
                  <a:pt x="7204" y="18250"/>
                </a:lnTo>
                <a:cubicBezTo>
                  <a:pt x="7481" y="18250"/>
                  <a:pt x="7713" y="18024"/>
                  <a:pt x="7713" y="17753"/>
                </a:cubicBezTo>
                <a:cubicBezTo>
                  <a:pt x="7713" y="17753"/>
                  <a:pt x="7713" y="16046"/>
                  <a:pt x="7713" y="16046"/>
                </a:cubicBezTo>
                <a:cubicBezTo>
                  <a:pt x="7713" y="15775"/>
                  <a:pt x="7481" y="15560"/>
                  <a:pt x="7204" y="15560"/>
                </a:cubicBezTo>
                <a:lnTo>
                  <a:pt x="5455" y="15560"/>
                </a:lnTo>
                <a:close/>
                <a:moveTo>
                  <a:pt x="9705" y="15560"/>
                </a:moveTo>
                <a:cubicBezTo>
                  <a:pt x="9428" y="15560"/>
                  <a:pt x="9207" y="15775"/>
                  <a:pt x="9207" y="16046"/>
                </a:cubicBezTo>
                <a:lnTo>
                  <a:pt x="9207" y="17753"/>
                </a:lnTo>
                <a:cubicBezTo>
                  <a:pt x="9207" y="18024"/>
                  <a:pt x="9428" y="18250"/>
                  <a:pt x="9705" y="18250"/>
                </a:cubicBezTo>
                <a:lnTo>
                  <a:pt x="11453" y="18250"/>
                </a:lnTo>
                <a:cubicBezTo>
                  <a:pt x="11730" y="18250"/>
                  <a:pt x="11962" y="18024"/>
                  <a:pt x="11962" y="17753"/>
                </a:cubicBezTo>
                <a:cubicBezTo>
                  <a:pt x="11962" y="17753"/>
                  <a:pt x="11962" y="16046"/>
                  <a:pt x="11962" y="16046"/>
                </a:cubicBezTo>
                <a:cubicBezTo>
                  <a:pt x="11962" y="15775"/>
                  <a:pt x="11730" y="15560"/>
                  <a:pt x="11453" y="15560"/>
                </a:cubicBezTo>
                <a:lnTo>
                  <a:pt x="9705" y="15560"/>
                </a:lnTo>
                <a:close/>
                <a:moveTo>
                  <a:pt x="14308" y="15560"/>
                </a:moveTo>
                <a:cubicBezTo>
                  <a:pt x="14030" y="15560"/>
                  <a:pt x="13810" y="15775"/>
                  <a:pt x="13810" y="16046"/>
                </a:cubicBezTo>
                <a:lnTo>
                  <a:pt x="13810" y="17753"/>
                </a:lnTo>
                <a:cubicBezTo>
                  <a:pt x="13810" y="18024"/>
                  <a:pt x="14030" y="18250"/>
                  <a:pt x="14308" y="18250"/>
                </a:cubicBezTo>
                <a:lnTo>
                  <a:pt x="16056" y="18250"/>
                </a:lnTo>
                <a:cubicBezTo>
                  <a:pt x="16332" y="18250"/>
                  <a:pt x="16565" y="18024"/>
                  <a:pt x="16565" y="17753"/>
                </a:cubicBezTo>
                <a:cubicBezTo>
                  <a:pt x="16565" y="17753"/>
                  <a:pt x="16565" y="16046"/>
                  <a:pt x="16565" y="16046"/>
                </a:cubicBezTo>
                <a:cubicBezTo>
                  <a:pt x="16565" y="15775"/>
                  <a:pt x="16332" y="15560"/>
                  <a:pt x="16056" y="15560"/>
                </a:cubicBezTo>
                <a:lnTo>
                  <a:pt x="14308" y="15560"/>
                </a:ln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66" name="Shape 17641"/>
          <p:cNvSpPr/>
          <p:nvPr/>
        </p:nvSpPr>
        <p:spPr>
          <a:xfrm>
            <a:off x="6370064" y="1520482"/>
            <a:ext cx="2127837" cy="2888213"/>
          </a:xfrm>
          <a:custGeom>
            <a:avLst/>
            <a:gdLst/>
            <a:ahLst/>
            <a:cxnLst>
              <a:cxn ang="0">
                <a:pos x="wd2" y="hd2"/>
              </a:cxn>
              <a:cxn ang="5400000">
                <a:pos x="wd2" y="hd2"/>
              </a:cxn>
              <a:cxn ang="10800000">
                <a:pos x="wd2" y="hd2"/>
              </a:cxn>
              <a:cxn ang="16200000">
                <a:pos x="wd2" y="hd2"/>
              </a:cxn>
            </a:cxnLst>
            <a:rect l="0" t="0" r="r" b="b"/>
            <a:pathLst>
              <a:path w="21600" h="21600" extrusionOk="0">
                <a:moveTo>
                  <a:pt x="11656" y="0"/>
                </a:moveTo>
                <a:lnTo>
                  <a:pt x="0" y="12414"/>
                </a:lnTo>
                <a:lnTo>
                  <a:pt x="11" y="17762"/>
                </a:lnTo>
                <a:lnTo>
                  <a:pt x="10828" y="21600"/>
                </a:lnTo>
                <a:lnTo>
                  <a:pt x="21600" y="17683"/>
                </a:lnTo>
                <a:lnTo>
                  <a:pt x="21600" y="0"/>
                </a:lnTo>
                <a:lnTo>
                  <a:pt x="11656" y="0"/>
                </a:lnTo>
                <a:close/>
              </a:path>
            </a:pathLst>
          </a:custGeom>
          <a:solidFill>
            <a:schemeClr val="bg1">
              <a:lumMod val="95000"/>
            </a:schemeClr>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sz="1200"/>
          </a:p>
        </p:txBody>
      </p:sp>
      <p:sp>
        <p:nvSpPr>
          <p:cNvPr id="67" name="Freeform 66"/>
          <p:cNvSpPr/>
          <p:nvPr/>
        </p:nvSpPr>
        <p:spPr>
          <a:xfrm>
            <a:off x="6367933" y="1520482"/>
            <a:ext cx="2130002" cy="1659975"/>
          </a:xfrm>
          <a:custGeom>
            <a:avLst/>
            <a:gdLst>
              <a:gd name="connsiteX0" fmla="*/ 1542621 w 3124003"/>
              <a:gd name="connsiteY0" fmla="*/ 0 h 2434630"/>
              <a:gd name="connsiteX1" fmla="*/ 1687251 w 3124003"/>
              <a:gd name="connsiteY1" fmla="*/ 0 h 2434630"/>
              <a:gd name="connsiteX2" fmla="*/ 1687282 w 3124003"/>
              <a:gd name="connsiteY2" fmla="*/ 0 h 2434630"/>
              <a:gd name="connsiteX3" fmla="*/ 3124003 w 3124003"/>
              <a:gd name="connsiteY3" fmla="*/ 0 h 2434630"/>
              <a:gd name="connsiteX4" fmla="*/ 3124003 w 3124003"/>
              <a:gd name="connsiteY4" fmla="*/ 984870 h 2434630"/>
              <a:gd name="connsiteX5" fmla="*/ 3124003 w 3124003"/>
              <a:gd name="connsiteY5" fmla="*/ 984898 h 2434630"/>
              <a:gd name="connsiteX6" fmla="*/ 2250295 w 3124003"/>
              <a:gd name="connsiteY6" fmla="*/ 1371396 h 2434630"/>
              <a:gd name="connsiteX7" fmla="*/ 2250288 w 3124003"/>
              <a:gd name="connsiteY7" fmla="*/ 1371390 h 2434630"/>
              <a:gd name="connsiteX8" fmla="*/ 2250260 w 3124003"/>
              <a:gd name="connsiteY8" fmla="*/ 1371402 h 2434630"/>
              <a:gd name="connsiteX9" fmla="*/ 2003348 w 3124003"/>
              <a:gd name="connsiteY9" fmla="*/ 1149535 h 2434630"/>
              <a:gd name="connsiteX10" fmla="*/ 1318011 w 3124003"/>
              <a:gd name="connsiteY10" fmla="*/ 533815 h 2434630"/>
              <a:gd name="connsiteX11" fmla="*/ 3182 w 3124003"/>
              <a:gd name="connsiteY11" fmla="*/ 2434630 h 2434630"/>
              <a:gd name="connsiteX12" fmla="*/ 3037 w 3124003"/>
              <a:gd name="connsiteY12" fmla="*/ 2225883 h 2434630"/>
              <a:gd name="connsiteX13" fmla="*/ 0 w 3124003"/>
              <a:gd name="connsiteY13" fmla="*/ 0 h 2434630"/>
              <a:gd name="connsiteX14" fmla="*/ 724098 w 3124003"/>
              <a:gd name="connsiteY14" fmla="*/ 0 h 2434630"/>
              <a:gd name="connsiteX15" fmla="*/ 724161 w 3124003"/>
              <a:gd name="connsiteY15" fmla="*/ 0 h 2434630"/>
              <a:gd name="connsiteX16" fmla="*/ 1386850 w 3124003"/>
              <a:gd name="connsiteY16" fmla="*/ 0 h 2434630"/>
              <a:gd name="connsiteX17" fmla="*/ 1386855 w 3124003"/>
              <a:gd name="connsiteY17" fmla="*/ 0 h 2434630"/>
              <a:gd name="connsiteX18" fmla="*/ 2748 w 3124003"/>
              <a:gd name="connsiteY18" fmla="*/ 2000680 h 243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24003" h="2434630">
                <a:moveTo>
                  <a:pt x="1542621" y="0"/>
                </a:moveTo>
                <a:lnTo>
                  <a:pt x="1687251" y="0"/>
                </a:lnTo>
                <a:lnTo>
                  <a:pt x="1687282" y="0"/>
                </a:lnTo>
                <a:lnTo>
                  <a:pt x="3124003" y="0"/>
                </a:lnTo>
                <a:lnTo>
                  <a:pt x="3124003" y="984870"/>
                </a:lnTo>
                <a:lnTo>
                  <a:pt x="3124003" y="984898"/>
                </a:lnTo>
                <a:lnTo>
                  <a:pt x="2250295" y="1371396"/>
                </a:lnTo>
                <a:lnTo>
                  <a:pt x="2250288" y="1371390"/>
                </a:lnTo>
                <a:lnTo>
                  <a:pt x="2250260" y="1371402"/>
                </a:lnTo>
                <a:lnTo>
                  <a:pt x="2003348" y="1149535"/>
                </a:lnTo>
                <a:lnTo>
                  <a:pt x="1318011" y="533815"/>
                </a:lnTo>
                <a:lnTo>
                  <a:pt x="3182" y="2434630"/>
                </a:lnTo>
                <a:lnTo>
                  <a:pt x="3037" y="2225883"/>
                </a:lnTo>
                <a:close/>
                <a:moveTo>
                  <a:pt x="0" y="0"/>
                </a:moveTo>
                <a:lnTo>
                  <a:pt x="724098" y="0"/>
                </a:lnTo>
                <a:lnTo>
                  <a:pt x="724161" y="0"/>
                </a:lnTo>
                <a:lnTo>
                  <a:pt x="1386850" y="0"/>
                </a:lnTo>
                <a:lnTo>
                  <a:pt x="1386855" y="0"/>
                </a:lnTo>
                <a:lnTo>
                  <a:pt x="2748" y="2000680"/>
                </a:lnTo>
                <a:close/>
              </a:path>
            </a:pathLst>
          </a:custGeom>
          <a:solidFill>
            <a:srgbClr val="548235"/>
          </a:solidFill>
          <a:ln>
            <a:noFill/>
          </a:ln>
          <a:effectLst>
            <a:outerShdw blurRad="266700" dist="508000" dir="1920000" sx="81000" sy="81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sz="1200"/>
          </a:p>
        </p:txBody>
      </p:sp>
      <p:sp>
        <p:nvSpPr>
          <p:cNvPr id="68" name="Shape 17647"/>
          <p:cNvSpPr/>
          <p:nvPr/>
        </p:nvSpPr>
        <p:spPr>
          <a:xfrm>
            <a:off x="6505861" y="1747926"/>
            <a:ext cx="537747" cy="225446"/>
          </a:xfrm>
          <a:prstGeom prst="rect">
            <a:avLst/>
          </a:prstGeom>
          <a:noFill/>
          <a:ln w="12700" cap="flat">
            <a:noFill/>
            <a:miter lim="400000"/>
          </a:ln>
          <a:effectLst/>
        </p:spPr>
        <p:txBody>
          <a:bodyPr wrap="square" lIns="19050" tIns="19050" rIns="19050" bIns="19050" numCol="1" anchor="t">
            <a:spAutoFit/>
          </a:bodyPr>
          <a:lstStyle/>
          <a:p>
            <a:pPr algn="l">
              <a:lnSpc>
                <a:spcPct val="90000"/>
              </a:lnSpc>
              <a:defRPr sz="2000">
                <a:solidFill>
                  <a:srgbClr val="FFFFFF"/>
                </a:solidFill>
                <a:latin typeface="Helvetica"/>
                <a:ea typeface="Helvetica"/>
                <a:cs typeface="Helvetica"/>
                <a:sym typeface="Helvetica"/>
              </a:defRPr>
            </a:pPr>
            <a:r>
              <a:rPr sz="675">
                <a:latin typeface="Lato" panose="020F0502020204030203" pitchFamily="34" charset="0"/>
                <a:cs typeface="Lato" panose="020F0502020204030203" pitchFamily="34" charset="0"/>
              </a:rPr>
              <a:t>BASIC</a:t>
            </a:r>
            <a:endParaRPr sz="675">
              <a:latin typeface="Lato" panose="020F0502020204030203" pitchFamily="34" charset="0"/>
              <a:cs typeface="Lato" panose="020F0502020204030203" pitchFamily="34" charset="0"/>
            </a:endParaRPr>
          </a:p>
          <a:p>
            <a:pPr algn="l">
              <a:lnSpc>
                <a:spcPct val="90000"/>
              </a:lnSpc>
              <a:defRPr sz="2000">
                <a:solidFill>
                  <a:srgbClr val="FFFFFF"/>
                </a:solidFill>
                <a:latin typeface="Helvetica"/>
                <a:ea typeface="Helvetica"/>
                <a:cs typeface="Helvetica"/>
                <a:sym typeface="Helvetica"/>
              </a:defRPr>
            </a:pPr>
            <a:r>
              <a:rPr sz="675">
                <a:latin typeface="Lato" panose="020F0502020204030203" pitchFamily="34" charset="0"/>
                <a:cs typeface="Lato" panose="020F0502020204030203" pitchFamily="34" charset="0"/>
              </a:rPr>
              <a:t>PACK</a:t>
            </a:r>
            <a:endParaRPr sz="675">
              <a:latin typeface="Lato" panose="020F0502020204030203" pitchFamily="34" charset="0"/>
              <a:cs typeface="Lato" panose="020F0502020204030203" pitchFamily="34" charset="0"/>
            </a:endParaRPr>
          </a:p>
        </p:txBody>
      </p:sp>
      <p:sp>
        <p:nvSpPr>
          <p:cNvPr id="69" name="Shape 17648"/>
          <p:cNvSpPr/>
          <p:nvPr/>
        </p:nvSpPr>
        <p:spPr>
          <a:xfrm>
            <a:off x="7467120" y="1654408"/>
            <a:ext cx="878444" cy="422808"/>
          </a:xfrm>
          <a:prstGeom prst="rect">
            <a:avLst/>
          </a:prstGeom>
          <a:noFill/>
          <a:ln w="12700" cap="flat">
            <a:noFill/>
            <a:miter lim="400000"/>
          </a:ln>
          <a:effectLst/>
        </p:spPr>
        <p:txBody>
          <a:bodyPr wrap="square" lIns="19050" tIns="19050" rIns="19050" bIns="19050" numCol="1" anchor="t">
            <a:spAutoFit/>
          </a:bodyPr>
          <a:lstStyle/>
          <a:p>
            <a:pPr algn="r">
              <a:lnSpc>
                <a:spcPct val="90000"/>
              </a:lnSpc>
              <a:defRPr sz="6000">
                <a:solidFill>
                  <a:srgbClr val="FFFFFF"/>
                </a:solidFill>
                <a:latin typeface="Helvetica"/>
                <a:ea typeface="Helvetica"/>
                <a:cs typeface="Helvetica"/>
                <a:sym typeface="Helvetica"/>
              </a:defRPr>
            </a:pPr>
            <a:r>
              <a:rPr sz="2100">
                <a:latin typeface="Lato" panose="020F0502020204030203" pitchFamily="34" charset="0"/>
                <a:cs typeface="Lato" panose="020F0502020204030203" pitchFamily="34" charset="0"/>
              </a:rPr>
              <a:t>$99.99</a:t>
            </a:r>
            <a:endParaRPr sz="2100">
              <a:latin typeface="Lato" panose="020F0502020204030203" pitchFamily="34" charset="0"/>
              <a:cs typeface="Lato" panose="020F0502020204030203" pitchFamily="34" charset="0"/>
            </a:endParaRPr>
          </a:p>
          <a:p>
            <a:pPr algn="r">
              <a:lnSpc>
                <a:spcPct val="90000"/>
              </a:lnSpc>
              <a:defRPr sz="2000">
                <a:solidFill>
                  <a:srgbClr val="FFFFFF"/>
                </a:solidFill>
                <a:latin typeface="Helvetica"/>
                <a:ea typeface="Helvetica"/>
                <a:cs typeface="Helvetica"/>
                <a:sym typeface="Helvetica"/>
              </a:defRPr>
            </a:pPr>
            <a:r>
              <a:rPr sz="675">
                <a:latin typeface="Lato" panose="020F0502020204030203" pitchFamily="34" charset="0"/>
                <a:cs typeface="Lato" panose="020F0502020204030203" pitchFamily="34" charset="0"/>
              </a:rPr>
              <a:t>PER MONTH</a:t>
            </a:r>
            <a:endParaRPr sz="675">
              <a:latin typeface="Lato" panose="020F0502020204030203" pitchFamily="34" charset="0"/>
              <a:cs typeface="Lato" panose="020F0502020204030203" pitchFamily="34" charset="0"/>
            </a:endParaRPr>
          </a:p>
        </p:txBody>
      </p:sp>
      <p:sp>
        <p:nvSpPr>
          <p:cNvPr id="70" name="Shape 17649"/>
          <p:cNvSpPr/>
          <p:nvPr/>
        </p:nvSpPr>
        <p:spPr>
          <a:xfrm>
            <a:off x="7602676" y="1317363"/>
            <a:ext cx="895242" cy="223138"/>
          </a:xfrm>
          <a:prstGeom prst="rect">
            <a:avLst/>
          </a:prstGeom>
          <a:solidFill>
            <a:srgbClr val="548235"/>
          </a:solid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sz="825" b="1" dirty="0">
                <a:solidFill>
                  <a:schemeClr val="bg1"/>
                </a:solidFill>
                <a:latin typeface="Lato" panose="020F0502020204030203" pitchFamily="34" charset="0"/>
                <a:cs typeface="Lato" panose="020F0502020204030203" pitchFamily="34" charset="0"/>
              </a:rPr>
              <a:t>BUY NOW</a:t>
            </a:r>
            <a:endParaRPr sz="825" b="1" dirty="0">
              <a:solidFill>
                <a:schemeClr val="bg1"/>
              </a:solidFill>
              <a:latin typeface="Lato" panose="020F0502020204030203" pitchFamily="34" charset="0"/>
              <a:cs typeface="Lato" panose="020F0502020204030203" pitchFamily="34" charset="0"/>
            </a:endParaRPr>
          </a:p>
        </p:txBody>
      </p:sp>
      <p:sp>
        <p:nvSpPr>
          <p:cNvPr id="71" name="Shape 17650"/>
          <p:cNvSpPr/>
          <p:nvPr/>
        </p:nvSpPr>
        <p:spPr>
          <a:xfrm>
            <a:off x="7158831" y="2575896"/>
            <a:ext cx="1265523" cy="1134926"/>
          </a:xfrm>
          <a:prstGeom prst="rect">
            <a:avLst/>
          </a:prstGeom>
          <a:noFill/>
          <a:ln w="12700" cap="flat">
            <a:noFill/>
            <a:miter lim="400000"/>
          </a:ln>
          <a:effectLst/>
        </p:spPr>
        <p:txBody>
          <a:bodyPr wrap="square" lIns="19050" tIns="19050" rIns="19050" bIns="19050" numCol="1" anchor="t">
            <a:spAutoFit/>
          </a:bodyPr>
          <a:lstStyle/>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Lifetime Support</a:t>
            </a:r>
            <a:endParaRPr sz="750" dirty="0">
              <a:solidFill>
                <a:schemeClr val="tx1">
                  <a:lumMod val="85000"/>
                  <a:lumOff val="15000"/>
                </a:schemeClr>
              </a:solidFill>
              <a:latin typeface="Lato" panose="020F0502020204030203" pitchFamily="34" charset="0"/>
              <a:cs typeface="Lato" panose="020F0502020204030203" pitchFamily="34" charset="0"/>
            </a:endParaRPr>
          </a:p>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Advance Option</a:t>
            </a:r>
            <a:endParaRPr sz="750" dirty="0">
              <a:solidFill>
                <a:schemeClr val="tx1">
                  <a:lumMod val="85000"/>
                  <a:lumOff val="15000"/>
                </a:schemeClr>
              </a:solidFill>
              <a:latin typeface="Lato" panose="020F0502020204030203" pitchFamily="34" charset="0"/>
              <a:cs typeface="Lato" panose="020F0502020204030203" pitchFamily="34" charset="0"/>
            </a:endParaRPr>
          </a:p>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Free Update (Monthly)</a:t>
            </a:r>
            <a:endParaRPr sz="750" dirty="0">
              <a:solidFill>
                <a:schemeClr val="tx1">
                  <a:lumMod val="85000"/>
                  <a:lumOff val="15000"/>
                </a:schemeClr>
              </a:solidFill>
              <a:latin typeface="Lato" panose="020F0502020204030203" pitchFamily="34" charset="0"/>
              <a:cs typeface="Lato" panose="020F0502020204030203" pitchFamily="34" charset="0"/>
            </a:endParaRPr>
          </a:p>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30 Email boxes</a:t>
            </a:r>
            <a:endParaRPr sz="750" dirty="0">
              <a:solidFill>
                <a:schemeClr val="tx1">
                  <a:lumMod val="85000"/>
                  <a:lumOff val="15000"/>
                </a:schemeClr>
              </a:solidFill>
              <a:latin typeface="Lato" panose="020F0502020204030203" pitchFamily="34" charset="0"/>
              <a:cs typeface="Lato" panose="020F0502020204030203" pitchFamily="34" charset="0"/>
            </a:endParaRPr>
          </a:p>
          <a:p>
            <a:pPr>
              <a:lnSpc>
                <a:spcPct val="190000"/>
              </a:lnSpc>
              <a:defRPr sz="2000">
                <a:solidFill>
                  <a:srgbClr val="4C6077"/>
                </a:solidFill>
                <a:latin typeface="Helvetica"/>
                <a:ea typeface="Helvetica"/>
                <a:cs typeface="Helvetica"/>
                <a:sym typeface="Helvetica"/>
              </a:defRPr>
            </a:pPr>
            <a:r>
              <a:rPr sz="750" dirty="0">
                <a:solidFill>
                  <a:schemeClr val="tx1">
                    <a:lumMod val="85000"/>
                    <a:lumOff val="15000"/>
                  </a:schemeClr>
                </a:solidFill>
                <a:latin typeface="Lato" panose="020F0502020204030203" pitchFamily="34" charset="0"/>
                <a:cs typeface="Lato" panose="020F0502020204030203" pitchFamily="34" charset="0"/>
              </a:rPr>
              <a:t>24/7 Phone Support</a:t>
            </a:r>
            <a:endParaRPr sz="750" dirty="0">
              <a:solidFill>
                <a:schemeClr val="tx1">
                  <a:lumMod val="85000"/>
                  <a:lumOff val="15000"/>
                </a:schemeClr>
              </a:solidFill>
              <a:latin typeface="Lato" panose="020F0502020204030203" pitchFamily="34" charset="0"/>
              <a:cs typeface="Lato" panose="020F0502020204030203" pitchFamily="34" charset="0"/>
            </a:endParaRPr>
          </a:p>
        </p:txBody>
      </p:sp>
      <p:sp>
        <p:nvSpPr>
          <p:cNvPr id="72" name="Shape 17656"/>
          <p:cNvSpPr/>
          <p:nvPr/>
        </p:nvSpPr>
        <p:spPr>
          <a:xfrm>
            <a:off x="6964425" y="2894953"/>
            <a:ext cx="87280" cy="72960"/>
          </a:xfrm>
          <a:custGeom>
            <a:avLst/>
            <a:gdLst/>
            <a:ahLst/>
            <a:cxnLst>
              <a:cxn ang="0">
                <a:pos x="wd2" y="hd2"/>
              </a:cxn>
              <a:cxn ang="5400000">
                <a:pos x="wd2" y="hd2"/>
              </a:cxn>
              <a:cxn ang="10800000">
                <a:pos x="wd2" y="hd2"/>
              </a:cxn>
              <a:cxn ang="16200000">
                <a:pos x="wd2" y="hd2"/>
              </a:cxn>
            </a:cxnLst>
            <a:rect l="0" t="0" r="r" b="b"/>
            <a:pathLst>
              <a:path w="21600" h="21600" extrusionOk="0">
                <a:moveTo>
                  <a:pt x="904" y="0"/>
                </a:moveTo>
                <a:cubicBezTo>
                  <a:pt x="363" y="0"/>
                  <a:pt x="0" y="434"/>
                  <a:pt x="0" y="1081"/>
                </a:cubicBezTo>
                <a:lnTo>
                  <a:pt x="0" y="3222"/>
                </a:lnTo>
                <a:cubicBezTo>
                  <a:pt x="0" y="3869"/>
                  <a:pt x="363" y="4303"/>
                  <a:pt x="904" y="4303"/>
                </a:cubicBezTo>
                <a:lnTo>
                  <a:pt x="20696" y="4303"/>
                </a:lnTo>
                <a:cubicBezTo>
                  <a:pt x="21237" y="4303"/>
                  <a:pt x="21600" y="3869"/>
                  <a:pt x="21600" y="3222"/>
                </a:cubicBezTo>
                <a:cubicBezTo>
                  <a:pt x="21600" y="3222"/>
                  <a:pt x="21600" y="1081"/>
                  <a:pt x="21600" y="1081"/>
                </a:cubicBezTo>
                <a:cubicBezTo>
                  <a:pt x="21600" y="434"/>
                  <a:pt x="21237" y="0"/>
                  <a:pt x="20696" y="0"/>
                </a:cubicBezTo>
                <a:lnTo>
                  <a:pt x="904" y="0"/>
                </a:lnTo>
                <a:close/>
                <a:moveTo>
                  <a:pt x="904" y="8818"/>
                </a:moveTo>
                <a:cubicBezTo>
                  <a:pt x="363" y="8818"/>
                  <a:pt x="0" y="9253"/>
                  <a:pt x="0" y="9899"/>
                </a:cubicBezTo>
                <a:lnTo>
                  <a:pt x="0" y="12051"/>
                </a:lnTo>
                <a:cubicBezTo>
                  <a:pt x="0" y="12697"/>
                  <a:pt x="363" y="13132"/>
                  <a:pt x="904" y="13132"/>
                </a:cubicBezTo>
                <a:lnTo>
                  <a:pt x="20696" y="13132"/>
                </a:lnTo>
                <a:cubicBezTo>
                  <a:pt x="21237" y="13132"/>
                  <a:pt x="21600" y="12697"/>
                  <a:pt x="21600" y="12051"/>
                </a:cubicBezTo>
                <a:cubicBezTo>
                  <a:pt x="21600" y="12051"/>
                  <a:pt x="21600" y="9899"/>
                  <a:pt x="21600" y="9899"/>
                </a:cubicBezTo>
                <a:cubicBezTo>
                  <a:pt x="21600" y="9253"/>
                  <a:pt x="21237" y="8818"/>
                  <a:pt x="20696" y="8818"/>
                </a:cubicBezTo>
                <a:lnTo>
                  <a:pt x="904" y="8818"/>
                </a:lnTo>
                <a:close/>
                <a:moveTo>
                  <a:pt x="904" y="17297"/>
                </a:moveTo>
                <a:cubicBezTo>
                  <a:pt x="363" y="17297"/>
                  <a:pt x="0" y="17730"/>
                  <a:pt x="0" y="18378"/>
                </a:cubicBezTo>
                <a:lnTo>
                  <a:pt x="0" y="20519"/>
                </a:lnTo>
                <a:cubicBezTo>
                  <a:pt x="0" y="21167"/>
                  <a:pt x="363" y="21600"/>
                  <a:pt x="904" y="21600"/>
                </a:cubicBezTo>
                <a:lnTo>
                  <a:pt x="20696" y="21600"/>
                </a:lnTo>
                <a:cubicBezTo>
                  <a:pt x="21237" y="21600"/>
                  <a:pt x="21600" y="21167"/>
                  <a:pt x="21600" y="20519"/>
                </a:cubicBezTo>
                <a:cubicBezTo>
                  <a:pt x="21600" y="20519"/>
                  <a:pt x="21600" y="18378"/>
                  <a:pt x="21600" y="18378"/>
                </a:cubicBezTo>
                <a:cubicBezTo>
                  <a:pt x="21600" y="17730"/>
                  <a:pt x="21237" y="17297"/>
                  <a:pt x="20696" y="17297"/>
                </a:cubicBezTo>
                <a:lnTo>
                  <a:pt x="904" y="17297"/>
                </a:ln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73" name="Shape 17657"/>
          <p:cNvSpPr/>
          <p:nvPr/>
        </p:nvSpPr>
        <p:spPr>
          <a:xfrm>
            <a:off x="6960034" y="3294364"/>
            <a:ext cx="91670" cy="75651"/>
          </a:xfrm>
          <a:custGeom>
            <a:avLst/>
            <a:gdLst/>
            <a:ahLst/>
            <a:cxnLst>
              <a:cxn ang="0">
                <a:pos x="wd2" y="hd2"/>
              </a:cxn>
              <a:cxn ang="5400000">
                <a:pos x="wd2" y="hd2"/>
              </a:cxn>
              <a:cxn ang="10800000">
                <a:pos x="wd2" y="hd2"/>
              </a:cxn>
              <a:cxn ang="16200000">
                <a:pos x="wd2" y="hd2"/>
              </a:cxn>
            </a:cxnLst>
            <a:rect l="0" t="0" r="r" b="b"/>
            <a:pathLst>
              <a:path w="21600" h="21600" extrusionOk="0">
                <a:moveTo>
                  <a:pt x="2629" y="0"/>
                </a:moveTo>
                <a:cubicBezTo>
                  <a:pt x="2275" y="0"/>
                  <a:pt x="1989" y="346"/>
                  <a:pt x="1989" y="775"/>
                </a:cubicBezTo>
                <a:lnTo>
                  <a:pt x="1989" y="7222"/>
                </a:lnTo>
                <a:cubicBezTo>
                  <a:pt x="1989" y="7475"/>
                  <a:pt x="2089" y="7703"/>
                  <a:pt x="2256" y="7846"/>
                </a:cubicBezTo>
                <a:lnTo>
                  <a:pt x="10391" y="14874"/>
                </a:lnTo>
                <a:cubicBezTo>
                  <a:pt x="10502" y="14969"/>
                  <a:pt x="10635" y="15024"/>
                  <a:pt x="10764" y="15024"/>
                </a:cubicBezTo>
                <a:cubicBezTo>
                  <a:pt x="10894" y="15024"/>
                  <a:pt x="11023" y="14969"/>
                  <a:pt x="11137" y="14874"/>
                </a:cubicBezTo>
                <a:lnTo>
                  <a:pt x="19273" y="7846"/>
                </a:lnTo>
                <a:cubicBezTo>
                  <a:pt x="19441" y="7698"/>
                  <a:pt x="19539" y="7471"/>
                  <a:pt x="19539" y="7222"/>
                </a:cubicBezTo>
                <a:lnTo>
                  <a:pt x="19539" y="775"/>
                </a:lnTo>
                <a:cubicBezTo>
                  <a:pt x="19539" y="346"/>
                  <a:pt x="19254" y="0"/>
                  <a:pt x="18900" y="0"/>
                </a:cubicBezTo>
                <a:lnTo>
                  <a:pt x="2629" y="0"/>
                </a:lnTo>
                <a:close/>
                <a:moveTo>
                  <a:pt x="3268" y="1550"/>
                </a:moveTo>
                <a:lnTo>
                  <a:pt x="18261" y="1550"/>
                </a:lnTo>
                <a:lnTo>
                  <a:pt x="18261" y="6813"/>
                </a:lnTo>
                <a:lnTo>
                  <a:pt x="10764" y="13291"/>
                </a:lnTo>
                <a:lnTo>
                  <a:pt x="3268" y="6813"/>
                </a:lnTo>
                <a:cubicBezTo>
                  <a:pt x="3268" y="6813"/>
                  <a:pt x="3268" y="1550"/>
                  <a:pt x="3268" y="1550"/>
                </a:cubicBezTo>
                <a:close/>
                <a:moveTo>
                  <a:pt x="5809" y="3100"/>
                </a:moveTo>
                <a:cubicBezTo>
                  <a:pt x="5424" y="3100"/>
                  <a:pt x="5116" y="3474"/>
                  <a:pt x="5116" y="3939"/>
                </a:cubicBezTo>
                <a:cubicBezTo>
                  <a:pt x="5116" y="4406"/>
                  <a:pt x="5424" y="4778"/>
                  <a:pt x="5809" y="4778"/>
                </a:cubicBezTo>
                <a:lnTo>
                  <a:pt x="15338" y="4778"/>
                </a:lnTo>
                <a:cubicBezTo>
                  <a:pt x="15723" y="4778"/>
                  <a:pt x="16031" y="4406"/>
                  <a:pt x="16031" y="3939"/>
                </a:cubicBezTo>
                <a:cubicBezTo>
                  <a:pt x="16031" y="3474"/>
                  <a:pt x="15723" y="3100"/>
                  <a:pt x="15338" y="3100"/>
                </a:cubicBezTo>
                <a:lnTo>
                  <a:pt x="5809" y="3100"/>
                </a:lnTo>
                <a:close/>
                <a:moveTo>
                  <a:pt x="5809" y="6199"/>
                </a:moveTo>
                <a:cubicBezTo>
                  <a:pt x="5424" y="6199"/>
                  <a:pt x="5116" y="6572"/>
                  <a:pt x="5116" y="7039"/>
                </a:cubicBezTo>
                <a:cubicBezTo>
                  <a:pt x="5116" y="7504"/>
                  <a:pt x="5424" y="7878"/>
                  <a:pt x="5809" y="7878"/>
                </a:cubicBezTo>
                <a:lnTo>
                  <a:pt x="15338" y="7878"/>
                </a:lnTo>
                <a:cubicBezTo>
                  <a:pt x="15723" y="7878"/>
                  <a:pt x="16031" y="7504"/>
                  <a:pt x="16031" y="7039"/>
                </a:cubicBezTo>
                <a:cubicBezTo>
                  <a:pt x="16031" y="6577"/>
                  <a:pt x="15723" y="6199"/>
                  <a:pt x="15338" y="6199"/>
                </a:cubicBezTo>
                <a:lnTo>
                  <a:pt x="5809" y="6199"/>
                </a:lnTo>
                <a:close/>
                <a:moveTo>
                  <a:pt x="0" y="6543"/>
                </a:moveTo>
                <a:lnTo>
                  <a:pt x="0" y="21600"/>
                </a:lnTo>
                <a:lnTo>
                  <a:pt x="21600" y="21600"/>
                </a:lnTo>
                <a:lnTo>
                  <a:pt x="21600" y="6543"/>
                </a:lnTo>
                <a:cubicBezTo>
                  <a:pt x="21600" y="6543"/>
                  <a:pt x="18936" y="8847"/>
                  <a:pt x="18936" y="8847"/>
                </a:cubicBezTo>
                <a:lnTo>
                  <a:pt x="10800" y="15874"/>
                </a:lnTo>
                <a:lnTo>
                  <a:pt x="2664" y="8847"/>
                </a:lnTo>
                <a:lnTo>
                  <a:pt x="0" y="6543"/>
                </a:ln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74" name="Shape 17658"/>
          <p:cNvSpPr/>
          <p:nvPr/>
        </p:nvSpPr>
        <p:spPr>
          <a:xfrm>
            <a:off x="6960034" y="3089269"/>
            <a:ext cx="91670" cy="85085"/>
          </a:xfrm>
          <a:custGeom>
            <a:avLst/>
            <a:gdLst/>
            <a:ahLst/>
            <a:cxnLst>
              <a:cxn ang="0">
                <a:pos x="wd2" y="hd2"/>
              </a:cxn>
              <a:cxn ang="5400000">
                <a:pos x="wd2" y="hd2"/>
              </a:cxn>
              <a:cxn ang="10800000">
                <a:pos x="wd2" y="hd2"/>
              </a:cxn>
              <a:cxn ang="16200000">
                <a:pos x="wd2" y="hd2"/>
              </a:cxn>
            </a:cxnLst>
            <a:rect l="0" t="0" r="r" b="b"/>
            <a:pathLst>
              <a:path w="21499" h="21600" extrusionOk="0">
                <a:moveTo>
                  <a:pt x="10802" y="0"/>
                </a:moveTo>
                <a:cubicBezTo>
                  <a:pt x="6813" y="0"/>
                  <a:pt x="3297" y="2576"/>
                  <a:pt x="1796" y="6506"/>
                </a:cubicBezTo>
                <a:lnTo>
                  <a:pt x="869" y="6105"/>
                </a:lnTo>
                <a:cubicBezTo>
                  <a:pt x="630" y="6003"/>
                  <a:pt x="362" y="6067"/>
                  <a:pt x="186" y="6263"/>
                </a:cubicBezTo>
                <a:cubicBezTo>
                  <a:pt x="7" y="6463"/>
                  <a:pt x="-52" y="6760"/>
                  <a:pt x="49" y="7013"/>
                </a:cubicBezTo>
                <a:lnTo>
                  <a:pt x="1639" y="11038"/>
                </a:lnTo>
                <a:cubicBezTo>
                  <a:pt x="1706" y="11205"/>
                  <a:pt x="1835" y="11341"/>
                  <a:pt x="1991" y="11407"/>
                </a:cubicBezTo>
                <a:cubicBezTo>
                  <a:pt x="2147" y="11475"/>
                  <a:pt x="2325" y="11480"/>
                  <a:pt x="2479" y="11407"/>
                </a:cubicBezTo>
                <a:lnTo>
                  <a:pt x="6196" y="9675"/>
                </a:lnTo>
                <a:cubicBezTo>
                  <a:pt x="6430" y="9566"/>
                  <a:pt x="6589" y="9318"/>
                  <a:pt x="6587" y="9041"/>
                </a:cubicBezTo>
                <a:cubicBezTo>
                  <a:pt x="6582" y="8763"/>
                  <a:pt x="6423" y="8523"/>
                  <a:pt x="6186" y="8418"/>
                </a:cubicBezTo>
                <a:lnTo>
                  <a:pt x="5162" y="7975"/>
                </a:lnTo>
                <a:cubicBezTo>
                  <a:pt x="6106" y="5570"/>
                  <a:pt x="8315" y="3929"/>
                  <a:pt x="10802" y="3929"/>
                </a:cubicBezTo>
                <a:cubicBezTo>
                  <a:pt x="13298" y="3929"/>
                  <a:pt x="15505" y="5594"/>
                  <a:pt x="16442" y="7996"/>
                </a:cubicBezTo>
                <a:cubicBezTo>
                  <a:pt x="16766" y="8821"/>
                  <a:pt x="17580" y="9287"/>
                  <a:pt x="18393" y="9115"/>
                </a:cubicBezTo>
                <a:lnTo>
                  <a:pt x="18520" y="9094"/>
                </a:lnTo>
                <a:cubicBezTo>
                  <a:pt x="19039" y="8985"/>
                  <a:pt x="19482" y="8627"/>
                  <a:pt x="19730" y="8122"/>
                </a:cubicBezTo>
                <a:cubicBezTo>
                  <a:pt x="19978" y="7618"/>
                  <a:pt x="20003" y="7023"/>
                  <a:pt x="19798" y="6496"/>
                </a:cubicBezTo>
                <a:cubicBezTo>
                  <a:pt x="18310" y="2658"/>
                  <a:pt x="14786" y="0"/>
                  <a:pt x="10802" y="0"/>
                </a:cubicBezTo>
                <a:close/>
                <a:moveTo>
                  <a:pt x="19506" y="10182"/>
                </a:moveTo>
                <a:cubicBezTo>
                  <a:pt x="19349" y="10115"/>
                  <a:pt x="19181" y="10123"/>
                  <a:pt x="19027" y="10193"/>
                </a:cubicBezTo>
                <a:lnTo>
                  <a:pt x="15300" y="11914"/>
                </a:lnTo>
                <a:cubicBezTo>
                  <a:pt x="15066" y="12021"/>
                  <a:pt x="14917" y="12283"/>
                  <a:pt x="14920" y="12559"/>
                </a:cubicBezTo>
                <a:cubicBezTo>
                  <a:pt x="14924" y="12835"/>
                  <a:pt x="15073" y="13080"/>
                  <a:pt x="15310" y="13182"/>
                </a:cubicBezTo>
                <a:lnTo>
                  <a:pt x="16334" y="13625"/>
                </a:lnTo>
                <a:cubicBezTo>
                  <a:pt x="15390" y="16029"/>
                  <a:pt x="13182" y="17671"/>
                  <a:pt x="10694" y="17671"/>
                </a:cubicBezTo>
                <a:cubicBezTo>
                  <a:pt x="8198" y="17671"/>
                  <a:pt x="5992" y="16008"/>
                  <a:pt x="5055" y="13604"/>
                </a:cubicBezTo>
                <a:cubicBezTo>
                  <a:pt x="4731" y="12779"/>
                  <a:pt x="3916" y="12302"/>
                  <a:pt x="3103" y="12474"/>
                </a:cubicBezTo>
                <a:lnTo>
                  <a:pt x="2976" y="12506"/>
                </a:lnTo>
                <a:cubicBezTo>
                  <a:pt x="2457" y="12613"/>
                  <a:pt x="2014" y="12965"/>
                  <a:pt x="1766" y="13467"/>
                </a:cubicBezTo>
                <a:cubicBezTo>
                  <a:pt x="1518" y="13972"/>
                  <a:pt x="1494" y="14577"/>
                  <a:pt x="1698" y="15104"/>
                </a:cubicBezTo>
                <a:cubicBezTo>
                  <a:pt x="3188" y="18940"/>
                  <a:pt x="6710" y="21600"/>
                  <a:pt x="10694" y="21600"/>
                </a:cubicBezTo>
                <a:cubicBezTo>
                  <a:pt x="14686" y="21600"/>
                  <a:pt x="18209" y="19023"/>
                  <a:pt x="19711" y="15094"/>
                </a:cubicBezTo>
                <a:lnTo>
                  <a:pt x="20637" y="15484"/>
                </a:lnTo>
                <a:cubicBezTo>
                  <a:pt x="20874" y="15589"/>
                  <a:pt x="21141" y="15535"/>
                  <a:pt x="21321" y="15337"/>
                </a:cubicBezTo>
                <a:cubicBezTo>
                  <a:pt x="21497" y="15137"/>
                  <a:pt x="21548" y="14843"/>
                  <a:pt x="21447" y="14587"/>
                </a:cubicBezTo>
                <a:lnTo>
                  <a:pt x="19857" y="10552"/>
                </a:lnTo>
                <a:cubicBezTo>
                  <a:pt x="19790" y="10386"/>
                  <a:pt x="19662" y="10250"/>
                  <a:pt x="19506" y="10182"/>
                </a:cubicBez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75" name="Shape 17659"/>
          <p:cNvSpPr/>
          <p:nvPr/>
        </p:nvSpPr>
        <p:spPr>
          <a:xfrm>
            <a:off x="6958813" y="3486013"/>
            <a:ext cx="92891" cy="93110"/>
          </a:xfrm>
          <a:custGeom>
            <a:avLst/>
            <a:gdLst/>
            <a:ahLst/>
            <a:cxnLst>
              <a:cxn ang="0">
                <a:pos x="wd2" y="hd2"/>
              </a:cxn>
              <a:cxn ang="5400000">
                <a:pos x="wd2" y="hd2"/>
              </a:cxn>
              <a:cxn ang="10800000">
                <a:pos x="wd2" y="hd2"/>
              </a:cxn>
              <a:cxn ang="16200000">
                <a:pos x="wd2" y="hd2"/>
              </a:cxn>
            </a:cxnLst>
            <a:rect l="0" t="0" r="r" b="b"/>
            <a:pathLst>
              <a:path w="21600" h="21600" extrusionOk="0">
                <a:moveTo>
                  <a:pt x="10775" y="0"/>
                </a:moveTo>
                <a:cubicBezTo>
                  <a:pt x="10041" y="0"/>
                  <a:pt x="9310" y="67"/>
                  <a:pt x="8597" y="213"/>
                </a:cubicBezTo>
                <a:cubicBezTo>
                  <a:pt x="8064" y="321"/>
                  <a:pt x="7726" y="849"/>
                  <a:pt x="7834" y="1380"/>
                </a:cubicBezTo>
                <a:cubicBezTo>
                  <a:pt x="7942" y="1912"/>
                  <a:pt x="8461" y="2254"/>
                  <a:pt x="8994" y="2142"/>
                </a:cubicBezTo>
                <a:cubicBezTo>
                  <a:pt x="9259" y="2088"/>
                  <a:pt x="9528" y="2049"/>
                  <a:pt x="9798" y="2020"/>
                </a:cubicBezTo>
                <a:lnTo>
                  <a:pt x="9798" y="7450"/>
                </a:lnTo>
                <a:cubicBezTo>
                  <a:pt x="9512" y="7434"/>
                  <a:pt x="9222" y="7410"/>
                  <a:pt x="8943" y="7379"/>
                </a:cubicBezTo>
                <a:cubicBezTo>
                  <a:pt x="8404" y="7318"/>
                  <a:pt x="7925" y="7714"/>
                  <a:pt x="7865" y="8252"/>
                </a:cubicBezTo>
                <a:cubicBezTo>
                  <a:pt x="7804" y="8791"/>
                  <a:pt x="8187" y="9276"/>
                  <a:pt x="8730" y="9338"/>
                </a:cubicBezTo>
                <a:cubicBezTo>
                  <a:pt x="9080" y="9377"/>
                  <a:pt x="9438" y="9399"/>
                  <a:pt x="9798" y="9420"/>
                </a:cubicBezTo>
                <a:lnTo>
                  <a:pt x="9798" y="12170"/>
                </a:lnTo>
                <a:cubicBezTo>
                  <a:pt x="9438" y="12188"/>
                  <a:pt x="9080" y="12224"/>
                  <a:pt x="8730" y="12262"/>
                </a:cubicBezTo>
                <a:cubicBezTo>
                  <a:pt x="8187" y="12322"/>
                  <a:pt x="7804" y="12809"/>
                  <a:pt x="7865" y="13348"/>
                </a:cubicBezTo>
                <a:cubicBezTo>
                  <a:pt x="7925" y="13886"/>
                  <a:pt x="8404" y="14273"/>
                  <a:pt x="8943" y="14211"/>
                </a:cubicBezTo>
                <a:cubicBezTo>
                  <a:pt x="9222" y="14179"/>
                  <a:pt x="9512" y="14158"/>
                  <a:pt x="9798" y="14139"/>
                </a:cubicBezTo>
                <a:lnTo>
                  <a:pt x="9798" y="19570"/>
                </a:lnTo>
                <a:cubicBezTo>
                  <a:pt x="9542" y="19543"/>
                  <a:pt x="9287" y="19508"/>
                  <a:pt x="9035" y="19458"/>
                </a:cubicBezTo>
                <a:cubicBezTo>
                  <a:pt x="8502" y="19353"/>
                  <a:pt x="7980" y="19698"/>
                  <a:pt x="7875" y="20230"/>
                </a:cubicBezTo>
                <a:cubicBezTo>
                  <a:pt x="7767" y="20761"/>
                  <a:pt x="8115" y="21279"/>
                  <a:pt x="8648" y="21387"/>
                </a:cubicBezTo>
                <a:cubicBezTo>
                  <a:pt x="9345" y="21526"/>
                  <a:pt x="10057" y="21600"/>
                  <a:pt x="10775" y="21600"/>
                </a:cubicBezTo>
                <a:cubicBezTo>
                  <a:pt x="16743" y="21600"/>
                  <a:pt x="21600" y="16754"/>
                  <a:pt x="21600" y="10800"/>
                </a:cubicBezTo>
                <a:cubicBezTo>
                  <a:pt x="21600" y="4845"/>
                  <a:pt x="16743" y="0"/>
                  <a:pt x="10775" y="0"/>
                </a:cubicBezTo>
                <a:close/>
                <a:moveTo>
                  <a:pt x="6400" y="2274"/>
                </a:moveTo>
                <a:cubicBezTo>
                  <a:pt x="6400" y="2274"/>
                  <a:pt x="5267" y="2276"/>
                  <a:pt x="5189" y="2294"/>
                </a:cubicBezTo>
                <a:cubicBezTo>
                  <a:pt x="2600" y="2541"/>
                  <a:pt x="0" y="4889"/>
                  <a:pt x="0" y="10861"/>
                </a:cubicBezTo>
                <a:cubicBezTo>
                  <a:pt x="0" y="16833"/>
                  <a:pt x="2600" y="19181"/>
                  <a:pt x="5189" y="19428"/>
                </a:cubicBezTo>
                <a:cubicBezTo>
                  <a:pt x="5267" y="19444"/>
                  <a:pt x="6400" y="19448"/>
                  <a:pt x="6400" y="19448"/>
                </a:cubicBezTo>
                <a:cubicBezTo>
                  <a:pt x="6818" y="19448"/>
                  <a:pt x="7202" y="19242"/>
                  <a:pt x="7427" y="18890"/>
                </a:cubicBezTo>
                <a:cubicBezTo>
                  <a:pt x="7654" y="18538"/>
                  <a:pt x="7686" y="18094"/>
                  <a:pt x="7509" y="17712"/>
                </a:cubicBezTo>
                <a:cubicBezTo>
                  <a:pt x="7509" y="17712"/>
                  <a:pt x="6461" y="15429"/>
                  <a:pt x="6461" y="15429"/>
                </a:cubicBezTo>
                <a:cubicBezTo>
                  <a:pt x="6290" y="15060"/>
                  <a:pt x="5946" y="14808"/>
                  <a:pt x="5545" y="14738"/>
                </a:cubicBezTo>
                <a:lnTo>
                  <a:pt x="2889" y="14282"/>
                </a:lnTo>
                <a:cubicBezTo>
                  <a:pt x="2512" y="12976"/>
                  <a:pt x="2462" y="11547"/>
                  <a:pt x="2462" y="10861"/>
                </a:cubicBezTo>
                <a:cubicBezTo>
                  <a:pt x="2462" y="10172"/>
                  <a:pt x="2512" y="8746"/>
                  <a:pt x="2889" y="7440"/>
                </a:cubicBezTo>
                <a:lnTo>
                  <a:pt x="5545" y="6994"/>
                </a:lnTo>
                <a:cubicBezTo>
                  <a:pt x="5946" y="6924"/>
                  <a:pt x="6290" y="6661"/>
                  <a:pt x="6461" y="6293"/>
                </a:cubicBezTo>
                <a:lnTo>
                  <a:pt x="7509" y="4009"/>
                </a:lnTo>
                <a:cubicBezTo>
                  <a:pt x="7686" y="3630"/>
                  <a:pt x="7654" y="3195"/>
                  <a:pt x="7427" y="2842"/>
                </a:cubicBezTo>
                <a:cubicBezTo>
                  <a:pt x="7202" y="2490"/>
                  <a:pt x="6818" y="2274"/>
                  <a:pt x="6400" y="2274"/>
                </a:cubicBezTo>
                <a:close/>
                <a:moveTo>
                  <a:pt x="11761" y="2284"/>
                </a:moveTo>
                <a:cubicBezTo>
                  <a:pt x="12814" y="2966"/>
                  <a:pt x="13804" y="4689"/>
                  <a:pt x="14325" y="7085"/>
                </a:cubicBezTo>
                <a:cubicBezTo>
                  <a:pt x="13516" y="7273"/>
                  <a:pt x="12654" y="7396"/>
                  <a:pt x="11761" y="7450"/>
                </a:cubicBezTo>
                <a:lnTo>
                  <a:pt x="11761" y="2284"/>
                </a:lnTo>
                <a:close/>
                <a:moveTo>
                  <a:pt x="14885" y="2974"/>
                </a:moveTo>
                <a:cubicBezTo>
                  <a:pt x="16084" y="3602"/>
                  <a:pt x="17119" y="4501"/>
                  <a:pt x="17917" y="5583"/>
                </a:cubicBezTo>
                <a:cubicBezTo>
                  <a:pt x="17424" y="5930"/>
                  <a:pt x="16844" y="6236"/>
                  <a:pt x="16208" y="6496"/>
                </a:cubicBezTo>
                <a:cubicBezTo>
                  <a:pt x="15897" y="5157"/>
                  <a:pt x="15447" y="3962"/>
                  <a:pt x="14885" y="2974"/>
                </a:cubicBezTo>
                <a:close/>
                <a:moveTo>
                  <a:pt x="18904" y="7278"/>
                </a:moveTo>
                <a:cubicBezTo>
                  <a:pt x="19374" y="8357"/>
                  <a:pt x="19636" y="9550"/>
                  <a:pt x="19636" y="10800"/>
                </a:cubicBezTo>
                <a:cubicBezTo>
                  <a:pt x="19636" y="12047"/>
                  <a:pt x="19374" y="13235"/>
                  <a:pt x="18904" y="14312"/>
                </a:cubicBezTo>
                <a:cubicBezTo>
                  <a:pt x="18215" y="13845"/>
                  <a:pt x="17416" y="13439"/>
                  <a:pt x="16543" y="13114"/>
                </a:cubicBezTo>
                <a:cubicBezTo>
                  <a:pt x="16629" y="12367"/>
                  <a:pt x="16686" y="11594"/>
                  <a:pt x="16686" y="10790"/>
                </a:cubicBezTo>
                <a:cubicBezTo>
                  <a:pt x="16686" y="9989"/>
                  <a:pt x="16629" y="9223"/>
                  <a:pt x="16543" y="8476"/>
                </a:cubicBezTo>
                <a:cubicBezTo>
                  <a:pt x="17416" y="8153"/>
                  <a:pt x="18215" y="7744"/>
                  <a:pt x="18904" y="7278"/>
                </a:cubicBezTo>
                <a:close/>
                <a:moveTo>
                  <a:pt x="14631" y="9034"/>
                </a:moveTo>
                <a:cubicBezTo>
                  <a:pt x="14685" y="9597"/>
                  <a:pt x="14712" y="10188"/>
                  <a:pt x="14712" y="10800"/>
                </a:cubicBezTo>
                <a:cubicBezTo>
                  <a:pt x="14712" y="11410"/>
                  <a:pt x="14685" y="11991"/>
                  <a:pt x="14631" y="12556"/>
                </a:cubicBezTo>
                <a:cubicBezTo>
                  <a:pt x="13720" y="12354"/>
                  <a:pt x="12755" y="12224"/>
                  <a:pt x="11761" y="12170"/>
                </a:cubicBezTo>
                <a:lnTo>
                  <a:pt x="11761" y="9420"/>
                </a:lnTo>
                <a:cubicBezTo>
                  <a:pt x="12755" y="9368"/>
                  <a:pt x="13720" y="9236"/>
                  <a:pt x="14631" y="9034"/>
                </a:cubicBezTo>
                <a:close/>
                <a:moveTo>
                  <a:pt x="11761" y="14139"/>
                </a:moveTo>
                <a:cubicBezTo>
                  <a:pt x="12654" y="14191"/>
                  <a:pt x="13516" y="14316"/>
                  <a:pt x="14325" y="14505"/>
                </a:cubicBezTo>
                <a:cubicBezTo>
                  <a:pt x="13804" y="16898"/>
                  <a:pt x="12814" y="18627"/>
                  <a:pt x="11761" y="19306"/>
                </a:cubicBezTo>
                <a:lnTo>
                  <a:pt x="11761" y="14139"/>
                </a:lnTo>
                <a:close/>
                <a:moveTo>
                  <a:pt x="16208" y="15104"/>
                </a:moveTo>
                <a:cubicBezTo>
                  <a:pt x="16842" y="15364"/>
                  <a:pt x="17424" y="15662"/>
                  <a:pt x="17917" y="16007"/>
                </a:cubicBezTo>
                <a:cubicBezTo>
                  <a:pt x="17119" y="17089"/>
                  <a:pt x="16081" y="17988"/>
                  <a:pt x="14885" y="18616"/>
                </a:cubicBezTo>
                <a:cubicBezTo>
                  <a:pt x="15445" y="17631"/>
                  <a:pt x="15897" y="16444"/>
                  <a:pt x="16208" y="15104"/>
                </a:cubicBez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76" name="Shape 17660"/>
          <p:cNvSpPr/>
          <p:nvPr/>
        </p:nvSpPr>
        <p:spPr>
          <a:xfrm>
            <a:off x="6967224" y="2687797"/>
            <a:ext cx="84481" cy="86515"/>
          </a:xfrm>
          <a:custGeom>
            <a:avLst/>
            <a:gdLst/>
            <a:ahLst/>
            <a:cxnLst>
              <a:cxn ang="0">
                <a:pos x="wd2" y="hd2"/>
              </a:cxn>
              <a:cxn ang="5400000">
                <a:pos x="wd2" y="hd2"/>
              </a:cxn>
              <a:cxn ang="10800000">
                <a:pos x="wd2" y="hd2"/>
              </a:cxn>
              <a:cxn ang="16200000">
                <a:pos x="wd2" y="hd2"/>
              </a:cxn>
            </a:cxnLst>
            <a:rect l="0" t="0" r="r" b="b"/>
            <a:pathLst>
              <a:path w="21600" h="21600" extrusionOk="0">
                <a:moveTo>
                  <a:pt x="3939" y="0"/>
                </a:moveTo>
                <a:cubicBezTo>
                  <a:pt x="3525" y="0"/>
                  <a:pt x="3187" y="330"/>
                  <a:pt x="3187" y="735"/>
                </a:cubicBezTo>
                <a:lnTo>
                  <a:pt x="3187" y="5014"/>
                </a:lnTo>
                <a:cubicBezTo>
                  <a:pt x="3187" y="5418"/>
                  <a:pt x="3525" y="5738"/>
                  <a:pt x="3939" y="5738"/>
                </a:cubicBezTo>
                <a:lnTo>
                  <a:pt x="5300" y="5738"/>
                </a:lnTo>
                <a:cubicBezTo>
                  <a:pt x="5715" y="5738"/>
                  <a:pt x="6053" y="5418"/>
                  <a:pt x="6053" y="5014"/>
                </a:cubicBezTo>
                <a:lnTo>
                  <a:pt x="6053" y="735"/>
                </a:lnTo>
                <a:cubicBezTo>
                  <a:pt x="6053" y="330"/>
                  <a:pt x="5715" y="0"/>
                  <a:pt x="5300" y="0"/>
                </a:cubicBezTo>
                <a:lnTo>
                  <a:pt x="3939" y="0"/>
                </a:lnTo>
                <a:close/>
                <a:moveTo>
                  <a:pt x="15979" y="0"/>
                </a:moveTo>
                <a:cubicBezTo>
                  <a:pt x="15564" y="0"/>
                  <a:pt x="15226" y="330"/>
                  <a:pt x="15226" y="735"/>
                </a:cubicBezTo>
                <a:lnTo>
                  <a:pt x="15226" y="5014"/>
                </a:lnTo>
                <a:cubicBezTo>
                  <a:pt x="15226" y="5418"/>
                  <a:pt x="15564" y="5738"/>
                  <a:pt x="15979" y="5738"/>
                </a:cubicBezTo>
                <a:lnTo>
                  <a:pt x="17340" y="5738"/>
                </a:lnTo>
                <a:cubicBezTo>
                  <a:pt x="17754" y="5738"/>
                  <a:pt x="18092" y="5418"/>
                  <a:pt x="18092" y="5014"/>
                </a:cubicBezTo>
                <a:lnTo>
                  <a:pt x="18092" y="735"/>
                </a:lnTo>
                <a:cubicBezTo>
                  <a:pt x="18092" y="330"/>
                  <a:pt x="17754" y="0"/>
                  <a:pt x="17340" y="0"/>
                </a:cubicBezTo>
                <a:lnTo>
                  <a:pt x="15979" y="0"/>
                </a:lnTo>
                <a:close/>
                <a:moveTo>
                  <a:pt x="7691" y="2420"/>
                </a:moveTo>
                <a:lnTo>
                  <a:pt x="7691" y="5035"/>
                </a:lnTo>
                <a:cubicBezTo>
                  <a:pt x="7691" y="6215"/>
                  <a:pt x="6696" y="7164"/>
                  <a:pt x="5489" y="7164"/>
                </a:cubicBezTo>
                <a:lnTo>
                  <a:pt x="4105" y="7164"/>
                </a:lnTo>
                <a:cubicBezTo>
                  <a:pt x="2897" y="7164"/>
                  <a:pt x="1925" y="6215"/>
                  <a:pt x="1925" y="5035"/>
                </a:cubicBezTo>
                <a:lnTo>
                  <a:pt x="1925" y="2431"/>
                </a:lnTo>
                <a:cubicBezTo>
                  <a:pt x="870" y="2462"/>
                  <a:pt x="0" y="3317"/>
                  <a:pt x="0" y="4365"/>
                </a:cubicBezTo>
                <a:lnTo>
                  <a:pt x="0" y="19655"/>
                </a:lnTo>
                <a:cubicBezTo>
                  <a:pt x="0" y="20723"/>
                  <a:pt x="887" y="21600"/>
                  <a:pt x="1981" y="21600"/>
                </a:cubicBezTo>
                <a:lnTo>
                  <a:pt x="19619" y="21600"/>
                </a:lnTo>
                <a:cubicBezTo>
                  <a:pt x="20711" y="21600"/>
                  <a:pt x="21600" y="20721"/>
                  <a:pt x="21600" y="19655"/>
                </a:cubicBezTo>
                <a:lnTo>
                  <a:pt x="21600" y="4365"/>
                </a:lnTo>
                <a:cubicBezTo>
                  <a:pt x="21600" y="3317"/>
                  <a:pt x="20741" y="2462"/>
                  <a:pt x="19686" y="2431"/>
                </a:cubicBezTo>
                <a:lnTo>
                  <a:pt x="19686" y="5035"/>
                </a:lnTo>
                <a:cubicBezTo>
                  <a:pt x="19686" y="6215"/>
                  <a:pt x="18703" y="7164"/>
                  <a:pt x="17495" y="7164"/>
                </a:cubicBezTo>
                <a:lnTo>
                  <a:pt x="16111" y="7164"/>
                </a:lnTo>
                <a:cubicBezTo>
                  <a:pt x="14904" y="7164"/>
                  <a:pt x="13909" y="6215"/>
                  <a:pt x="13909" y="5035"/>
                </a:cubicBezTo>
                <a:lnTo>
                  <a:pt x="13909" y="2420"/>
                </a:lnTo>
                <a:lnTo>
                  <a:pt x="7691" y="2420"/>
                </a:lnTo>
                <a:close/>
                <a:moveTo>
                  <a:pt x="3386" y="9963"/>
                </a:moveTo>
                <a:lnTo>
                  <a:pt x="18181" y="9963"/>
                </a:lnTo>
                <a:cubicBezTo>
                  <a:pt x="18654" y="9963"/>
                  <a:pt x="19044" y="10344"/>
                  <a:pt x="19044" y="10805"/>
                </a:cubicBezTo>
                <a:cubicBezTo>
                  <a:pt x="19044" y="10805"/>
                  <a:pt x="19044" y="18704"/>
                  <a:pt x="19044" y="18704"/>
                </a:cubicBezTo>
                <a:cubicBezTo>
                  <a:pt x="19044" y="19166"/>
                  <a:pt x="18654" y="19536"/>
                  <a:pt x="18181" y="19536"/>
                </a:cubicBezTo>
                <a:lnTo>
                  <a:pt x="3386" y="19536"/>
                </a:lnTo>
                <a:cubicBezTo>
                  <a:pt x="2913" y="19536"/>
                  <a:pt x="2523" y="19166"/>
                  <a:pt x="2523" y="18704"/>
                </a:cubicBezTo>
                <a:lnTo>
                  <a:pt x="2523" y="10805"/>
                </a:lnTo>
                <a:cubicBezTo>
                  <a:pt x="2523" y="10344"/>
                  <a:pt x="2913" y="9963"/>
                  <a:pt x="3386" y="9963"/>
                </a:cubicBezTo>
                <a:close/>
                <a:moveTo>
                  <a:pt x="5455" y="11411"/>
                </a:moveTo>
                <a:cubicBezTo>
                  <a:pt x="5178" y="11411"/>
                  <a:pt x="4957" y="11627"/>
                  <a:pt x="4957" y="11897"/>
                </a:cubicBezTo>
                <a:lnTo>
                  <a:pt x="4957" y="13604"/>
                </a:lnTo>
                <a:cubicBezTo>
                  <a:pt x="4957" y="13875"/>
                  <a:pt x="5178" y="14101"/>
                  <a:pt x="5455" y="14101"/>
                </a:cubicBezTo>
                <a:lnTo>
                  <a:pt x="7204" y="14101"/>
                </a:lnTo>
                <a:cubicBezTo>
                  <a:pt x="7481" y="14101"/>
                  <a:pt x="7713" y="13875"/>
                  <a:pt x="7713" y="13604"/>
                </a:cubicBezTo>
                <a:cubicBezTo>
                  <a:pt x="7713" y="13604"/>
                  <a:pt x="7713" y="11897"/>
                  <a:pt x="7713" y="11897"/>
                </a:cubicBezTo>
                <a:cubicBezTo>
                  <a:pt x="7713" y="11627"/>
                  <a:pt x="7481" y="11411"/>
                  <a:pt x="7204" y="11411"/>
                </a:cubicBezTo>
                <a:lnTo>
                  <a:pt x="5455" y="11411"/>
                </a:lnTo>
                <a:close/>
                <a:moveTo>
                  <a:pt x="9705" y="11411"/>
                </a:moveTo>
                <a:cubicBezTo>
                  <a:pt x="9428" y="11411"/>
                  <a:pt x="9207" y="11627"/>
                  <a:pt x="9207" y="11897"/>
                </a:cubicBezTo>
                <a:lnTo>
                  <a:pt x="9207" y="13604"/>
                </a:lnTo>
                <a:cubicBezTo>
                  <a:pt x="9207" y="13875"/>
                  <a:pt x="9428" y="14101"/>
                  <a:pt x="9705" y="14101"/>
                </a:cubicBezTo>
                <a:lnTo>
                  <a:pt x="11453" y="14101"/>
                </a:lnTo>
                <a:cubicBezTo>
                  <a:pt x="11730" y="14101"/>
                  <a:pt x="11962" y="13875"/>
                  <a:pt x="11962" y="13604"/>
                </a:cubicBezTo>
                <a:cubicBezTo>
                  <a:pt x="11962" y="13604"/>
                  <a:pt x="11962" y="11897"/>
                  <a:pt x="11962" y="11897"/>
                </a:cubicBezTo>
                <a:cubicBezTo>
                  <a:pt x="11962" y="11627"/>
                  <a:pt x="11730" y="11411"/>
                  <a:pt x="11453" y="11411"/>
                </a:cubicBezTo>
                <a:lnTo>
                  <a:pt x="9705" y="11411"/>
                </a:lnTo>
                <a:close/>
                <a:moveTo>
                  <a:pt x="14308" y="11411"/>
                </a:moveTo>
                <a:cubicBezTo>
                  <a:pt x="14030" y="11411"/>
                  <a:pt x="13810" y="11627"/>
                  <a:pt x="13810" y="11897"/>
                </a:cubicBezTo>
                <a:lnTo>
                  <a:pt x="13810" y="13604"/>
                </a:lnTo>
                <a:cubicBezTo>
                  <a:pt x="13810" y="13875"/>
                  <a:pt x="14030" y="14101"/>
                  <a:pt x="14308" y="14101"/>
                </a:cubicBezTo>
                <a:lnTo>
                  <a:pt x="16056" y="14101"/>
                </a:lnTo>
                <a:cubicBezTo>
                  <a:pt x="16333" y="14101"/>
                  <a:pt x="16565" y="13875"/>
                  <a:pt x="16565" y="13604"/>
                </a:cubicBezTo>
                <a:cubicBezTo>
                  <a:pt x="16565" y="13604"/>
                  <a:pt x="16565" y="11897"/>
                  <a:pt x="16565" y="11897"/>
                </a:cubicBezTo>
                <a:cubicBezTo>
                  <a:pt x="16565" y="11627"/>
                  <a:pt x="16333" y="11411"/>
                  <a:pt x="16056" y="11411"/>
                </a:cubicBezTo>
                <a:lnTo>
                  <a:pt x="14308" y="11411"/>
                </a:lnTo>
                <a:close/>
                <a:moveTo>
                  <a:pt x="5455" y="15560"/>
                </a:moveTo>
                <a:cubicBezTo>
                  <a:pt x="5178" y="15560"/>
                  <a:pt x="4957" y="15775"/>
                  <a:pt x="4957" y="16046"/>
                </a:cubicBezTo>
                <a:lnTo>
                  <a:pt x="4957" y="17753"/>
                </a:lnTo>
                <a:cubicBezTo>
                  <a:pt x="4957" y="18024"/>
                  <a:pt x="5178" y="18250"/>
                  <a:pt x="5455" y="18250"/>
                </a:cubicBezTo>
                <a:lnTo>
                  <a:pt x="7204" y="18250"/>
                </a:lnTo>
                <a:cubicBezTo>
                  <a:pt x="7481" y="18250"/>
                  <a:pt x="7713" y="18024"/>
                  <a:pt x="7713" y="17753"/>
                </a:cubicBezTo>
                <a:cubicBezTo>
                  <a:pt x="7713" y="17753"/>
                  <a:pt x="7713" y="16046"/>
                  <a:pt x="7713" y="16046"/>
                </a:cubicBezTo>
                <a:cubicBezTo>
                  <a:pt x="7713" y="15775"/>
                  <a:pt x="7481" y="15560"/>
                  <a:pt x="7204" y="15560"/>
                </a:cubicBezTo>
                <a:lnTo>
                  <a:pt x="5455" y="15560"/>
                </a:lnTo>
                <a:close/>
                <a:moveTo>
                  <a:pt x="9705" y="15560"/>
                </a:moveTo>
                <a:cubicBezTo>
                  <a:pt x="9428" y="15560"/>
                  <a:pt x="9207" y="15775"/>
                  <a:pt x="9207" y="16046"/>
                </a:cubicBezTo>
                <a:lnTo>
                  <a:pt x="9207" y="17753"/>
                </a:lnTo>
                <a:cubicBezTo>
                  <a:pt x="9207" y="18024"/>
                  <a:pt x="9428" y="18250"/>
                  <a:pt x="9705" y="18250"/>
                </a:cubicBezTo>
                <a:lnTo>
                  <a:pt x="11453" y="18250"/>
                </a:lnTo>
                <a:cubicBezTo>
                  <a:pt x="11730" y="18250"/>
                  <a:pt x="11962" y="18024"/>
                  <a:pt x="11962" y="17753"/>
                </a:cubicBezTo>
                <a:cubicBezTo>
                  <a:pt x="11962" y="17753"/>
                  <a:pt x="11962" y="16046"/>
                  <a:pt x="11962" y="16046"/>
                </a:cubicBezTo>
                <a:cubicBezTo>
                  <a:pt x="11962" y="15775"/>
                  <a:pt x="11730" y="15560"/>
                  <a:pt x="11453" y="15560"/>
                </a:cubicBezTo>
                <a:lnTo>
                  <a:pt x="9705" y="15560"/>
                </a:lnTo>
                <a:close/>
                <a:moveTo>
                  <a:pt x="14308" y="15560"/>
                </a:moveTo>
                <a:cubicBezTo>
                  <a:pt x="14030" y="15560"/>
                  <a:pt x="13810" y="15775"/>
                  <a:pt x="13810" y="16046"/>
                </a:cubicBezTo>
                <a:lnTo>
                  <a:pt x="13810" y="17753"/>
                </a:lnTo>
                <a:cubicBezTo>
                  <a:pt x="13810" y="18024"/>
                  <a:pt x="14030" y="18250"/>
                  <a:pt x="14308" y="18250"/>
                </a:cubicBezTo>
                <a:lnTo>
                  <a:pt x="16056" y="18250"/>
                </a:lnTo>
                <a:cubicBezTo>
                  <a:pt x="16332" y="18250"/>
                  <a:pt x="16565" y="18024"/>
                  <a:pt x="16565" y="17753"/>
                </a:cubicBezTo>
                <a:cubicBezTo>
                  <a:pt x="16565" y="17753"/>
                  <a:pt x="16565" y="16046"/>
                  <a:pt x="16565" y="16046"/>
                </a:cubicBezTo>
                <a:cubicBezTo>
                  <a:pt x="16565" y="15775"/>
                  <a:pt x="16332" y="15560"/>
                  <a:pt x="16056" y="15560"/>
                </a:cubicBezTo>
                <a:lnTo>
                  <a:pt x="14308" y="15560"/>
                </a:lnTo>
                <a:close/>
              </a:path>
            </a:pathLst>
          </a:custGeom>
          <a:solidFill>
            <a:schemeClr val="tx1">
              <a:lumMod val="75000"/>
              <a:lumOff val="25000"/>
            </a:schemeClr>
          </a:solidFill>
          <a:ln w="12700" cap="flat">
            <a:noFill/>
            <a:miter lim="400000"/>
          </a:ln>
          <a:effectLst/>
        </p:spPr>
        <p:txBody>
          <a:bodyPr wrap="square" lIns="14288" tIns="14288" rIns="14288" bIns="14288" numCol="1" anchor="ctr">
            <a:noAutofit/>
          </a:bodyPr>
          <a:lstStyle/>
          <a:p>
            <a:pPr defTabSz="17145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050">
              <a:latin typeface="Lato" panose="020F0502020204030203" pitchFamily="34" charset="0"/>
              <a:cs typeface="Lato" panose="020F0502020204030203" pitchFamily="34" charset="0"/>
            </a:endParaRPr>
          </a:p>
        </p:txBody>
      </p:sp>
      <p:sp>
        <p:nvSpPr>
          <p:cNvPr id="77" name="Shape 17649"/>
          <p:cNvSpPr/>
          <p:nvPr/>
        </p:nvSpPr>
        <p:spPr>
          <a:xfrm>
            <a:off x="5127957" y="1317363"/>
            <a:ext cx="895242" cy="223138"/>
          </a:xfrm>
          <a:prstGeom prst="rect">
            <a:avLst/>
          </a:prstGeom>
          <a:solidFill>
            <a:srgbClr val="548235"/>
          </a:solid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sz="825" b="1" dirty="0">
                <a:solidFill>
                  <a:schemeClr val="bg1"/>
                </a:solidFill>
                <a:latin typeface="Lato" panose="020F0502020204030203" pitchFamily="34" charset="0"/>
                <a:cs typeface="Lato" panose="020F0502020204030203" pitchFamily="34" charset="0"/>
              </a:rPr>
              <a:t>BUY NOW</a:t>
            </a:r>
            <a:endParaRPr sz="825" b="1" dirty="0">
              <a:solidFill>
                <a:schemeClr val="bg1"/>
              </a:solidFill>
              <a:latin typeface="Lato" panose="020F0502020204030203" pitchFamily="34" charset="0"/>
              <a:cs typeface="Lato" panose="020F0502020204030203" pitchFamily="34" charset="0"/>
            </a:endParaRPr>
          </a:p>
        </p:txBody>
      </p:sp>
      <p:sp>
        <p:nvSpPr>
          <p:cNvPr id="78" name="Shape 17649"/>
          <p:cNvSpPr/>
          <p:nvPr/>
        </p:nvSpPr>
        <p:spPr>
          <a:xfrm>
            <a:off x="2647296" y="1317363"/>
            <a:ext cx="895242" cy="223138"/>
          </a:xfrm>
          <a:prstGeom prst="rect">
            <a:avLst/>
          </a:prstGeom>
          <a:solidFill>
            <a:srgbClr val="548235"/>
          </a:solid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sz="825" b="1" dirty="0">
                <a:solidFill>
                  <a:schemeClr val="bg1"/>
                </a:solidFill>
                <a:latin typeface="Lato" panose="020F0502020204030203" pitchFamily="34" charset="0"/>
                <a:cs typeface="Lato" panose="020F0502020204030203" pitchFamily="34" charset="0"/>
              </a:rPr>
              <a:t>BUY NOW</a:t>
            </a:r>
            <a:endParaRPr sz="825" b="1" dirty="0">
              <a:solidFill>
                <a:schemeClr val="bg1"/>
              </a:solidFill>
              <a:latin typeface="Lato" panose="020F0502020204030203" pitchFamily="34" charset="0"/>
              <a:cs typeface="Lato" panose="020F0502020204030203"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p:cNvCxnSpPr/>
          <p:nvPr/>
        </p:nvCxnSpPr>
        <p:spPr>
          <a:xfrm>
            <a:off x="334310" y="4935237"/>
            <a:ext cx="0" cy="1653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itle 1"/>
          <p:cNvSpPr txBox="1"/>
          <p:nvPr/>
        </p:nvSpPr>
        <p:spPr>
          <a:xfrm>
            <a:off x="2939663" y="483253"/>
            <a:ext cx="3264674" cy="48474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2700" b="1" spc="-113" dirty="0">
                <a:solidFill>
                  <a:srgbClr val="548235"/>
                </a:solidFill>
                <a:latin typeface="Lato" panose="020F0502020204030203" pitchFamily="34" charset="0"/>
                <a:ea typeface="Open Sans" panose="020B0606030504020204" pitchFamily="34" charset="0"/>
                <a:cs typeface="Lato" panose="020F0502020204030203" pitchFamily="34" charset="0"/>
              </a:rPr>
              <a:t>Content</a:t>
            </a:r>
            <a:r>
              <a:rPr lang="en-US" sz="2700" b="1" spc="-113" dirty="0">
                <a:solidFill>
                  <a:schemeClr val="accent1"/>
                </a:solidFill>
                <a:latin typeface="Lato" panose="020F0502020204030203" pitchFamily="34" charset="0"/>
                <a:ea typeface="Open Sans" panose="020B0606030504020204" pitchFamily="34" charset="0"/>
                <a:cs typeface="Lato" panose="020F0502020204030203" pitchFamily="34" charset="0"/>
              </a:rPr>
              <a:t> </a:t>
            </a:r>
            <a:r>
              <a:rPr lang="en-US" sz="2700" spc="-113" dirty="0">
                <a:solidFill>
                  <a:schemeClr val="tx1">
                    <a:lumMod val="75000"/>
                    <a:lumOff val="25000"/>
                  </a:schemeClr>
                </a:solidFill>
                <a:latin typeface="Lato" panose="020F0502020204030203" pitchFamily="34" charset="0"/>
                <a:ea typeface="Open Sans" panose="020B0606030504020204" pitchFamily="34" charset="0"/>
                <a:cs typeface="Lato" panose="020F0502020204030203" pitchFamily="34" charset="0"/>
              </a:rPr>
              <a:t>Company</a:t>
            </a:r>
            <a:endParaRPr lang="en-US" sz="2700" spc="-113" dirty="0">
              <a:solidFill>
                <a:schemeClr val="tx1">
                  <a:lumMod val="75000"/>
                  <a:lumOff val="25000"/>
                </a:schemeClr>
              </a:solidFill>
              <a:latin typeface="Lato" panose="020F0502020204030203" pitchFamily="34" charset="0"/>
              <a:ea typeface="Open Sans" panose="020B0606030504020204" pitchFamily="34" charset="0"/>
              <a:cs typeface="Lato" panose="020F0502020204030203" pitchFamily="34" charset="0"/>
            </a:endParaRPr>
          </a:p>
        </p:txBody>
      </p:sp>
      <p:sp>
        <p:nvSpPr>
          <p:cNvPr id="9" name="Rectangle 8"/>
          <p:cNvSpPr/>
          <p:nvPr/>
        </p:nvSpPr>
        <p:spPr>
          <a:xfrm>
            <a:off x="3763496" y="968001"/>
            <a:ext cx="1617008" cy="219291"/>
          </a:xfrm>
          <a:prstGeom prst="rect">
            <a:avLst/>
          </a:prstGeom>
        </p:spPr>
        <p:txBody>
          <a:bodyPr wrap="square">
            <a:spAutoFit/>
          </a:bodyPr>
          <a:lstStyle/>
          <a:p>
            <a:pPr algn="ct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6" name="Freeform 5"/>
          <p:cNvSpPr/>
          <p:nvPr/>
        </p:nvSpPr>
        <p:spPr bwMode="auto">
          <a:xfrm>
            <a:off x="1102526" y="1648956"/>
            <a:ext cx="911033" cy="895203"/>
          </a:xfrm>
          <a:custGeom>
            <a:avLst/>
            <a:gdLst>
              <a:gd name="T0" fmla="*/ 138 w 21600"/>
              <a:gd name="T1" fmla="*/ 0 h 21600"/>
              <a:gd name="T2" fmla="*/ 8785 w 21600"/>
              <a:gd name="T3" fmla="*/ 0 h 21600"/>
              <a:gd name="T4" fmla="*/ 15571 w 21600"/>
              <a:gd name="T5" fmla="*/ 4851 h 21600"/>
              <a:gd name="T6" fmla="*/ 21600 w 21600"/>
              <a:gd name="T7" fmla="*/ 9036 h 21600"/>
              <a:gd name="T8" fmla="*/ 7506 w 21600"/>
              <a:gd name="T9" fmla="*/ 21600 h 21600"/>
              <a:gd name="T10" fmla="*/ 0 w 21600"/>
              <a:gd name="T11" fmla="*/ 21600 h 21600"/>
            </a:gdLst>
            <a:ahLst/>
            <a:cxnLst>
              <a:cxn ang="0">
                <a:pos x="T0" y="T1"/>
              </a:cxn>
              <a:cxn ang="0">
                <a:pos x="T2" y="T3"/>
              </a:cxn>
              <a:cxn ang="0">
                <a:pos x="T4" y="T5"/>
              </a:cxn>
              <a:cxn ang="0">
                <a:pos x="T6" y="T7"/>
              </a:cxn>
              <a:cxn ang="0">
                <a:pos x="T8" y="T9"/>
              </a:cxn>
              <a:cxn ang="0">
                <a:pos x="T10" y="T11"/>
              </a:cxn>
            </a:cxnLst>
            <a:rect l="0" t="0" r="r" b="b"/>
            <a:pathLst>
              <a:path w="21600" h="21600">
                <a:moveTo>
                  <a:pt x="138" y="0"/>
                </a:moveTo>
                <a:lnTo>
                  <a:pt x="8785" y="0"/>
                </a:lnTo>
                <a:cubicBezTo>
                  <a:pt x="11663" y="0"/>
                  <a:pt x="13508" y="2179"/>
                  <a:pt x="15571" y="4851"/>
                </a:cubicBezTo>
                <a:cubicBezTo>
                  <a:pt x="17634" y="7523"/>
                  <a:pt x="19346" y="10939"/>
                  <a:pt x="21600" y="9036"/>
                </a:cubicBezTo>
                <a:cubicBezTo>
                  <a:pt x="17256" y="16808"/>
                  <a:pt x="14307" y="21600"/>
                  <a:pt x="7506" y="21600"/>
                </a:cubicBezTo>
                <a:lnTo>
                  <a:pt x="0" y="21600"/>
                </a:lnTo>
              </a:path>
            </a:pathLst>
          </a:custGeom>
          <a:gradFill flip="none" rotWithShape="1">
            <a:gsLst>
              <a:gs pos="0">
                <a:srgbClr val="548235"/>
              </a:gs>
              <a:gs pos="100000">
                <a:srgbClr val="345020"/>
              </a:gs>
            </a:gsLst>
            <a:lin ang="2700000" scaled="1"/>
            <a:tileRect/>
          </a:gra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7" name="Freeform 6"/>
          <p:cNvSpPr/>
          <p:nvPr/>
        </p:nvSpPr>
        <p:spPr bwMode="auto">
          <a:xfrm rot="10800000">
            <a:off x="1930588" y="1648956"/>
            <a:ext cx="2416499" cy="895203"/>
          </a:xfrm>
          <a:custGeom>
            <a:avLst/>
            <a:gdLst>
              <a:gd name="T0" fmla="*/ 52 w 21600"/>
              <a:gd name="T1" fmla="*/ 0 h 21600"/>
              <a:gd name="T2" fmla="*/ 16770 w 21600"/>
              <a:gd name="T3" fmla="*/ 0 h 21600"/>
              <a:gd name="T4" fmla="*/ 19327 w 21600"/>
              <a:gd name="T5" fmla="*/ 4851 h 21600"/>
              <a:gd name="T6" fmla="*/ 21600 w 21600"/>
              <a:gd name="T7" fmla="*/ 9036 h 21600"/>
              <a:gd name="T8" fmla="*/ 16287 w 21600"/>
              <a:gd name="T9" fmla="*/ 21600 h 21600"/>
              <a:gd name="T10" fmla="*/ 0 w 21600"/>
              <a:gd name="T11" fmla="*/ 21600 h 21600"/>
            </a:gdLst>
            <a:ahLst/>
            <a:cxnLst>
              <a:cxn ang="0">
                <a:pos x="T0" y="T1"/>
              </a:cxn>
              <a:cxn ang="0">
                <a:pos x="T2" y="T3"/>
              </a:cxn>
              <a:cxn ang="0">
                <a:pos x="T4" y="T5"/>
              </a:cxn>
              <a:cxn ang="0">
                <a:pos x="T6" y="T7"/>
              </a:cxn>
              <a:cxn ang="0">
                <a:pos x="T8" y="T9"/>
              </a:cxn>
              <a:cxn ang="0">
                <a:pos x="T10" y="T11"/>
              </a:cxn>
            </a:cxnLst>
            <a:rect l="0" t="0" r="r" b="b"/>
            <a:pathLst>
              <a:path w="21600" h="21600">
                <a:moveTo>
                  <a:pt x="52" y="0"/>
                </a:moveTo>
                <a:lnTo>
                  <a:pt x="16770" y="0"/>
                </a:lnTo>
                <a:cubicBezTo>
                  <a:pt x="17854" y="0"/>
                  <a:pt x="18550" y="2179"/>
                  <a:pt x="19327" y="4851"/>
                </a:cubicBezTo>
                <a:cubicBezTo>
                  <a:pt x="20105" y="7523"/>
                  <a:pt x="20751" y="10939"/>
                  <a:pt x="21600" y="9036"/>
                </a:cubicBezTo>
                <a:cubicBezTo>
                  <a:pt x="19963" y="16808"/>
                  <a:pt x="18851" y="21600"/>
                  <a:pt x="16287" y="21600"/>
                </a:cubicBezTo>
                <a:lnTo>
                  <a:pt x="0" y="21600"/>
                </a:lnTo>
              </a:path>
            </a:pathLst>
          </a:custGeom>
          <a:gradFill flip="none" rotWithShape="1">
            <a:gsLst>
              <a:gs pos="0">
                <a:schemeClr val="bg1">
                  <a:lumMod val="95000"/>
                </a:schemeClr>
              </a:gs>
              <a:gs pos="100000">
                <a:schemeClr val="bg1">
                  <a:lumMod val="85000"/>
                </a:schemeClr>
              </a:gs>
            </a:gsLst>
            <a:lin ang="13500000" scaled="1"/>
            <a:tileRect/>
          </a:gra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0" name="Freeform 7"/>
          <p:cNvSpPr/>
          <p:nvPr/>
        </p:nvSpPr>
        <p:spPr bwMode="auto">
          <a:xfrm rot="10800000">
            <a:off x="5257028" y="1648956"/>
            <a:ext cx="2784446" cy="895203"/>
          </a:xfrm>
          <a:custGeom>
            <a:avLst/>
            <a:gdLst>
              <a:gd name="T0" fmla="*/ 37 w 21600"/>
              <a:gd name="T1" fmla="*/ 0 h 21600"/>
              <a:gd name="T2" fmla="*/ 18122 w 21600"/>
              <a:gd name="T3" fmla="*/ 0 h 21600"/>
              <a:gd name="T4" fmla="*/ 19964 w 21600"/>
              <a:gd name="T5" fmla="*/ 4851 h 21600"/>
              <a:gd name="T6" fmla="*/ 21600 w 21600"/>
              <a:gd name="T7" fmla="*/ 9036 h 21600"/>
              <a:gd name="T8" fmla="*/ 17775 w 21600"/>
              <a:gd name="T9" fmla="*/ 21600 h 21600"/>
              <a:gd name="T10" fmla="*/ 0 w 21600"/>
              <a:gd name="T11" fmla="*/ 21600 h 21600"/>
            </a:gdLst>
            <a:ahLst/>
            <a:cxnLst>
              <a:cxn ang="0">
                <a:pos x="T0" y="T1"/>
              </a:cxn>
              <a:cxn ang="0">
                <a:pos x="T2" y="T3"/>
              </a:cxn>
              <a:cxn ang="0">
                <a:pos x="T4" y="T5"/>
              </a:cxn>
              <a:cxn ang="0">
                <a:pos x="T6" y="T7"/>
              </a:cxn>
              <a:cxn ang="0">
                <a:pos x="T8" y="T9"/>
              </a:cxn>
              <a:cxn ang="0">
                <a:pos x="T10" y="T11"/>
              </a:cxn>
            </a:cxnLst>
            <a:rect l="0" t="0" r="r" b="b"/>
            <a:pathLst>
              <a:path w="21600" h="21600">
                <a:moveTo>
                  <a:pt x="37" y="0"/>
                </a:moveTo>
                <a:lnTo>
                  <a:pt x="18122" y="0"/>
                </a:lnTo>
                <a:cubicBezTo>
                  <a:pt x="18903" y="0"/>
                  <a:pt x="19404" y="2179"/>
                  <a:pt x="19964" y="4851"/>
                </a:cubicBezTo>
                <a:cubicBezTo>
                  <a:pt x="20524" y="7523"/>
                  <a:pt x="20988" y="10939"/>
                  <a:pt x="21600" y="9036"/>
                </a:cubicBezTo>
                <a:cubicBezTo>
                  <a:pt x="20421" y="16808"/>
                  <a:pt x="19620" y="21600"/>
                  <a:pt x="17775" y="21600"/>
                </a:cubicBezTo>
                <a:lnTo>
                  <a:pt x="0" y="21600"/>
                </a:lnTo>
              </a:path>
            </a:pathLst>
          </a:custGeom>
          <a:gradFill flip="none" rotWithShape="1">
            <a:gsLst>
              <a:gs pos="0">
                <a:schemeClr val="bg1">
                  <a:lumMod val="95000"/>
                </a:schemeClr>
              </a:gs>
              <a:gs pos="100000">
                <a:schemeClr val="bg1">
                  <a:lumMod val="85000"/>
                </a:schemeClr>
              </a:gs>
            </a:gsLst>
            <a:lin ang="13500000" scaled="1"/>
            <a:tileRect/>
          </a:gra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1" name="Freeform 8"/>
          <p:cNvSpPr/>
          <p:nvPr/>
        </p:nvSpPr>
        <p:spPr bwMode="auto">
          <a:xfrm>
            <a:off x="4364556" y="1648956"/>
            <a:ext cx="975989" cy="895203"/>
          </a:xfrm>
          <a:custGeom>
            <a:avLst/>
            <a:gdLst>
              <a:gd name="T0" fmla="*/ 129 w 21600"/>
              <a:gd name="T1" fmla="*/ 0 h 21600"/>
              <a:gd name="T2" fmla="*/ 9635 w 21600"/>
              <a:gd name="T3" fmla="*/ 0 h 21600"/>
              <a:gd name="T4" fmla="*/ 15971 w 21600"/>
              <a:gd name="T5" fmla="*/ 4851 h 21600"/>
              <a:gd name="T6" fmla="*/ 21600 w 21600"/>
              <a:gd name="T7" fmla="*/ 9036 h 21600"/>
              <a:gd name="T8" fmla="*/ 8440 w 21600"/>
              <a:gd name="T9" fmla="*/ 21600 h 21600"/>
              <a:gd name="T10" fmla="*/ 0 w 21600"/>
              <a:gd name="T11" fmla="*/ 21600 h 21600"/>
            </a:gdLst>
            <a:ahLst/>
            <a:cxnLst>
              <a:cxn ang="0">
                <a:pos x="T0" y="T1"/>
              </a:cxn>
              <a:cxn ang="0">
                <a:pos x="T2" y="T3"/>
              </a:cxn>
              <a:cxn ang="0">
                <a:pos x="T4" y="T5"/>
              </a:cxn>
              <a:cxn ang="0">
                <a:pos x="T6" y="T7"/>
              </a:cxn>
              <a:cxn ang="0">
                <a:pos x="T8" y="T9"/>
              </a:cxn>
              <a:cxn ang="0">
                <a:pos x="T10" y="T11"/>
              </a:cxn>
            </a:cxnLst>
            <a:rect l="0" t="0" r="r" b="b"/>
            <a:pathLst>
              <a:path w="21600" h="21600">
                <a:moveTo>
                  <a:pt x="129" y="0"/>
                </a:moveTo>
                <a:lnTo>
                  <a:pt x="9635" y="0"/>
                </a:lnTo>
                <a:cubicBezTo>
                  <a:pt x="12322" y="0"/>
                  <a:pt x="14045" y="2179"/>
                  <a:pt x="15971" y="4851"/>
                </a:cubicBezTo>
                <a:cubicBezTo>
                  <a:pt x="17897" y="7523"/>
                  <a:pt x="19496" y="10939"/>
                  <a:pt x="21600" y="9036"/>
                </a:cubicBezTo>
                <a:cubicBezTo>
                  <a:pt x="17544" y="16808"/>
                  <a:pt x="14790" y="21600"/>
                  <a:pt x="8440" y="21600"/>
                </a:cubicBezTo>
                <a:lnTo>
                  <a:pt x="0" y="21600"/>
                </a:lnTo>
              </a:path>
            </a:pathLst>
          </a:custGeom>
          <a:gradFill flip="none" rotWithShape="1">
            <a:gsLst>
              <a:gs pos="0">
                <a:srgbClr val="548235"/>
              </a:gs>
              <a:gs pos="100000">
                <a:srgbClr val="345020"/>
              </a:gs>
            </a:gsLst>
            <a:lin ang="2700000" scaled="1"/>
            <a:tileRect/>
          </a:gra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solidFill>
                <a:schemeClr val="bg1"/>
              </a:solidFill>
            </a:endParaRPr>
          </a:p>
        </p:txBody>
      </p:sp>
      <p:sp>
        <p:nvSpPr>
          <p:cNvPr id="13" name="Rectangle 10"/>
          <p:cNvSpPr/>
          <p:nvPr/>
        </p:nvSpPr>
        <p:spPr bwMode="auto">
          <a:xfrm>
            <a:off x="1240081" y="1782619"/>
            <a:ext cx="349347" cy="296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r>
              <a:rPr lang="en-US" sz="1425">
                <a:solidFill>
                  <a:srgbClr val="FFFFFF"/>
                </a:solidFill>
                <a:latin typeface="Lato" panose="020F0502020204030203" pitchFamily="34" charset="0"/>
                <a:ea typeface="MS PGothic" panose="020B0600070205080204" charset="-128"/>
                <a:cs typeface="Lato" panose="020F0502020204030203" pitchFamily="34" charset="0"/>
                <a:sym typeface="Bebas Neue" charset="0"/>
              </a:rPr>
              <a:t>01</a:t>
            </a:r>
            <a:endParaRPr lang="en-US" sz="1425">
              <a:solidFill>
                <a:srgbClr val="FFFFFF"/>
              </a:solidFill>
              <a:latin typeface="Lato" panose="020F0502020204030203" pitchFamily="34" charset="0"/>
              <a:ea typeface="MS PGothic" panose="020B0600070205080204" charset="-128"/>
              <a:cs typeface="Lato" panose="020F0502020204030203" pitchFamily="34" charset="0"/>
              <a:sym typeface="Bebas Neue" charset="0"/>
            </a:endParaRPr>
          </a:p>
        </p:txBody>
      </p:sp>
      <p:sp>
        <p:nvSpPr>
          <p:cNvPr id="16" name="Rectangle 13"/>
          <p:cNvSpPr/>
          <p:nvPr/>
        </p:nvSpPr>
        <p:spPr bwMode="auto">
          <a:xfrm>
            <a:off x="4571981" y="1760856"/>
            <a:ext cx="349347" cy="296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r>
              <a:rPr lang="en-US" sz="1425" dirty="0">
                <a:solidFill>
                  <a:schemeClr val="bg1"/>
                </a:solidFill>
                <a:latin typeface="Lato" panose="020F0502020204030203" pitchFamily="34" charset="0"/>
                <a:ea typeface="MS PGothic" panose="020B0600070205080204" charset="-128"/>
                <a:cs typeface="Lato" panose="020F0502020204030203" pitchFamily="34" charset="0"/>
                <a:sym typeface="Bebas Neue" charset="0"/>
              </a:rPr>
              <a:t>02</a:t>
            </a:r>
            <a:endParaRPr lang="en-US" sz="1425" dirty="0">
              <a:solidFill>
                <a:schemeClr val="bg1"/>
              </a:solidFill>
              <a:latin typeface="Lato" panose="020F0502020204030203" pitchFamily="34" charset="0"/>
              <a:ea typeface="MS PGothic" panose="020B0600070205080204" charset="-128"/>
              <a:cs typeface="Lato" panose="020F0502020204030203" pitchFamily="34" charset="0"/>
              <a:sym typeface="Bebas Neue" charset="0"/>
            </a:endParaRPr>
          </a:p>
        </p:txBody>
      </p:sp>
      <p:sp>
        <p:nvSpPr>
          <p:cNvPr id="25" name="Freeform 21"/>
          <p:cNvSpPr/>
          <p:nvPr/>
        </p:nvSpPr>
        <p:spPr bwMode="auto">
          <a:xfrm>
            <a:off x="1102526" y="2574726"/>
            <a:ext cx="911033" cy="895203"/>
          </a:xfrm>
          <a:custGeom>
            <a:avLst/>
            <a:gdLst>
              <a:gd name="T0" fmla="*/ 138 w 21600"/>
              <a:gd name="T1" fmla="*/ 0 h 21600"/>
              <a:gd name="T2" fmla="*/ 8785 w 21600"/>
              <a:gd name="T3" fmla="*/ 0 h 21600"/>
              <a:gd name="T4" fmla="*/ 15571 w 21600"/>
              <a:gd name="T5" fmla="*/ 4851 h 21600"/>
              <a:gd name="T6" fmla="*/ 21600 w 21600"/>
              <a:gd name="T7" fmla="*/ 9036 h 21600"/>
              <a:gd name="T8" fmla="*/ 7506 w 21600"/>
              <a:gd name="T9" fmla="*/ 21600 h 21600"/>
              <a:gd name="T10" fmla="*/ 0 w 21600"/>
              <a:gd name="T11" fmla="*/ 21600 h 21600"/>
            </a:gdLst>
            <a:ahLst/>
            <a:cxnLst>
              <a:cxn ang="0">
                <a:pos x="T0" y="T1"/>
              </a:cxn>
              <a:cxn ang="0">
                <a:pos x="T2" y="T3"/>
              </a:cxn>
              <a:cxn ang="0">
                <a:pos x="T4" y="T5"/>
              </a:cxn>
              <a:cxn ang="0">
                <a:pos x="T6" y="T7"/>
              </a:cxn>
              <a:cxn ang="0">
                <a:pos x="T8" y="T9"/>
              </a:cxn>
              <a:cxn ang="0">
                <a:pos x="T10" y="T11"/>
              </a:cxn>
            </a:cxnLst>
            <a:rect l="0" t="0" r="r" b="b"/>
            <a:pathLst>
              <a:path w="21600" h="21600">
                <a:moveTo>
                  <a:pt x="138" y="0"/>
                </a:moveTo>
                <a:lnTo>
                  <a:pt x="8785" y="0"/>
                </a:lnTo>
                <a:cubicBezTo>
                  <a:pt x="11663" y="0"/>
                  <a:pt x="13508" y="2179"/>
                  <a:pt x="15571" y="4851"/>
                </a:cubicBezTo>
                <a:cubicBezTo>
                  <a:pt x="17634" y="7523"/>
                  <a:pt x="19346" y="10939"/>
                  <a:pt x="21600" y="9036"/>
                </a:cubicBezTo>
                <a:cubicBezTo>
                  <a:pt x="17256" y="16808"/>
                  <a:pt x="14307" y="21600"/>
                  <a:pt x="7506" y="21600"/>
                </a:cubicBezTo>
                <a:lnTo>
                  <a:pt x="0" y="21600"/>
                </a:lnTo>
              </a:path>
            </a:pathLst>
          </a:custGeom>
          <a:gradFill flip="none" rotWithShape="1">
            <a:gsLst>
              <a:gs pos="0">
                <a:srgbClr val="548235"/>
              </a:gs>
              <a:gs pos="100000">
                <a:srgbClr val="345020"/>
              </a:gs>
            </a:gsLst>
            <a:lin ang="2700000" scaled="1"/>
            <a:tileRect/>
          </a:gra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6" name="Freeform 22"/>
          <p:cNvSpPr/>
          <p:nvPr/>
        </p:nvSpPr>
        <p:spPr bwMode="auto">
          <a:xfrm rot="10800000">
            <a:off x="1930588" y="2574726"/>
            <a:ext cx="2416499" cy="895203"/>
          </a:xfrm>
          <a:custGeom>
            <a:avLst/>
            <a:gdLst>
              <a:gd name="T0" fmla="*/ 52 w 21600"/>
              <a:gd name="T1" fmla="*/ 0 h 21600"/>
              <a:gd name="T2" fmla="*/ 16770 w 21600"/>
              <a:gd name="T3" fmla="*/ 0 h 21600"/>
              <a:gd name="T4" fmla="*/ 19327 w 21600"/>
              <a:gd name="T5" fmla="*/ 4851 h 21600"/>
              <a:gd name="T6" fmla="*/ 21600 w 21600"/>
              <a:gd name="T7" fmla="*/ 9036 h 21600"/>
              <a:gd name="T8" fmla="*/ 16287 w 21600"/>
              <a:gd name="T9" fmla="*/ 21600 h 21600"/>
              <a:gd name="T10" fmla="*/ 0 w 21600"/>
              <a:gd name="T11" fmla="*/ 21600 h 21600"/>
            </a:gdLst>
            <a:ahLst/>
            <a:cxnLst>
              <a:cxn ang="0">
                <a:pos x="T0" y="T1"/>
              </a:cxn>
              <a:cxn ang="0">
                <a:pos x="T2" y="T3"/>
              </a:cxn>
              <a:cxn ang="0">
                <a:pos x="T4" y="T5"/>
              </a:cxn>
              <a:cxn ang="0">
                <a:pos x="T6" y="T7"/>
              </a:cxn>
              <a:cxn ang="0">
                <a:pos x="T8" y="T9"/>
              </a:cxn>
              <a:cxn ang="0">
                <a:pos x="T10" y="T11"/>
              </a:cxn>
            </a:cxnLst>
            <a:rect l="0" t="0" r="r" b="b"/>
            <a:pathLst>
              <a:path w="21600" h="21600">
                <a:moveTo>
                  <a:pt x="52" y="0"/>
                </a:moveTo>
                <a:lnTo>
                  <a:pt x="16770" y="0"/>
                </a:lnTo>
                <a:cubicBezTo>
                  <a:pt x="17854" y="0"/>
                  <a:pt x="18550" y="2179"/>
                  <a:pt x="19327" y="4851"/>
                </a:cubicBezTo>
                <a:cubicBezTo>
                  <a:pt x="20105" y="7523"/>
                  <a:pt x="20751" y="10939"/>
                  <a:pt x="21600" y="9036"/>
                </a:cubicBezTo>
                <a:cubicBezTo>
                  <a:pt x="19963" y="16808"/>
                  <a:pt x="18851" y="21600"/>
                  <a:pt x="16287" y="21600"/>
                </a:cubicBezTo>
                <a:lnTo>
                  <a:pt x="0" y="21600"/>
                </a:lnTo>
              </a:path>
            </a:pathLst>
          </a:custGeom>
          <a:gradFill flip="none" rotWithShape="1">
            <a:gsLst>
              <a:gs pos="0">
                <a:schemeClr val="bg1">
                  <a:lumMod val="95000"/>
                </a:schemeClr>
              </a:gs>
              <a:gs pos="100000">
                <a:schemeClr val="bg1">
                  <a:lumMod val="85000"/>
                </a:schemeClr>
              </a:gs>
            </a:gsLst>
            <a:lin ang="13500000" scaled="1"/>
            <a:tileRect/>
          </a:gra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7" name="Freeform 23"/>
          <p:cNvSpPr/>
          <p:nvPr/>
        </p:nvSpPr>
        <p:spPr bwMode="auto">
          <a:xfrm rot="10800000">
            <a:off x="5257028" y="2574726"/>
            <a:ext cx="2784446" cy="895203"/>
          </a:xfrm>
          <a:custGeom>
            <a:avLst/>
            <a:gdLst>
              <a:gd name="T0" fmla="*/ 37 w 21600"/>
              <a:gd name="T1" fmla="*/ 0 h 21600"/>
              <a:gd name="T2" fmla="*/ 18122 w 21600"/>
              <a:gd name="T3" fmla="*/ 0 h 21600"/>
              <a:gd name="T4" fmla="*/ 19964 w 21600"/>
              <a:gd name="T5" fmla="*/ 4851 h 21600"/>
              <a:gd name="T6" fmla="*/ 21600 w 21600"/>
              <a:gd name="T7" fmla="*/ 9036 h 21600"/>
              <a:gd name="T8" fmla="*/ 17775 w 21600"/>
              <a:gd name="T9" fmla="*/ 21600 h 21600"/>
              <a:gd name="T10" fmla="*/ 0 w 21600"/>
              <a:gd name="T11" fmla="*/ 21600 h 21600"/>
            </a:gdLst>
            <a:ahLst/>
            <a:cxnLst>
              <a:cxn ang="0">
                <a:pos x="T0" y="T1"/>
              </a:cxn>
              <a:cxn ang="0">
                <a:pos x="T2" y="T3"/>
              </a:cxn>
              <a:cxn ang="0">
                <a:pos x="T4" y="T5"/>
              </a:cxn>
              <a:cxn ang="0">
                <a:pos x="T6" y="T7"/>
              </a:cxn>
              <a:cxn ang="0">
                <a:pos x="T8" y="T9"/>
              </a:cxn>
              <a:cxn ang="0">
                <a:pos x="T10" y="T11"/>
              </a:cxn>
            </a:cxnLst>
            <a:rect l="0" t="0" r="r" b="b"/>
            <a:pathLst>
              <a:path w="21600" h="21600">
                <a:moveTo>
                  <a:pt x="37" y="0"/>
                </a:moveTo>
                <a:lnTo>
                  <a:pt x="18122" y="0"/>
                </a:lnTo>
                <a:cubicBezTo>
                  <a:pt x="18903" y="0"/>
                  <a:pt x="19404" y="2179"/>
                  <a:pt x="19964" y="4851"/>
                </a:cubicBezTo>
                <a:cubicBezTo>
                  <a:pt x="20524" y="7523"/>
                  <a:pt x="20988" y="10939"/>
                  <a:pt x="21600" y="9036"/>
                </a:cubicBezTo>
                <a:cubicBezTo>
                  <a:pt x="20421" y="16808"/>
                  <a:pt x="19620" y="21600"/>
                  <a:pt x="17775" y="21600"/>
                </a:cubicBezTo>
                <a:lnTo>
                  <a:pt x="0" y="21600"/>
                </a:lnTo>
              </a:path>
            </a:pathLst>
          </a:custGeom>
          <a:gradFill flip="none" rotWithShape="1">
            <a:gsLst>
              <a:gs pos="0">
                <a:schemeClr val="bg1">
                  <a:lumMod val="95000"/>
                </a:schemeClr>
              </a:gs>
              <a:gs pos="100000">
                <a:schemeClr val="bg1">
                  <a:lumMod val="85000"/>
                </a:schemeClr>
              </a:gs>
            </a:gsLst>
            <a:lin ang="13500000" scaled="1"/>
            <a:tileRect/>
          </a:gra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8" name="Freeform 24"/>
          <p:cNvSpPr/>
          <p:nvPr/>
        </p:nvSpPr>
        <p:spPr bwMode="auto">
          <a:xfrm>
            <a:off x="4364556" y="2574726"/>
            <a:ext cx="975989" cy="895203"/>
          </a:xfrm>
          <a:custGeom>
            <a:avLst/>
            <a:gdLst>
              <a:gd name="T0" fmla="*/ 129 w 21600"/>
              <a:gd name="T1" fmla="*/ 0 h 21600"/>
              <a:gd name="T2" fmla="*/ 9635 w 21600"/>
              <a:gd name="T3" fmla="*/ 0 h 21600"/>
              <a:gd name="T4" fmla="*/ 15971 w 21600"/>
              <a:gd name="T5" fmla="*/ 4851 h 21600"/>
              <a:gd name="T6" fmla="*/ 21600 w 21600"/>
              <a:gd name="T7" fmla="*/ 9036 h 21600"/>
              <a:gd name="T8" fmla="*/ 8440 w 21600"/>
              <a:gd name="T9" fmla="*/ 21600 h 21600"/>
              <a:gd name="T10" fmla="*/ 0 w 21600"/>
              <a:gd name="T11" fmla="*/ 21600 h 21600"/>
            </a:gdLst>
            <a:ahLst/>
            <a:cxnLst>
              <a:cxn ang="0">
                <a:pos x="T0" y="T1"/>
              </a:cxn>
              <a:cxn ang="0">
                <a:pos x="T2" y="T3"/>
              </a:cxn>
              <a:cxn ang="0">
                <a:pos x="T4" y="T5"/>
              </a:cxn>
              <a:cxn ang="0">
                <a:pos x="T6" y="T7"/>
              </a:cxn>
              <a:cxn ang="0">
                <a:pos x="T8" y="T9"/>
              </a:cxn>
              <a:cxn ang="0">
                <a:pos x="T10" y="T11"/>
              </a:cxn>
            </a:cxnLst>
            <a:rect l="0" t="0" r="r" b="b"/>
            <a:pathLst>
              <a:path w="21600" h="21600">
                <a:moveTo>
                  <a:pt x="129" y="0"/>
                </a:moveTo>
                <a:lnTo>
                  <a:pt x="9635" y="0"/>
                </a:lnTo>
                <a:cubicBezTo>
                  <a:pt x="12322" y="0"/>
                  <a:pt x="14045" y="2179"/>
                  <a:pt x="15971" y="4851"/>
                </a:cubicBezTo>
                <a:cubicBezTo>
                  <a:pt x="17897" y="7523"/>
                  <a:pt x="19496" y="10939"/>
                  <a:pt x="21600" y="9036"/>
                </a:cubicBezTo>
                <a:cubicBezTo>
                  <a:pt x="17544" y="16808"/>
                  <a:pt x="14790" y="21600"/>
                  <a:pt x="8440" y="21600"/>
                </a:cubicBezTo>
                <a:lnTo>
                  <a:pt x="0" y="21600"/>
                </a:lnTo>
              </a:path>
            </a:pathLst>
          </a:custGeom>
          <a:gradFill flip="none" rotWithShape="1">
            <a:gsLst>
              <a:gs pos="0">
                <a:srgbClr val="548235"/>
              </a:gs>
              <a:gs pos="100000">
                <a:srgbClr val="345020"/>
              </a:gs>
            </a:gsLst>
            <a:lin ang="2700000" scaled="1"/>
            <a:tileRect/>
          </a:gra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solidFill>
                <a:schemeClr val="bg1"/>
              </a:solidFill>
              <a:latin typeface="Lato" panose="020F0502020204030203" pitchFamily="34" charset="0"/>
              <a:cs typeface="Lato" panose="020F0502020204030203" pitchFamily="34" charset="0"/>
            </a:endParaRPr>
          </a:p>
        </p:txBody>
      </p:sp>
      <p:sp>
        <p:nvSpPr>
          <p:cNvPr id="30" name="Rectangle 26"/>
          <p:cNvSpPr/>
          <p:nvPr/>
        </p:nvSpPr>
        <p:spPr bwMode="auto">
          <a:xfrm>
            <a:off x="1240081" y="2686626"/>
            <a:ext cx="349347" cy="296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r>
              <a:rPr lang="en-US" sz="1425">
                <a:solidFill>
                  <a:srgbClr val="FFFFFF"/>
                </a:solidFill>
                <a:latin typeface="Lato" panose="020F0502020204030203" pitchFamily="34" charset="0"/>
                <a:ea typeface="MS PGothic" panose="020B0600070205080204" charset="-128"/>
                <a:cs typeface="Lato" panose="020F0502020204030203" pitchFamily="34" charset="0"/>
                <a:sym typeface="Bebas Neue" charset="0"/>
              </a:rPr>
              <a:t>03</a:t>
            </a:r>
            <a:endParaRPr lang="en-US" sz="1425">
              <a:solidFill>
                <a:srgbClr val="FFFFFF"/>
              </a:solidFill>
              <a:latin typeface="Lato" panose="020F0502020204030203" pitchFamily="34" charset="0"/>
              <a:ea typeface="MS PGothic" panose="020B0600070205080204" charset="-128"/>
              <a:cs typeface="Lato" panose="020F0502020204030203" pitchFamily="34" charset="0"/>
              <a:sym typeface="Bebas Neue" charset="0"/>
            </a:endParaRPr>
          </a:p>
        </p:txBody>
      </p:sp>
      <p:sp>
        <p:nvSpPr>
          <p:cNvPr id="33" name="Rectangle 29"/>
          <p:cNvSpPr/>
          <p:nvPr/>
        </p:nvSpPr>
        <p:spPr bwMode="auto">
          <a:xfrm>
            <a:off x="4571981" y="2686626"/>
            <a:ext cx="349347" cy="296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pPr algn="l"/>
            <a:r>
              <a:rPr lang="en-US" sz="1425" dirty="0">
                <a:solidFill>
                  <a:schemeClr val="bg1"/>
                </a:solidFill>
                <a:latin typeface="Lato" panose="020F0502020204030203" pitchFamily="34" charset="0"/>
                <a:ea typeface="MS PGothic" panose="020B0600070205080204" charset="-128"/>
                <a:cs typeface="Lato" panose="020F0502020204030203" pitchFamily="34" charset="0"/>
                <a:sym typeface="Bebas Neue" charset="0"/>
              </a:rPr>
              <a:t>04</a:t>
            </a:r>
            <a:endParaRPr lang="en-US" sz="1425" dirty="0">
              <a:solidFill>
                <a:schemeClr val="bg1"/>
              </a:solidFill>
              <a:latin typeface="Lato" panose="020F0502020204030203" pitchFamily="34" charset="0"/>
              <a:ea typeface="MS PGothic" panose="020B0600070205080204" charset="-128"/>
              <a:cs typeface="Lato" panose="020F0502020204030203" pitchFamily="34" charset="0"/>
              <a:sym typeface="Bebas Neue" charset="0"/>
            </a:endParaRPr>
          </a:p>
        </p:txBody>
      </p:sp>
      <p:sp>
        <p:nvSpPr>
          <p:cNvPr id="41" name="Freeform 37"/>
          <p:cNvSpPr/>
          <p:nvPr/>
        </p:nvSpPr>
        <p:spPr bwMode="auto">
          <a:xfrm>
            <a:off x="1102526" y="3500496"/>
            <a:ext cx="911033" cy="895203"/>
          </a:xfrm>
          <a:custGeom>
            <a:avLst/>
            <a:gdLst>
              <a:gd name="T0" fmla="*/ 138 w 21600"/>
              <a:gd name="T1" fmla="*/ 0 h 21600"/>
              <a:gd name="T2" fmla="*/ 8785 w 21600"/>
              <a:gd name="T3" fmla="*/ 0 h 21600"/>
              <a:gd name="T4" fmla="*/ 15571 w 21600"/>
              <a:gd name="T5" fmla="*/ 4851 h 21600"/>
              <a:gd name="T6" fmla="*/ 21600 w 21600"/>
              <a:gd name="T7" fmla="*/ 9036 h 21600"/>
              <a:gd name="T8" fmla="*/ 7506 w 21600"/>
              <a:gd name="T9" fmla="*/ 21600 h 21600"/>
              <a:gd name="T10" fmla="*/ 0 w 21600"/>
              <a:gd name="T11" fmla="*/ 21600 h 21600"/>
            </a:gdLst>
            <a:ahLst/>
            <a:cxnLst>
              <a:cxn ang="0">
                <a:pos x="T0" y="T1"/>
              </a:cxn>
              <a:cxn ang="0">
                <a:pos x="T2" y="T3"/>
              </a:cxn>
              <a:cxn ang="0">
                <a:pos x="T4" y="T5"/>
              </a:cxn>
              <a:cxn ang="0">
                <a:pos x="T6" y="T7"/>
              </a:cxn>
              <a:cxn ang="0">
                <a:pos x="T8" y="T9"/>
              </a:cxn>
              <a:cxn ang="0">
                <a:pos x="T10" y="T11"/>
              </a:cxn>
            </a:cxnLst>
            <a:rect l="0" t="0" r="r" b="b"/>
            <a:pathLst>
              <a:path w="21600" h="21600">
                <a:moveTo>
                  <a:pt x="138" y="0"/>
                </a:moveTo>
                <a:lnTo>
                  <a:pt x="8785" y="0"/>
                </a:lnTo>
                <a:cubicBezTo>
                  <a:pt x="11663" y="0"/>
                  <a:pt x="13508" y="2179"/>
                  <a:pt x="15571" y="4851"/>
                </a:cubicBezTo>
                <a:cubicBezTo>
                  <a:pt x="17634" y="7523"/>
                  <a:pt x="19346" y="10939"/>
                  <a:pt x="21600" y="9036"/>
                </a:cubicBezTo>
                <a:cubicBezTo>
                  <a:pt x="17256" y="16808"/>
                  <a:pt x="14307" y="21600"/>
                  <a:pt x="7506" y="21600"/>
                </a:cubicBezTo>
                <a:lnTo>
                  <a:pt x="0" y="21600"/>
                </a:lnTo>
              </a:path>
            </a:pathLst>
          </a:custGeom>
          <a:gradFill flip="none" rotWithShape="1">
            <a:gsLst>
              <a:gs pos="0">
                <a:srgbClr val="548235"/>
              </a:gs>
              <a:gs pos="100000">
                <a:srgbClr val="345020"/>
              </a:gs>
            </a:gsLst>
            <a:lin ang="2700000" scaled="1"/>
            <a:tileRect/>
          </a:gra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42" name="Freeform 38"/>
          <p:cNvSpPr/>
          <p:nvPr/>
        </p:nvSpPr>
        <p:spPr bwMode="auto">
          <a:xfrm rot="10800000">
            <a:off x="1930588" y="3500496"/>
            <a:ext cx="2416499" cy="895203"/>
          </a:xfrm>
          <a:custGeom>
            <a:avLst/>
            <a:gdLst>
              <a:gd name="T0" fmla="*/ 52 w 21600"/>
              <a:gd name="T1" fmla="*/ 0 h 21600"/>
              <a:gd name="T2" fmla="*/ 16770 w 21600"/>
              <a:gd name="T3" fmla="*/ 0 h 21600"/>
              <a:gd name="T4" fmla="*/ 19327 w 21600"/>
              <a:gd name="T5" fmla="*/ 4851 h 21600"/>
              <a:gd name="T6" fmla="*/ 21600 w 21600"/>
              <a:gd name="T7" fmla="*/ 9036 h 21600"/>
              <a:gd name="T8" fmla="*/ 16287 w 21600"/>
              <a:gd name="T9" fmla="*/ 21600 h 21600"/>
              <a:gd name="T10" fmla="*/ 0 w 21600"/>
              <a:gd name="T11" fmla="*/ 21600 h 21600"/>
            </a:gdLst>
            <a:ahLst/>
            <a:cxnLst>
              <a:cxn ang="0">
                <a:pos x="T0" y="T1"/>
              </a:cxn>
              <a:cxn ang="0">
                <a:pos x="T2" y="T3"/>
              </a:cxn>
              <a:cxn ang="0">
                <a:pos x="T4" y="T5"/>
              </a:cxn>
              <a:cxn ang="0">
                <a:pos x="T6" y="T7"/>
              </a:cxn>
              <a:cxn ang="0">
                <a:pos x="T8" y="T9"/>
              </a:cxn>
              <a:cxn ang="0">
                <a:pos x="T10" y="T11"/>
              </a:cxn>
            </a:cxnLst>
            <a:rect l="0" t="0" r="r" b="b"/>
            <a:pathLst>
              <a:path w="21600" h="21600">
                <a:moveTo>
                  <a:pt x="52" y="0"/>
                </a:moveTo>
                <a:lnTo>
                  <a:pt x="16770" y="0"/>
                </a:lnTo>
                <a:cubicBezTo>
                  <a:pt x="17854" y="0"/>
                  <a:pt x="18550" y="2179"/>
                  <a:pt x="19327" y="4851"/>
                </a:cubicBezTo>
                <a:cubicBezTo>
                  <a:pt x="20105" y="7523"/>
                  <a:pt x="20751" y="10939"/>
                  <a:pt x="21600" y="9036"/>
                </a:cubicBezTo>
                <a:cubicBezTo>
                  <a:pt x="19963" y="16808"/>
                  <a:pt x="18851" y="21600"/>
                  <a:pt x="16287" y="21600"/>
                </a:cubicBezTo>
                <a:lnTo>
                  <a:pt x="0" y="21600"/>
                </a:lnTo>
              </a:path>
            </a:pathLst>
          </a:custGeom>
          <a:gradFill flip="none" rotWithShape="1">
            <a:gsLst>
              <a:gs pos="0">
                <a:schemeClr val="bg1">
                  <a:lumMod val="95000"/>
                </a:schemeClr>
              </a:gs>
              <a:gs pos="100000">
                <a:schemeClr val="bg1">
                  <a:lumMod val="85000"/>
                </a:schemeClr>
              </a:gs>
            </a:gsLst>
            <a:lin ang="13500000" scaled="1"/>
            <a:tileRect/>
          </a:gra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43" name="Freeform 39"/>
          <p:cNvSpPr/>
          <p:nvPr/>
        </p:nvSpPr>
        <p:spPr bwMode="auto">
          <a:xfrm rot="10800000">
            <a:off x="5257028" y="3500496"/>
            <a:ext cx="2784446" cy="895203"/>
          </a:xfrm>
          <a:custGeom>
            <a:avLst/>
            <a:gdLst>
              <a:gd name="T0" fmla="*/ 37 w 21600"/>
              <a:gd name="T1" fmla="*/ 0 h 21600"/>
              <a:gd name="T2" fmla="*/ 18122 w 21600"/>
              <a:gd name="T3" fmla="*/ 0 h 21600"/>
              <a:gd name="T4" fmla="*/ 19964 w 21600"/>
              <a:gd name="T5" fmla="*/ 4851 h 21600"/>
              <a:gd name="T6" fmla="*/ 21600 w 21600"/>
              <a:gd name="T7" fmla="*/ 9036 h 21600"/>
              <a:gd name="T8" fmla="*/ 17775 w 21600"/>
              <a:gd name="T9" fmla="*/ 21600 h 21600"/>
              <a:gd name="T10" fmla="*/ 0 w 21600"/>
              <a:gd name="T11" fmla="*/ 21600 h 21600"/>
            </a:gdLst>
            <a:ahLst/>
            <a:cxnLst>
              <a:cxn ang="0">
                <a:pos x="T0" y="T1"/>
              </a:cxn>
              <a:cxn ang="0">
                <a:pos x="T2" y="T3"/>
              </a:cxn>
              <a:cxn ang="0">
                <a:pos x="T4" y="T5"/>
              </a:cxn>
              <a:cxn ang="0">
                <a:pos x="T6" y="T7"/>
              </a:cxn>
              <a:cxn ang="0">
                <a:pos x="T8" y="T9"/>
              </a:cxn>
              <a:cxn ang="0">
                <a:pos x="T10" y="T11"/>
              </a:cxn>
            </a:cxnLst>
            <a:rect l="0" t="0" r="r" b="b"/>
            <a:pathLst>
              <a:path w="21600" h="21600">
                <a:moveTo>
                  <a:pt x="37" y="0"/>
                </a:moveTo>
                <a:lnTo>
                  <a:pt x="18122" y="0"/>
                </a:lnTo>
                <a:cubicBezTo>
                  <a:pt x="18903" y="0"/>
                  <a:pt x="19404" y="2179"/>
                  <a:pt x="19964" y="4851"/>
                </a:cubicBezTo>
                <a:cubicBezTo>
                  <a:pt x="20524" y="7523"/>
                  <a:pt x="20988" y="10939"/>
                  <a:pt x="21600" y="9036"/>
                </a:cubicBezTo>
                <a:cubicBezTo>
                  <a:pt x="20421" y="16808"/>
                  <a:pt x="19620" y="21600"/>
                  <a:pt x="17775" y="21600"/>
                </a:cubicBezTo>
                <a:lnTo>
                  <a:pt x="0" y="21600"/>
                </a:lnTo>
              </a:path>
            </a:pathLst>
          </a:custGeom>
          <a:gradFill flip="none" rotWithShape="1">
            <a:gsLst>
              <a:gs pos="0">
                <a:schemeClr val="bg1">
                  <a:lumMod val="95000"/>
                </a:schemeClr>
              </a:gs>
              <a:gs pos="100000">
                <a:schemeClr val="bg1">
                  <a:lumMod val="85000"/>
                </a:schemeClr>
              </a:gs>
            </a:gsLst>
            <a:lin ang="13500000" scaled="1"/>
            <a:tileRect/>
          </a:gra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44" name="Freeform 40"/>
          <p:cNvSpPr/>
          <p:nvPr/>
        </p:nvSpPr>
        <p:spPr bwMode="auto">
          <a:xfrm>
            <a:off x="4364556" y="3500496"/>
            <a:ext cx="975989" cy="895203"/>
          </a:xfrm>
          <a:custGeom>
            <a:avLst/>
            <a:gdLst>
              <a:gd name="T0" fmla="*/ 129 w 21600"/>
              <a:gd name="T1" fmla="*/ 0 h 21600"/>
              <a:gd name="T2" fmla="*/ 9635 w 21600"/>
              <a:gd name="T3" fmla="*/ 0 h 21600"/>
              <a:gd name="T4" fmla="*/ 15971 w 21600"/>
              <a:gd name="T5" fmla="*/ 4851 h 21600"/>
              <a:gd name="T6" fmla="*/ 21600 w 21600"/>
              <a:gd name="T7" fmla="*/ 9036 h 21600"/>
              <a:gd name="T8" fmla="*/ 8440 w 21600"/>
              <a:gd name="T9" fmla="*/ 21600 h 21600"/>
              <a:gd name="T10" fmla="*/ 0 w 21600"/>
              <a:gd name="T11" fmla="*/ 21600 h 21600"/>
            </a:gdLst>
            <a:ahLst/>
            <a:cxnLst>
              <a:cxn ang="0">
                <a:pos x="T0" y="T1"/>
              </a:cxn>
              <a:cxn ang="0">
                <a:pos x="T2" y="T3"/>
              </a:cxn>
              <a:cxn ang="0">
                <a:pos x="T4" y="T5"/>
              </a:cxn>
              <a:cxn ang="0">
                <a:pos x="T6" y="T7"/>
              </a:cxn>
              <a:cxn ang="0">
                <a:pos x="T8" y="T9"/>
              </a:cxn>
              <a:cxn ang="0">
                <a:pos x="T10" y="T11"/>
              </a:cxn>
            </a:cxnLst>
            <a:rect l="0" t="0" r="r" b="b"/>
            <a:pathLst>
              <a:path w="21600" h="21600">
                <a:moveTo>
                  <a:pt x="129" y="0"/>
                </a:moveTo>
                <a:lnTo>
                  <a:pt x="9635" y="0"/>
                </a:lnTo>
                <a:cubicBezTo>
                  <a:pt x="12322" y="0"/>
                  <a:pt x="14045" y="2179"/>
                  <a:pt x="15971" y="4851"/>
                </a:cubicBezTo>
                <a:cubicBezTo>
                  <a:pt x="17897" y="7523"/>
                  <a:pt x="19496" y="10939"/>
                  <a:pt x="21600" y="9036"/>
                </a:cubicBezTo>
                <a:cubicBezTo>
                  <a:pt x="17544" y="16808"/>
                  <a:pt x="14790" y="21600"/>
                  <a:pt x="8440" y="21600"/>
                </a:cubicBezTo>
                <a:lnTo>
                  <a:pt x="0" y="21600"/>
                </a:lnTo>
              </a:path>
            </a:pathLst>
          </a:custGeom>
          <a:gradFill flip="none" rotWithShape="1">
            <a:gsLst>
              <a:gs pos="0">
                <a:srgbClr val="548235"/>
              </a:gs>
              <a:gs pos="100000">
                <a:srgbClr val="345020"/>
              </a:gs>
            </a:gsLst>
            <a:lin ang="2700000" scaled="1"/>
            <a:tileRect/>
          </a:gra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solidFill>
                <a:schemeClr val="bg1"/>
              </a:solidFill>
            </a:endParaRPr>
          </a:p>
        </p:txBody>
      </p:sp>
      <p:sp>
        <p:nvSpPr>
          <p:cNvPr id="46" name="Rectangle 42"/>
          <p:cNvSpPr/>
          <p:nvPr/>
        </p:nvSpPr>
        <p:spPr bwMode="auto">
          <a:xfrm>
            <a:off x="1240081" y="3612396"/>
            <a:ext cx="349347" cy="296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r>
              <a:rPr lang="en-US" sz="1425">
                <a:solidFill>
                  <a:srgbClr val="FFFFFF"/>
                </a:solidFill>
                <a:latin typeface="Lato" panose="020F0502020204030203" pitchFamily="34" charset="0"/>
                <a:ea typeface="MS PGothic" panose="020B0600070205080204" charset="-128"/>
                <a:cs typeface="Lato" panose="020F0502020204030203" pitchFamily="34" charset="0"/>
                <a:sym typeface="Bebas Neue" charset="0"/>
              </a:rPr>
              <a:t>05</a:t>
            </a:r>
            <a:endParaRPr lang="en-US" sz="1425">
              <a:solidFill>
                <a:srgbClr val="FFFFFF"/>
              </a:solidFill>
              <a:latin typeface="Lato" panose="020F0502020204030203" pitchFamily="34" charset="0"/>
              <a:ea typeface="MS PGothic" panose="020B0600070205080204" charset="-128"/>
              <a:cs typeface="Lato" panose="020F0502020204030203" pitchFamily="34" charset="0"/>
              <a:sym typeface="Bebas Neue" charset="0"/>
            </a:endParaRPr>
          </a:p>
        </p:txBody>
      </p:sp>
      <p:sp>
        <p:nvSpPr>
          <p:cNvPr id="49" name="Rectangle 45"/>
          <p:cNvSpPr/>
          <p:nvPr/>
        </p:nvSpPr>
        <p:spPr bwMode="auto">
          <a:xfrm>
            <a:off x="4571981" y="3612396"/>
            <a:ext cx="349347" cy="296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r>
              <a:rPr lang="en-US" sz="1425">
                <a:solidFill>
                  <a:schemeClr val="bg1"/>
                </a:solidFill>
                <a:latin typeface="Lato" panose="020F0502020204030203" pitchFamily="34" charset="0"/>
                <a:ea typeface="MS PGothic" panose="020B0600070205080204" charset="-128"/>
                <a:cs typeface="Lato" panose="020F0502020204030203" pitchFamily="34" charset="0"/>
                <a:sym typeface="Bebas Neue" charset="0"/>
              </a:rPr>
              <a:t>06</a:t>
            </a:r>
            <a:endParaRPr lang="en-US" sz="1425">
              <a:solidFill>
                <a:schemeClr val="bg1"/>
              </a:solidFill>
              <a:latin typeface="Lato" panose="020F0502020204030203" pitchFamily="34" charset="0"/>
              <a:ea typeface="MS PGothic" panose="020B0600070205080204" charset="-128"/>
              <a:cs typeface="Lato" panose="020F0502020204030203" pitchFamily="34" charset="0"/>
              <a:sym typeface="Bebas Neue" charset="0"/>
            </a:endParaRPr>
          </a:p>
        </p:txBody>
      </p:sp>
      <p:sp>
        <p:nvSpPr>
          <p:cNvPr id="59" name="Content Placeholder 2"/>
          <p:cNvSpPr txBox="1"/>
          <p:nvPr/>
        </p:nvSpPr>
        <p:spPr>
          <a:xfrm>
            <a:off x="1140940" y="1978425"/>
            <a:ext cx="772179" cy="304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900" dirty="0">
                <a:solidFill>
                  <a:schemeClr val="bg1"/>
                </a:solidFill>
                <a:latin typeface="Lato" panose="020F0502020204030203" pitchFamily="34" charset="0"/>
                <a:ea typeface="Open Sans" panose="020B0606030504020204" pitchFamily="34" charset="0"/>
                <a:cs typeface="Lato" panose="020F0502020204030203" pitchFamily="34" charset="0"/>
              </a:rPr>
              <a:t>PRODUCT</a:t>
            </a:r>
            <a:endParaRPr lang="en-US" sz="900"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60" name="Rectangle 59"/>
          <p:cNvSpPr/>
          <p:nvPr/>
        </p:nvSpPr>
        <p:spPr>
          <a:xfrm>
            <a:off x="2785522" y="1845164"/>
            <a:ext cx="1479470" cy="577338"/>
          </a:xfrm>
          <a:prstGeom prst="rect">
            <a:avLst/>
          </a:prstGeom>
        </p:spPr>
        <p:txBody>
          <a:bodyPr wrap="square">
            <a:spAutoFit/>
          </a:bodyPr>
          <a:lstStyle/>
          <a:p>
            <a:pPr>
              <a:buClr>
                <a:srgbClr val="E24848"/>
              </a:buClr>
            </a:pPr>
            <a:r>
              <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61" name="Freeform 100"/>
          <p:cNvSpPr/>
          <p:nvPr/>
        </p:nvSpPr>
        <p:spPr bwMode="auto">
          <a:xfrm>
            <a:off x="2386803" y="1984990"/>
            <a:ext cx="327015" cy="206477"/>
          </a:xfrm>
          <a:custGeom>
            <a:avLst/>
            <a:gdLst>
              <a:gd name="T0" fmla="*/ 957 w 1171"/>
              <a:gd name="T1" fmla="*/ 302 h 741"/>
              <a:gd name="T2" fmla="*/ 954 w 1171"/>
              <a:gd name="T3" fmla="*/ 256 h 741"/>
              <a:gd name="T4" fmla="*/ 944 w 1171"/>
              <a:gd name="T5" fmla="*/ 212 h 741"/>
              <a:gd name="T6" fmla="*/ 928 w 1171"/>
              <a:gd name="T7" fmla="*/ 171 h 741"/>
              <a:gd name="T8" fmla="*/ 905 w 1171"/>
              <a:gd name="T9" fmla="*/ 133 h 741"/>
              <a:gd name="T10" fmla="*/ 879 w 1171"/>
              <a:gd name="T11" fmla="*/ 98 h 741"/>
              <a:gd name="T12" fmla="*/ 847 w 1171"/>
              <a:gd name="T13" fmla="*/ 69 h 741"/>
              <a:gd name="T14" fmla="*/ 811 w 1171"/>
              <a:gd name="T15" fmla="*/ 43 h 741"/>
              <a:gd name="T16" fmla="*/ 772 w 1171"/>
              <a:gd name="T17" fmla="*/ 24 h 741"/>
              <a:gd name="T18" fmla="*/ 730 w 1171"/>
              <a:gd name="T19" fmla="*/ 9 h 741"/>
              <a:gd name="T20" fmla="*/ 686 w 1171"/>
              <a:gd name="T21" fmla="*/ 1 h 741"/>
              <a:gd name="T22" fmla="*/ 633 w 1171"/>
              <a:gd name="T23" fmla="*/ 0 h 741"/>
              <a:gd name="T24" fmla="*/ 568 w 1171"/>
              <a:gd name="T25" fmla="*/ 12 h 741"/>
              <a:gd name="T26" fmla="*/ 510 w 1171"/>
              <a:gd name="T27" fmla="*/ 37 h 741"/>
              <a:gd name="T28" fmla="*/ 458 w 1171"/>
              <a:gd name="T29" fmla="*/ 72 h 741"/>
              <a:gd name="T30" fmla="*/ 415 w 1171"/>
              <a:gd name="T31" fmla="*/ 118 h 741"/>
              <a:gd name="T32" fmla="*/ 382 w 1171"/>
              <a:gd name="T33" fmla="*/ 172 h 741"/>
              <a:gd name="T34" fmla="*/ 340 w 1171"/>
              <a:gd name="T35" fmla="*/ 158 h 741"/>
              <a:gd name="T36" fmla="*/ 312 w 1171"/>
              <a:gd name="T37" fmla="*/ 156 h 741"/>
              <a:gd name="T38" fmla="*/ 270 w 1171"/>
              <a:gd name="T39" fmla="*/ 161 h 741"/>
              <a:gd name="T40" fmla="*/ 232 w 1171"/>
              <a:gd name="T41" fmla="*/ 177 h 741"/>
              <a:gd name="T42" fmla="*/ 201 w 1171"/>
              <a:gd name="T43" fmla="*/ 202 h 741"/>
              <a:gd name="T44" fmla="*/ 177 w 1171"/>
              <a:gd name="T45" fmla="*/ 233 h 741"/>
              <a:gd name="T46" fmla="*/ 161 w 1171"/>
              <a:gd name="T47" fmla="*/ 271 h 741"/>
              <a:gd name="T48" fmla="*/ 125 w 1171"/>
              <a:gd name="T49" fmla="*/ 299 h 741"/>
              <a:gd name="T50" fmla="*/ 81 w 1171"/>
              <a:gd name="T51" fmla="*/ 329 h 741"/>
              <a:gd name="T52" fmla="*/ 44 w 1171"/>
              <a:gd name="T53" fmla="*/ 369 h 741"/>
              <a:gd name="T54" fmla="*/ 18 w 1171"/>
              <a:gd name="T55" fmla="*/ 416 h 741"/>
              <a:gd name="T56" fmla="*/ 3 w 1171"/>
              <a:gd name="T57" fmla="*/ 469 h 741"/>
              <a:gd name="T58" fmla="*/ 0 w 1171"/>
              <a:gd name="T59" fmla="*/ 518 h 741"/>
              <a:gd name="T60" fmla="*/ 4 w 1171"/>
              <a:gd name="T61" fmla="*/ 554 h 741"/>
              <a:gd name="T62" fmla="*/ 14 w 1171"/>
              <a:gd name="T63" fmla="*/ 586 h 741"/>
              <a:gd name="T64" fmla="*/ 28 w 1171"/>
              <a:gd name="T65" fmla="*/ 618 h 741"/>
              <a:gd name="T66" fmla="*/ 53 w 1171"/>
              <a:gd name="T67" fmla="*/ 656 h 741"/>
              <a:gd name="T68" fmla="*/ 104 w 1171"/>
              <a:gd name="T69" fmla="*/ 701 h 741"/>
              <a:gd name="T70" fmla="*/ 133 w 1171"/>
              <a:gd name="T71" fmla="*/ 717 h 741"/>
              <a:gd name="T72" fmla="*/ 164 w 1171"/>
              <a:gd name="T73" fmla="*/ 730 h 741"/>
              <a:gd name="T74" fmla="*/ 199 w 1171"/>
              <a:gd name="T75" fmla="*/ 738 h 741"/>
              <a:gd name="T76" fmla="*/ 234 w 1171"/>
              <a:gd name="T77" fmla="*/ 741 h 741"/>
              <a:gd name="T78" fmla="*/ 980 w 1171"/>
              <a:gd name="T79" fmla="*/ 740 h 741"/>
              <a:gd name="T80" fmla="*/ 1021 w 1171"/>
              <a:gd name="T81" fmla="*/ 731 h 741"/>
              <a:gd name="T82" fmla="*/ 1077 w 1171"/>
              <a:gd name="T83" fmla="*/ 703 h 741"/>
              <a:gd name="T84" fmla="*/ 1122 w 1171"/>
              <a:gd name="T85" fmla="*/ 662 h 741"/>
              <a:gd name="T86" fmla="*/ 1155 w 1171"/>
              <a:gd name="T87" fmla="*/ 609 h 741"/>
              <a:gd name="T88" fmla="*/ 1169 w 1171"/>
              <a:gd name="T89" fmla="*/ 558 h 741"/>
              <a:gd name="T90" fmla="*/ 1171 w 1171"/>
              <a:gd name="T91" fmla="*/ 526 h 741"/>
              <a:gd name="T92" fmla="*/ 1169 w 1171"/>
              <a:gd name="T93" fmla="*/ 494 h 741"/>
              <a:gd name="T94" fmla="*/ 1154 w 1171"/>
              <a:gd name="T95" fmla="*/ 443 h 741"/>
              <a:gd name="T96" fmla="*/ 1122 w 1171"/>
              <a:gd name="T97" fmla="*/ 390 h 741"/>
              <a:gd name="T98" fmla="*/ 1077 w 1171"/>
              <a:gd name="T99" fmla="*/ 348 h 741"/>
              <a:gd name="T100" fmla="*/ 1021 w 1171"/>
              <a:gd name="T101" fmla="*/ 321 h 741"/>
              <a:gd name="T102" fmla="*/ 979 w 1171"/>
              <a:gd name="T103" fmla="*/ 312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71" h="741">
                <a:moveTo>
                  <a:pt x="957" y="311"/>
                </a:moveTo>
                <a:lnTo>
                  <a:pt x="957" y="307"/>
                </a:lnTo>
                <a:lnTo>
                  <a:pt x="957" y="302"/>
                </a:lnTo>
                <a:lnTo>
                  <a:pt x="957" y="286"/>
                </a:lnTo>
                <a:lnTo>
                  <a:pt x="956" y="271"/>
                </a:lnTo>
                <a:lnTo>
                  <a:pt x="954" y="256"/>
                </a:lnTo>
                <a:lnTo>
                  <a:pt x="952" y="241"/>
                </a:lnTo>
                <a:lnTo>
                  <a:pt x="947" y="227"/>
                </a:lnTo>
                <a:lnTo>
                  <a:pt x="944" y="212"/>
                </a:lnTo>
                <a:lnTo>
                  <a:pt x="939" y="198"/>
                </a:lnTo>
                <a:lnTo>
                  <a:pt x="933" y="185"/>
                </a:lnTo>
                <a:lnTo>
                  <a:pt x="928" y="171"/>
                </a:lnTo>
                <a:lnTo>
                  <a:pt x="921" y="158"/>
                </a:lnTo>
                <a:lnTo>
                  <a:pt x="914" y="145"/>
                </a:lnTo>
                <a:lnTo>
                  <a:pt x="905" y="133"/>
                </a:lnTo>
                <a:lnTo>
                  <a:pt x="898" y="121"/>
                </a:lnTo>
                <a:lnTo>
                  <a:pt x="888" y="109"/>
                </a:lnTo>
                <a:lnTo>
                  <a:pt x="879" y="98"/>
                </a:lnTo>
                <a:lnTo>
                  <a:pt x="868" y="89"/>
                </a:lnTo>
                <a:lnTo>
                  <a:pt x="859" y="78"/>
                </a:lnTo>
                <a:lnTo>
                  <a:pt x="847" y="69"/>
                </a:lnTo>
                <a:lnTo>
                  <a:pt x="836" y="59"/>
                </a:lnTo>
                <a:lnTo>
                  <a:pt x="824" y="51"/>
                </a:lnTo>
                <a:lnTo>
                  <a:pt x="811" y="43"/>
                </a:lnTo>
                <a:lnTo>
                  <a:pt x="799" y="36"/>
                </a:lnTo>
                <a:lnTo>
                  <a:pt x="786" y="29"/>
                </a:lnTo>
                <a:lnTo>
                  <a:pt x="772" y="24"/>
                </a:lnTo>
                <a:lnTo>
                  <a:pt x="759" y="18"/>
                </a:lnTo>
                <a:lnTo>
                  <a:pt x="745" y="13"/>
                </a:lnTo>
                <a:lnTo>
                  <a:pt x="730" y="9"/>
                </a:lnTo>
                <a:lnTo>
                  <a:pt x="716" y="5"/>
                </a:lnTo>
                <a:lnTo>
                  <a:pt x="701" y="3"/>
                </a:lnTo>
                <a:lnTo>
                  <a:pt x="686" y="1"/>
                </a:lnTo>
                <a:lnTo>
                  <a:pt x="671" y="0"/>
                </a:lnTo>
                <a:lnTo>
                  <a:pt x="655" y="0"/>
                </a:lnTo>
                <a:lnTo>
                  <a:pt x="633" y="0"/>
                </a:lnTo>
                <a:lnTo>
                  <a:pt x="610" y="3"/>
                </a:lnTo>
                <a:lnTo>
                  <a:pt x="589" y="6"/>
                </a:lnTo>
                <a:lnTo>
                  <a:pt x="568" y="12"/>
                </a:lnTo>
                <a:lnTo>
                  <a:pt x="548" y="19"/>
                </a:lnTo>
                <a:lnTo>
                  <a:pt x="528" y="27"/>
                </a:lnTo>
                <a:lnTo>
                  <a:pt x="510" y="37"/>
                </a:lnTo>
                <a:lnTo>
                  <a:pt x="491" y="48"/>
                </a:lnTo>
                <a:lnTo>
                  <a:pt x="474" y="59"/>
                </a:lnTo>
                <a:lnTo>
                  <a:pt x="458" y="72"/>
                </a:lnTo>
                <a:lnTo>
                  <a:pt x="443" y="86"/>
                </a:lnTo>
                <a:lnTo>
                  <a:pt x="429" y="102"/>
                </a:lnTo>
                <a:lnTo>
                  <a:pt x="415" y="118"/>
                </a:lnTo>
                <a:lnTo>
                  <a:pt x="403" y="135"/>
                </a:lnTo>
                <a:lnTo>
                  <a:pt x="392" y="153"/>
                </a:lnTo>
                <a:lnTo>
                  <a:pt x="382" y="172"/>
                </a:lnTo>
                <a:lnTo>
                  <a:pt x="366" y="165"/>
                </a:lnTo>
                <a:lnTo>
                  <a:pt x="349" y="160"/>
                </a:lnTo>
                <a:lnTo>
                  <a:pt x="340" y="158"/>
                </a:lnTo>
                <a:lnTo>
                  <a:pt x="331" y="157"/>
                </a:lnTo>
                <a:lnTo>
                  <a:pt x="322" y="156"/>
                </a:lnTo>
                <a:lnTo>
                  <a:pt x="312" y="156"/>
                </a:lnTo>
                <a:lnTo>
                  <a:pt x="298" y="156"/>
                </a:lnTo>
                <a:lnTo>
                  <a:pt x="284" y="158"/>
                </a:lnTo>
                <a:lnTo>
                  <a:pt x="270" y="161"/>
                </a:lnTo>
                <a:lnTo>
                  <a:pt x="257" y="165"/>
                </a:lnTo>
                <a:lnTo>
                  <a:pt x="245" y="171"/>
                </a:lnTo>
                <a:lnTo>
                  <a:pt x="232" y="177"/>
                </a:lnTo>
                <a:lnTo>
                  <a:pt x="221" y="184"/>
                </a:lnTo>
                <a:lnTo>
                  <a:pt x="211" y="192"/>
                </a:lnTo>
                <a:lnTo>
                  <a:pt x="201" y="202"/>
                </a:lnTo>
                <a:lnTo>
                  <a:pt x="192" y="212"/>
                </a:lnTo>
                <a:lnTo>
                  <a:pt x="184" y="222"/>
                </a:lnTo>
                <a:lnTo>
                  <a:pt x="177" y="233"/>
                </a:lnTo>
                <a:lnTo>
                  <a:pt x="171" y="245"/>
                </a:lnTo>
                <a:lnTo>
                  <a:pt x="165" y="258"/>
                </a:lnTo>
                <a:lnTo>
                  <a:pt x="161" y="271"/>
                </a:lnTo>
                <a:lnTo>
                  <a:pt x="159" y="285"/>
                </a:lnTo>
                <a:lnTo>
                  <a:pt x="142" y="292"/>
                </a:lnTo>
                <a:lnTo>
                  <a:pt x="125" y="299"/>
                </a:lnTo>
                <a:lnTo>
                  <a:pt x="109" y="308"/>
                </a:lnTo>
                <a:lnTo>
                  <a:pt x="95" y="319"/>
                </a:lnTo>
                <a:lnTo>
                  <a:pt x="81" y="329"/>
                </a:lnTo>
                <a:lnTo>
                  <a:pt x="68" y="341"/>
                </a:lnTo>
                <a:lnTo>
                  <a:pt x="56" y="355"/>
                </a:lnTo>
                <a:lnTo>
                  <a:pt x="44" y="369"/>
                </a:lnTo>
                <a:lnTo>
                  <a:pt x="35" y="383"/>
                </a:lnTo>
                <a:lnTo>
                  <a:pt x="26" y="400"/>
                </a:lnTo>
                <a:lnTo>
                  <a:pt x="18" y="416"/>
                </a:lnTo>
                <a:lnTo>
                  <a:pt x="12" y="433"/>
                </a:lnTo>
                <a:lnTo>
                  <a:pt x="6" y="450"/>
                </a:lnTo>
                <a:lnTo>
                  <a:pt x="3" y="469"/>
                </a:lnTo>
                <a:lnTo>
                  <a:pt x="1" y="487"/>
                </a:lnTo>
                <a:lnTo>
                  <a:pt x="0" y="507"/>
                </a:lnTo>
                <a:lnTo>
                  <a:pt x="0" y="518"/>
                </a:lnTo>
                <a:lnTo>
                  <a:pt x="1" y="530"/>
                </a:lnTo>
                <a:lnTo>
                  <a:pt x="2" y="542"/>
                </a:lnTo>
                <a:lnTo>
                  <a:pt x="4" y="554"/>
                </a:lnTo>
                <a:lnTo>
                  <a:pt x="8" y="565"/>
                </a:lnTo>
                <a:lnTo>
                  <a:pt x="11" y="576"/>
                </a:lnTo>
                <a:lnTo>
                  <a:pt x="14" y="586"/>
                </a:lnTo>
                <a:lnTo>
                  <a:pt x="18" y="597"/>
                </a:lnTo>
                <a:lnTo>
                  <a:pt x="23" y="608"/>
                </a:lnTo>
                <a:lnTo>
                  <a:pt x="28" y="618"/>
                </a:lnTo>
                <a:lnTo>
                  <a:pt x="33" y="627"/>
                </a:lnTo>
                <a:lnTo>
                  <a:pt x="40" y="637"/>
                </a:lnTo>
                <a:lnTo>
                  <a:pt x="53" y="656"/>
                </a:lnTo>
                <a:lnTo>
                  <a:pt x="68" y="672"/>
                </a:lnTo>
                <a:lnTo>
                  <a:pt x="85" y="687"/>
                </a:lnTo>
                <a:lnTo>
                  <a:pt x="104" y="701"/>
                </a:lnTo>
                <a:lnTo>
                  <a:pt x="112" y="706"/>
                </a:lnTo>
                <a:lnTo>
                  <a:pt x="122" y="712"/>
                </a:lnTo>
                <a:lnTo>
                  <a:pt x="133" y="717"/>
                </a:lnTo>
                <a:lnTo>
                  <a:pt x="143" y="723"/>
                </a:lnTo>
                <a:lnTo>
                  <a:pt x="153" y="726"/>
                </a:lnTo>
                <a:lnTo>
                  <a:pt x="164" y="730"/>
                </a:lnTo>
                <a:lnTo>
                  <a:pt x="176" y="733"/>
                </a:lnTo>
                <a:lnTo>
                  <a:pt x="187" y="735"/>
                </a:lnTo>
                <a:lnTo>
                  <a:pt x="199" y="738"/>
                </a:lnTo>
                <a:lnTo>
                  <a:pt x="211" y="740"/>
                </a:lnTo>
                <a:lnTo>
                  <a:pt x="223" y="740"/>
                </a:lnTo>
                <a:lnTo>
                  <a:pt x="234" y="741"/>
                </a:lnTo>
                <a:lnTo>
                  <a:pt x="957" y="741"/>
                </a:lnTo>
                <a:lnTo>
                  <a:pt x="969" y="740"/>
                </a:lnTo>
                <a:lnTo>
                  <a:pt x="980" y="740"/>
                </a:lnTo>
                <a:lnTo>
                  <a:pt x="989" y="738"/>
                </a:lnTo>
                <a:lnTo>
                  <a:pt x="1000" y="735"/>
                </a:lnTo>
                <a:lnTo>
                  <a:pt x="1021" y="731"/>
                </a:lnTo>
                <a:lnTo>
                  <a:pt x="1040" y="724"/>
                </a:lnTo>
                <a:lnTo>
                  <a:pt x="1060" y="714"/>
                </a:lnTo>
                <a:lnTo>
                  <a:pt x="1077" y="703"/>
                </a:lnTo>
                <a:lnTo>
                  <a:pt x="1093" y="691"/>
                </a:lnTo>
                <a:lnTo>
                  <a:pt x="1108" y="677"/>
                </a:lnTo>
                <a:lnTo>
                  <a:pt x="1122" y="662"/>
                </a:lnTo>
                <a:lnTo>
                  <a:pt x="1134" y="646"/>
                </a:lnTo>
                <a:lnTo>
                  <a:pt x="1145" y="627"/>
                </a:lnTo>
                <a:lnTo>
                  <a:pt x="1155" y="609"/>
                </a:lnTo>
                <a:lnTo>
                  <a:pt x="1161" y="590"/>
                </a:lnTo>
                <a:lnTo>
                  <a:pt x="1167" y="569"/>
                </a:lnTo>
                <a:lnTo>
                  <a:pt x="1169" y="558"/>
                </a:lnTo>
                <a:lnTo>
                  <a:pt x="1170" y="548"/>
                </a:lnTo>
                <a:lnTo>
                  <a:pt x="1171" y="537"/>
                </a:lnTo>
                <a:lnTo>
                  <a:pt x="1171" y="526"/>
                </a:lnTo>
                <a:lnTo>
                  <a:pt x="1171" y="515"/>
                </a:lnTo>
                <a:lnTo>
                  <a:pt x="1170" y="504"/>
                </a:lnTo>
                <a:lnTo>
                  <a:pt x="1169" y="494"/>
                </a:lnTo>
                <a:lnTo>
                  <a:pt x="1167" y="483"/>
                </a:lnTo>
                <a:lnTo>
                  <a:pt x="1161" y="462"/>
                </a:lnTo>
                <a:lnTo>
                  <a:pt x="1154" y="443"/>
                </a:lnTo>
                <a:lnTo>
                  <a:pt x="1145" y="423"/>
                </a:lnTo>
                <a:lnTo>
                  <a:pt x="1134" y="406"/>
                </a:lnTo>
                <a:lnTo>
                  <a:pt x="1122" y="390"/>
                </a:lnTo>
                <a:lnTo>
                  <a:pt x="1108" y="375"/>
                </a:lnTo>
                <a:lnTo>
                  <a:pt x="1093" y="361"/>
                </a:lnTo>
                <a:lnTo>
                  <a:pt x="1077" y="348"/>
                </a:lnTo>
                <a:lnTo>
                  <a:pt x="1059" y="337"/>
                </a:lnTo>
                <a:lnTo>
                  <a:pt x="1040" y="328"/>
                </a:lnTo>
                <a:lnTo>
                  <a:pt x="1021" y="321"/>
                </a:lnTo>
                <a:lnTo>
                  <a:pt x="1000" y="315"/>
                </a:lnTo>
                <a:lnTo>
                  <a:pt x="989" y="314"/>
                </a:lnTo>
                <a:lnTo>
                  <a:pt x="979" y="312"/>
                </a:lnTo>
                <a:lnTo>
                  <a:pt x="968" y="311"/>
                </a:lnTo>
                <a:lnTo>
                  <a:pt x="957" y="311"/>
                </a:lnTo>
                <a:close/>
              </a:path>
            </a:pathLst>
          </a:custGeom>
          <a:solidFill>
            <a:schemeClr val="tx1">
              <a:lumMod val="75000"/>
              <a:lumOff val="25000"/>
            </a:schemeClr>
          </a:solidFill>
          <a:ln>
            <a:noFill/>
          </a:ln>
        </p:spPr>
        <p:txBody>
          <a:bodyPr vert="horz" wrap="square" lIns="68580" tIns="34290" rIns="68580" bIns="34290" numCol="1" anchor="t" anchorCtr="0" compatLnSpc="1"/>
          <a:lstStyle/>
          <a:p>
            <a:endParaRPr lang="en-US" sz="1015"/>
          </a:p>
        </p:txBody>
      </p:sp>
      <p:sp>
        <p:nvSpPr>
          <p:cNvPr id="63" name="Freeform 135"/>
          <p:cNvSpPr>
            <a:spLocks noEditPoints="1"/>
          </p:cNvSpPr>
          <p:nvPr/>
        </p:nvSpPr>
        <p:spPr bwMode="auto">
          <a:xfrm>
            <a:off x="5851618" y="3789107"/>
            <a:ext cx="288131" cy="273844"/>
          </a:xfrm>
          <a:custGeom>
            <a:avLst/>
            <a:gdLst>
              <a:gd name="T0" fmla="*/ 355 w 967"/>
              <a:gd name="T1" fmla="*/ 780 h 917"/>
              <a:gd name="T2" fmla="*/ 379 w 967"/>
              <a:gd name="T3" fmla="*/ 799 h 917"/>
              <a:gd name="T4" fmla="*/ 388 w 967"/>
              <a:gd name="T5" fmla="*/ 828 h 917"/>
              <a:gd name="T6" fmla="*/ 379 w 967"/>
              <a:gd name="T7" fmla="*/ 858 h 917"/>
              <a:gd name="T8" fmla="*/ 355 w 967"/>
              <a:gd name="T9" fmla="*/ 878 h 917"/>
              <a:gd name="T10" fmla="*/ 324 w 967"/>
              <a:gd name="T11" fmla="*/ 880 h 917"/>
              <a:gd name="T12" fmla="*/ 297 w 967"/>
              <a:gd name="T13" fmla="*/ 866 h 917"/>
              <a:gd name="T14" fmla="*/ 283 w 967"/>
              <a:gd name="T15" fmla="*/ 839 h 917"/>
              <a:gd name="T16" fmla="*/ 286 w 967"/>
              <a:gd name="T17" fmla="*/ 808 h 917"/>
              <a:gd name="T18" fmla="*/ 306 w 967"/>
              <a:gd name="T19" fmla="*/ 785 h 917"/>
              <a:gd name="T20" fmla="*/ 335 w 967"/>
              <a:gd name="T21" fmla="*/ 775 h 917"/>
              <a:gd name="T22" fmla="*/ 743 w 967"/>
              <a:gd name="T23" fmla="*/ 780 h 917"/>
              <a:gd name="T24" fmla="*/ 767 w 967"/>
              <a:gd name="T25" fmla="*/ 799 h 917"/>
              <a:gd name="T26" fmla="*/ 775 w 967"/>
              <a:gd name="T27" fmla="*/ 828 h 917"/>
              <a:gd name="T28" fmla="*/ 767 w 967"/>
              <a:gd name="T29" fmla="*/ 858 h 917"/>
              <a:gd name="T30" fmla="*/ 743 w 967"/>
              <a:gd name="T31" fmla="*/ 878 h 917"/>
              <a:gd name="T32" fmla="*/ 712 w 967"/>
              <a:gd name="T33" fmla="*/ 880 h 917"/>
              <a:gd name="T34" fmla="*/ 686 w 967"/>
              <a:gd name="T35" fmla="*/ 866 h 917"/>
              <a:gd name="T36" fmla="*/ 671 w 967"/>
              <a:gd name="T37" fmla="*/ 839 h 917"/>
              <a:gd name="T38" fmla="*/ 674 w 967"/>
              <a:gd name="T39" fmla="*/ 808 h 917"/>
              <a:gd name="T40" fmla="*/ 693 w 967"/>
              <a:gd name="T41" fmla="*/ 785 h 917"/>
              <a:gd name="T42" fmla="*/ 723 w 967"/>
              <a:gd name="T43" fmla="*/ 775 h 917"/>
              <a:gd name="T44" fmla="*/ 166 w 967"/>
              <a:gd name="T45" fmla="*/ 0 h 917"/>
              <a:gd name="T46" fmla="*/ 138 w 967"/>
              <a:gd name="T47" fmla="*/ 35 h 917"/>
              <a:gd name="T48" fmla="*/ 297 w 967"/>
              <a:gd name="T49" fmla="*/ 749 h 917"/>
              <a:gd name="T50" fmla="*/ 280 w 967"/>
              <a:gd name="T51" fmla="*/ 760 h 917"/>
              <a:gd name="T52" fmla="*/ 265 w 967"/>
              <a:gd name="T53" fmla="*/ 775 h 917"/>
              <a:gd name="T54" fmla="*/ 254 w 967"/>
              <a:gd name="T55" fmla="*/ 794 h 917"/>
              <a:gd name="T56" fmla="*/ 248 w 967"/>
              <a:gd name="T57" fmla="*/ 814 h 917"/>
              <a:gd name="T58" fmla="*/ 247 w 967"/>
              <a:gd name="T59" fmla="*/ 838 h 917"/>
              <a:gd name="T60" fmla="*/ 254 w 967"/>
              <a:gd name="T61" fmla="*/ 863 h 917"/>
              <a:gd name="T62" fmla="*/ 267 w 967"/>
              <a:gd name="T63" fmla="*/ 884 h 917"/>
              <a:gd name="T64" fmla="*/ 285 w 967"/>
              <a:gd name="T65" fmla="*/ 902 h 917"/>
              <a:gd name="T66" fmla="*/ 309 w 967"/>
              <a:gd name="T67" fmla="*/ 912 h 917"/>
              <a:gd name="T68" fmla="*/ 335 w 967"/>
              <a:gd name="T69" fmla="*/ 917 h 917"/>
              <a:gd name="T70" fmla="*/ 361 w 967"/>
              <a:gd name="T71" fmla="*/ 912 h 917"/>
              <a:gd name="T72" fmla="*/ 384 w 967"/>
              <a:gd name="T73" fmla="*/ 902 h 917"/>
              <a:gd name="T74" fmla="*/ 403 w 967"/>
              <a:gd name="T75" fmla="*/ 884 h 917"/>
              <a:gd name="T76" fmla="*/ 416 w 967"/>
              <a:gd name="T77" fmla="*/ 863 h 917"/>
              <a:gd name="T78" fmla="*/ 422 w 967"/>
              <a:gd name="T79" fmla="*/ 838 h 917"/>
              <a:gd name="T80" fmla="*/ 422 w 967"/>
              <a:gd name="T81" fmla="*/ 814 h 917"/>
              <a:gd name="T82" fmla="*/ 413 w 967"/>
              <a:gd name="T83" fmla="*/ 787 h 917"/>
              <a:gd name="T84" fmla="*/ 645 w 967"/>
              <a:gd name="T85" fmla="*/ 787 h 917"/>
              <a:gd name="T86" fmla="*/ 636 w 967"/>
              <a:gd name="T87" fmla="*/ 814 h 917"/>
              <a:gd name="T88" fmla="*/ 635 w 967"/>
              <a:gd name="T89" fmla="*/ 838 h 917"/>
              <a:gd name="T90" fmla="*/ 642 w 967"/>
              <a:gd name="T91" fmla="*/ 863 h 917"/>
              <a:gd name="T92" fmla="*/ 655 w 967"/>
              <a:gd name="T93" fmla="*/ 884 h 917"/>
              <a:gd name="T94" fmla="*/ 674 w 967"/>
              <a:gd name="T95" fmla="*/ 902 h 917"/>
              <a:gd name="T96" fmla="*/ 697 w 967"/>
              <a:gd name="T97" fmla="*/ 912 h 917"/>
              <a:gd name="T98" fmla="*/ 723 w 967"/>
              <a:gd name="T99" fmla="*/ 917 h 917"/>
              <a:gd name="T100" fmla="*/ 750 w 967"/>
              <a:gd name="T101" fmla="*/ 912 h 917"/>
              <a:gd name="T102" fmla="*/ 772 w 967"/>
              <a:gd name="T103" fmla="*/ 902 h 917"/>
              <a:gd name="T104" fmla="*/ 791 w 967"/>
              <a:gd name="T105" fmla="*/ 884 h 917"/>
              <a:gd name="T106" fmla="*/ 805 w 967"/>
              <a:gd name="T107" fmla="*/ 863 h 917"/>
              <a:gd name="T108" fmla="*/ 811 w 967"/>
              <a:gd name="T109" fmla="*/ 838 h 917"/>
              <a:gd name="T110" fmla="*/ 809 w 967"/>
              <a:gd name="T111" fmla="*/ 811 h 917"/>
              <a:gd name="T112" fmla="*/ 800 w 967"/>
              <a:gd name="T113" fmla="*/ 787 h 917"/>
              <a:gd name="T114" fmla="*/ 785 w 967"/>
              <a:gd name="T115" fmla="*/ 767 h 917"/>
              <a:gd name="T116" fmla="*/ 765 w 967"/>
              <a:gd name="T117" fmla="*/ 751 h 917"/>
              <a:gd name="T118" fmla="*/ 741 w 967"/>
              <a:gd name="T119" fmla="*/ 742 h 917"/>
              <a:gd name="T120" fmla="*/ 346 w 967"/>
              <a:gd name="T121" fmla="*/ 741 h 917"/>
              <a:gd name="T122" fmla="*/ 967 w 967"/>
              <a:gd name="T123" fmla="*/ 247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7" h="917">
                <a:moveTo>
                  <a:pt x="335" y="775"/>
                </a:moveTo>
                <a:lnTo>
                  <a:pt x="346" y="776"/>
                </a:lnTo>
                <a:lnTo>
                  <a:pt x="355" y="780"/>
                </a:lnTo>
                <a:lnTo>
                  <a:pt x="364" y="785"/>
                </a:lnTo>
                <a:lnTo>
                  <a:pt x="373" y="791"/>
                </a:lnTo>
                <a:lnTo>
                  <a:pt x="379" y="799"/>
                </a:lnTo>
                <a:lnTo>
                  <a:pt x="383" y="808"/>
                </a:lnTo>
                <a:lnTo>
                  <a:pt x="387" y="818"/>
                </a:lnTo>
                <a:lnTo>
                  <a:pt x="388" y="828"/>
                </a:lnTo>
                <a:lnTo>
                  <a:pt x="387" y="839"/>
                </a:lnTo>
                <a:lnTo>
                  <a:pt x="383" y="850"/>
                </a:lnTo>
                <a:lnTo>
                  <a:pt x="379" y="858"/>
                </a:lnTo>
                <a:lnTo>
                  <a:pt x="373" y="866"/>
                </a:lnTo>
                <a:lnTo>
                  <a:pt x="364" y="872"/>
                </a:lnTo>
                <a:lnTo>
                  <a:pt x="355" y="878"/>
                </a:lnTo>
                <a:lnTo>
                  <a:pt x="346" y="880"/>
                </a:lnTo>
                <a:lnTo>
                  <a:pt x="335" y="881"/>
                </a:lnTo>
                <a:lnTo>
                  <a:pt x="324" y="880"/>
                </a:lnTo>
                <a:lnTo>
                  <a:pt x="314" y="878"/>
                </a:lnTo>
                <a:lnTo>
                  <a:pt x="306" y="872"/>
                </a:lnTo>
                <a:lnTo>
                  <a:pt x="297" y="866"/>
                </a:lnTo>
                <a:lnTo>
                  <a:pt x="291" y="858"/>
                </a:lnTo>
                <a:lnTo>
                  <a:pt x="286" y="850"/>
                </a:lnTo>
                <a:lnTo>
                  <a:pt x="283" y="839"/>
                </a:lnTo>
                <a:lnTo>
                  <a:pt x="282" y="828"/>
                </a:lnTo>
                <a:lnTo>
                  <a:pt x="283" y="818"/>
                </a:lnTo>
                <a:lnTo>
                  <a:pt x="286" y="808"/>
                </a:lnTo>
                <a:lnTo>
                  <a:pt x="291" y="799"/>
                </a:lnTo>
                <a:lnTo>
                  <a:pt x="297" y="791"/>
                </a:lnTo>
                <a:lnTo>
                  <a:pt x="306" y="785"/>
                </a:lnTo>
                <a:lnTo>
                  <a:pt x="314" y="780"/>
                </a:lnTo>
                <a:lnTo>
                  <a:pt x="324" y="776"/>
                </a:lnTo>
                <a:lnTo>
                  <a:pt x="335" y="775"/>
                </a:lnTo>
                <a:close/>
                <a:moveTo>
                  <a:pt x="723" y="775"/>
                </a:moveTo>
                <a:lnTo>
                  <a:pt x="733" y="776"/>
                </a:lnTo>
                <a:lnTo>
                  <a:pt x="743" y="780"/>
                </a:lnTo>
                <a:lnTo>
                  <a:pt x="753" y="785"/>
                </a:lnTo>
                <a:lnTo>
                  <a:pt x="760" y="791"/>
                </a:lnTo>
                <a:lnTo>
                  <a:pt x="767" y="799"/>
                </a:lnTo>
                <a:lnTo>
                  <a:pt x="771" y="808"/>
                </a:lnTo>
                <a:lnTo>
                  <a:pt x="774" y="818"/>
                </a:lnTo>
                <a:lnTo>
                  <a:pt x="775" y="828"/>
                </a:lnTo>
                <a:lnTo>
                  <a:pt x="774" y="839"/>
                </a:lnTo>
                <a:lnTo>
                  <a:pt x="771" y="850"/>
                </a:lnTo>
                <a:lnTo>
                  <a:pt x="767" y="858"/>
                </a:lnTo>
                <a:lnTo>
                  <a:pt x="760" y="866"/>
                </a:lnTo>
                <a:lnTo>
                  <a:pt x="753" y="872"/>
                </a:lnTo>
                <a:lnTo>
                  <a:pt x="743" y="878"/>
                </a:lnTo>
                <a:lnTo>
                  <a:pt x="733" y="880"/>
                </a:lnTo>
                <a:lnTo>
                  <a:pt x="723" y="881"/>
                </a:lnTo>
                <a:lnTo>
                  <a:pt x="712" y="880"/>
                </a:lnTo>
                <a:lnTo>
                  <a:pt x="702" y="878"/>
                </a:lnTo>
                <a:lnTo>
                  <a:pt x="693" y="872"/>
                </a:lnTo>
                <a:lnTo>
                  <a:pt x="686" y="866"/>
                </a:lnTo>
                <a:lnTo>
                  <a:pt x="679" y="858"/>
                </a:lnTo>
                <a:lnTo>
                  <a:pt x="674" y="850"/>
                </a:lnTo>
                <a:lnTo>
                  <a:pt x="671" y="839"/>
                </a:lnTo>
                <a:lnTo>
                  <a:pt x="670" y="828"/>
                </a:lnTo>
                <a:lnTo>
                  <a:pt x="671" y="818"/>
                </a:lnTo>
                <a:lnTo>
                  <a:pt x="674" y="808"/>
                </a:lnTo>
                <a:lnTo>
                  <a:pt x="679" y="799"/>
                </a:lnTo>
                <a:lnTo>
                  <a:pt x="686" y="791"/>
                </a:lnTo>
                <a:lnTo>
                  <a:pt x="693" y="785"/>
                </a:lnTo>
                <a:lnTo>
                  <a:pt x="702" y="780"/>
                </a:lnTo>
                <a:lnTo>
                  <a:pt x="712" y="776"/>
                </a:lnTo>
                <a:lnTo>
                  <a:pt x="723" y="775"/>
                </a:lnTo>
                <a:close/>
                <a:moveTo>
                  <a:pt x="967" y="247"/>
                </a:moveTo>
                <a:lnTo>
                  <a:pt x="226" y="247"/>
                </a:lnTo>
                <a:lnTo>
                  <a:pt x="166" y="0"/>
                </a:lnTo>
                <a:lnTo>
                  <a:pt x="0" y="0"/>
                </a:lnTo>
                <a:lnTo>
                  <a:pt x="0" y="35"/>
                </a:lnTo>
                <a:lnTo>
                  <a:pt x="138" y="35"/>
                </a:lnTo>
                <a:lnTo>
                  <a:pt x="310" y="745"/>
                </a:lnTo>
                <a:lnTo>
                  <a:pt x="303" y="747"/>
                </a:lnTo>
                <a:lnTo>
                  <a:pt x="297" y="749"/>
                </a:lnTo>
                <a:lnTo>
                  <a:pt x="291" y="753"/>
                </a:lnTo>
                <a:lnTo>
                  <a:pt x="285" y="757"/>
                </a:lnTo>
                <a:lnTo>
                  <a:pt x="280" y="760"/>
                </a:lnTo>
                <a:lnTo>
                  <a:pt x="274" y="765"/>
                </a:lnTo>
                <a:lnTo>
                  <a:pt x="269" y="770"/>
                </a:lnTo>
                <a:lnTo>
                  <a:pt x="265" y="775"/>
                </a:lnTo>
                <a:lnTo>
                  <a:pt x="260" y="782"/>
                </a:lnTo>
                <a:lnTo>
                  <a:pt x="257" y="787"/>
                </a:lnTo>
                <a:lnTo>
                  <a:pt x="254" y="794"/>
                </a:lnTo>
                <a:lnTo>
                  <a:pt x="252" y="800"/>
                </a:lnTo>
                <a:lnTo>
                  <a:pt x="249" y="807"/>
                </a:lnTo>
                <a:lnTo>
                  <a:pt x="248" y="814"/>
                </a:lnTo>
                <a:lnTo>
                  <a:pt x="247" y="822"/>
                </a:lnTo>
                <a:lnTo>
                  <a:pt x="246" y="828"/>
                </a:lnTo>
                <a:lnTo>
                  <a:pt x="247" y="838"/>
                </a:lnTo>
                <a:lnTo>
                  <a:pt x="248" y="846"/>
                </a:lnTo>
                <a:lnTo>
                  <a:pt x="251" y="855"/>
                </a:lnTo>
                <a:lnTo>
                  <a:pt x="254" y="863"/>
                </a:lnTo>
                <a:lnTo>
                  <a:pt x="257" y="870"/>
                </a:lnTo>
                <a:lnTo>
                  <a:pt x="261" y="878"/>
                </a:lnTo>
                <a:lnTo>
                  <a:pt x="267" y="884"/>
                </a:lnTo>
                <a:lnTo>
                  <a:pt x="272" y="891"/>
                </a:lnTo>
                <a:lnTo>
                  <a:pt x="279" y="896"/>
                </a:lnTo>
                <a:lnTo>
                  <a:pt x="285" y="902"/>
                </a:lnTo>
                <a:lnTo>
                  <a:pt x="293" y="906"/>
                </a:lnTo>
                <a:lnTo>
                  <a:pt x="300" y="910"/>
                </a:lnTo>
                <a:lnTo>
                  <a:pt x="309" y="912"/>
                </a:lnTo>
                <a:lnTo>
                  <a:pt x="318" y="915"/>
                </a:lnTo>
                <a:lnTo>
                  <a:pt x="326" y="917"/>
                </a:lnTo>
                <a:lnTo>
                  <a:pt x="335" y="917"/>
                </a:lnTo>
                <a:lnTo>
                  <a:pt x="343" y="917"/>
                </a:lnTo>
                <a:lnTo>
                  <a:pt x="353" y="915"/>
                </a:lnTo>
                <a:lnTo>
                  <a:pt x="361" y="912"/>
                </a:lnTo>
                <a:lnTo>
                  <a:pt x="369" y="910"/>
                </a:lnTo>
                <a:lnTo>
                  <a:pt x="377" y="906"/>
                </a:lnTo>
                <a:lnTo>
                  <a:pt x="384" y="902"/>
                </a:lnTo>
                <a:lnTo>
                  <a:pt x="391" y="896"/>
                </a:lnTo>
                <a:lnTo>
                  <a:pt x="397" y="891"/>
                </a:lnTo>
                <a:lnTo>
                  <a:pt x="403" y="884"/>
                </a:lnTo>
                <a:lnTo>
                  <a:pt x="408" y="878"/>
                </a:lnTo>
                <a:lnTo>
                  <a:pt x="413" y="870"/>
                </a:lnTo>
                <a:lnTo>
                  <a:pt x="416" y="863"/>
                </a:lnTo>
                <a:lnTo>
                  <a:pt x="419" y="855"/>
                </a:lnTo>
                <a:lnTo>
                  <a:pt x="421" y="846"/>
                </a:lnTo>
                <a:lnTo>
                  <a:pt x="422" y="838"/>
                </a:lnTo>
                <a:lnTo>
                  <a:pt x="423" y="828"/>
                </a:lnTo>
                <a:lnTo>
                  <a:pt x="422" y="822"/>
                </a:lnTo>
                <a:lnTo>
                  <a:pt x="422" y="814"/>
                </a:lnTo>
                <a:lnTo>
                  <a:pt x="420" y="807"/>
                </a:lnTo>
                <a:lnTo>
                  <a:pt x="418" y="800"/>
                </a:lnTo>
                <a:lnTo>
                  <a:pt x="413" y="787"/>
                </a:lnTo>
                <a:lnTo>
                  <a:pt x="405" y="775"/>
                </a:lnTo>
                <a:lnTo>
                  <a:pt x="652" y="775"/>
                </a:lnTo>
                <a:lnTo>
                  <a:pt x="645" y="787"/>
                </a:lnTo>
                <a:lnTo>
                  <a:pt x="639" y="800"/>
                </a:lnTo>
                <a:lnTo>
                  <a:pt x="637" y="807"/>
                </a:lnTo>
                <a:lnTo>
                  <a:pt x="636" y="814"/>
                </a:lnTo>
                <a:lnTo>
                  <a:pt x="635" y="822"/>
                </a:lnTo>
                <a:lnTo>
                  <a:pt x="635" y="828"/>
                </a:lnTo>
                <a:lnTo>
                  <a:pt x="635" y="838"/>
                </a:lnTo>
                <a:lnTo>
                  <a:pt x="636" y="846"/>
                </a:lnTo>
                <a:lnTo>
                  <a:pt x="638" y="855"/>
                </a:lnTo>
                <a:lnTo>
                  <a:pt x="642" y="863"/>
                </a:lnTo>
                <a:lnTo>
                  <a:pt x="646" y="870"/>
                </a:lnTo>
                <a:lnTo>
                  <a:pt x="650" y="878"/>
                </a:lnTo>
                <a:lnTo>
                  <a:pt x="655" y="884"/>
                </a:lnTo>
                <a:lnTo>
                  <a:pt x="661" y="891"/>
                </a:lnTo>
                <a:lnTo>
                  <a:pt x="666" y="896"/>
                </a:lnTo>
                <a:lnTo>
                  <a:pt x="674" y="902"/>
                </a:lnTo>
                <a:lnTo>
                  <a:pt x="680" y="906"/>
                </a:lnTo>
                <a:lnTo>
                  <a:pt x="688" y="910"/>
                </a:lnTo>
                <a:lnTo>
                  <a:pt x="697" y="912"/>
                </a:lnTo>
                <a:lnTo>
                  <a:pt x="705" y="915"/>
                </a:lnTo>
                <a:lnTo>
                  <a:pt x="714" y="917"/>
                </a:lnTo>
                <a:lnTo>
                  <a:pt x="723" y="917"/>
                </a:lnTo>
                <a:lnTo>
                  <a:pt x="732" y="917"/>
                </a:lnTo>
                <a:lnTo>
                  <a:pt x="741" y="915"/>
                </a:lnTo>
                <a:lnTo>
                  <a:pt x="750" y="912"/>
                </a:lnTo>
                <a:lnTo>
                  <a:pt x="757" y="910"/>
                </a:lnTo>
                <a:lnTo>
                  <a:pt x="765" y="906"/>
                </a:lnTo>
                <a:lnTo>
                  <a:pt x="772" y="902"/>
                </a:lnTo>
                <a:lnTo>
                  <a:pt x="779" y="896"/>
                </a:lnTo>
                <a:lnTo>
                  <a:pt x="785" y="891"/>
                </a:lnTo>
                <a:lnTo>
                  <a:pt x="791" y="884"/>
                </a:lnTo>
                <a:lnTo>
                  <a:pt x="796" y="878"/>
                </a:lnTo>
                <a:lnTo>
                  <a:pt x="800" y="870"/>
                </a:lnTo>
                <a:lnTo>
                  <a:pt x="805" y="863"/>
                </a:lnTo>
                <a:lnTo>
                  <a:pt x="807" y="855"/>
                </a:lnTo>
                <a:lnTo>
                  <a:pt x="809" y="846"/>
                </a:lnTo>
                <a:lnTo>
                  <a:pt x="811" y="838"/>
                </a:lnTo>
                <a:lnTo>
                  <a:pt x="811" y="828"/>
                </a:lnTo>
                <a:lnTo>
                  <a:pt x="811" y="819"/>
                </a:lnTo>
                <a:lnTo>
                  <a:pt x="809" y="811"/>
                </a:lnTo>
                <a:lnTo>
                  <a:pt x="807" y="802"/>
                </a:lnTo>
                <a:lnTo>
                  <a:pt x="805" y="795"/>
                </a:lnTo>
                <a:lnTo>
                  <a:pt x="800" y="787"/>
                </a:lnTo>
                <a:lnTo>
                  <a:pt x="796" y="780"/>
                </a:lnTo>
                <a:lnTo>
                  <a:pt x="791" y="773"/>
                </a:lnTo>
                <a:lnTo>
                  <a:pt x="785" y="767"/>
                </a:lnTo>
                <a:lnTo>
                  <a:pt x="779" y="760"/>
                </a:lnTo>
                <a:lnTo>
                  <a:pt x="772" y="756"/>
                </a:lnTo>
                <a:lnTo>
                  <a:pt x="765" y="751"/>
                </a:lnTo>
                <a:lnTo>
                  <a:pt x="757" y="747"/>
                </a:lnTo>
                <a:lnTo>
                  <a:pt x="750" y="744"/>
                </a:lnTo>
                <a:lnTo>
                  <a:pt x="741" y="742"/>
                </a:lnTo>
                <a:lnTo>
                  <a:pt x="732" y="741"/>
                </a:lnTo>
                <a:lnTo>
                  <a:pt x="723" y="741"/>
                </a:lnTo>
                <a:lnTo>
                  <a:pt x="346" y="741"/>
                </a:lnTo>
                <a:lnTo>
                  <a:pt x="328" y="669"/>
                </a:lnTo>
                <a:lnTo>
                  <a:pt x="824" y="669"/>
                </a:lnTo>
                <a:lnTo>
                  <a:pt x="967" y="247"/>
                </a:lnTo>
                <a:close/>
              </a:path>
            </a:pathLst>
          </a:custGeom>
          <a:solidFill>
            <a:schemeClr val="tx1">
              <a:lumMod val="75000"/>
              <a:lumOff val="25000"/>
            </a:schemeClr>
          </a:solidFill>
          <a:ln>
            <a:noFill/>
          </a:ln>
        </p:spPr>
        <p:txBody>
          <a:bodyPr vert="horz" wrap="square" lIns="68580" tIns="34290" rIns="68580" bIns="34290" numCol="1" anchor="t" anchorCtr="0" compatLnSpc="1"/>
          <a:lstStyle/>
          <a:p>
            <a:endParaRPr lang="en-US" sz="1015"/>
          </a:p>
        </p:txBody>
      </p:sp>
      <p:sp>
        <p:nvSpPr>
          <p:cNvPr id="64" name="Freeform 149"/>
          <p:cNvSpPr/>
          <p:nvPr/>
        </p:nvSpPr>
        <p:spPr bwMode="auto">
          <a:xfrm>
            <a:off x="5796928" y="1924358"/>
            <a:ext cx="282179" cy="282179"/>
          </a:xfrm>
          <a:custGeom>
            <a:avLst/>
            <a:gdLst>
              <a:gd name="T0" fmla="*/ 758 w 946"/>
              <a:gd name="T1" fmla="*/ 585 h 947"/>
              <a:gd name="T2" fmla="*/ 535 w 946"/>
              <a:gd name="T3" fmla="*/ 510 h 947"/>
              <a:gd name="T4" fmla="*/ 715 w 946"/>
              <a:gd name="T5" fmla="*/ 368 h 947"/>
              <a:gd name="T6" fmla="*/ 765 w 946"/>
              <a:gd name="T7" fmla="*/ 370 h 947"/>
              <a:gd name="T8" fmla="*/ 818 w 946"/>
              <a:gd name="T9" fmla="*/ 357 h 947"/>
              <a:gd name="T10" fmla="*/ 863 w 946"/>
              <a:gd name="T11" fmla="*/ 329 h 947"/>
              <a:gd name="T12" fmla="*/ 896 w 946"/>
              <a:gd name="T13" fmla="*/ 295 h 947"/>
              <a:gd name="T14" fmla="*/ 916 w 946"/>
              <a:gd name="T15" fmla="*/ 260 h 947"/>
              <a:gd name="T16" fmla="*/ 928 w 946"/>
              <a:gd name="T17" fmla="*/ 221 h 947"/>
              <a:gd name="T18" fmla="*/ 931 w 946"/>
              <a:gd name="T19" fmla="*/ 180 h 947"/>
              <a:gd name="T20" fmla="*/ 926 w 946"/>
              <a:gd name="T21" fmla="*/ 139 h 947"/>
              <a:gd name="T22" fmla="*/ 906 w 946"/>
              <a:gd name="T23" fmla="*/ 88 h 947"/>
              <a:gd name="T24" fmla="*/ 762 w 946"/>
              <a:gd name="T25" fmla="*/ 107 h 947"/>
              <a:gd name="T26" fmla="*/ 802 w 946"/>
              <a:gd name="T27" fmla="*/ 9 h 947"/>
              <a:gd name="T28" fmla="*/ 746 w 946"/>
              <a:gd name="T29" fmla="*/ 0 h 947"/>
              <a:gd name="T30" fmla="*/ 692 w 946"/>
              <a:gd name="T31" fmla="*/ 8 h 947"/>
              <a:gd name="T32" fmla="*/ 644 w 946"/>
              <a:gd name="T33" fmla="*/ 31 h 947"/>
              <a:gd name="T34" fmla="*/ 606 w 946"/>
              <a:gd name="T35" fmla="*/ 64 h 947"/>
              <a:gd name="T36" fmla="*/ 583 w 946"/>
              <a:gd name="T37" fmla="*/ 97 h 947"/>
              <a:gd name="T38" fmla="*/ 568 w 946"/>
              <a:gd name="T39" fmla="*/ 132 h 947"/>
              <a:gd name="T40" fmla="*/ 562 w 946"/>
              <a:gd name="T41" fmla="*/ 170 h 947"/>
              <a:gd name="T42" fmla="*/ 563 w 946"/>
              <a:gd name="T43" fmla="*/ 209 h 947"/>
              <a:gd name="T44" fmla="*/ 572 w 946"/>
              <a:gd name="T45" fmla="*/ 248 h 947"/>
              <a:gd name="T46" fmla="*/ 236 w 946"/>
              <a:gd name="T47" fmla="*/ 160 h 947"/>
              <a:gd name="T48" fmla="*/ 160 w 946"/>
              <a:gd name="T49" fmla="*/ 235 h 947"/>
              <a:gd name="T50" fmla="*/ 247 w 946"/>
              <a:gd name="T51" fmla="*/ 572 h 947"/>
              <a:gd name="T52" fmla="*/ 201 w 946"/>
              <a:gd name="T53" fmla="*/ 562 h 947"/>
              <a:gd name="T54" fmla="*/ 148 w 946"/>
              <a:gd name="T55" fmla="*/ 565 h 947"/>
              <a:gd name="T56" fmla="*/ 97 w 946"/>
              <a:gd name="T57" fmla="*/ 583 h 947"/>
              <a:gd name="T58" fmla="*/ 54 w 946"/>
              <a:gd name="T59" fmla="*/ 615 h 947"/>
              <a:gd name="T60" fmla="*/ 28 w 946"/>
              <a:gd name="T61" fmla="*/ 648 h 947"/>
              <a:gd name="T62" fmla="*/ 10 w 946"/>
              <a:gd name="T63" fmla="*/ 685 h 947"/>
              <a:gd name="T64" fmla="*/ 1 w 946"/>
              <a:gd name="T65" fmla="*/ 725 h 947"/>
              <a:gd name="T66" fmla="*/ 1 w 946"/>
              <a:gd name="T67" fmla="*/ 766 h 947"/>
              <a:gd name="T68" fmla="*/ 10 w 946"/>
              <a:gd name="T69" fmla="*/ 807 h 947"/>
              <a:gd name="T70" fmla="*/ 107 w 946"/>
              <a:gd name="T71" fmla="*/ 762 h 947"/>
              <a:gd name="T72" fmla="*/ 88 w 946"/>
              <a:gd name="T73" fmla="*/ 907 h 947"/>
              <a:gd name="T74" fmla="*/ 148 w 946"/>
              <a:gd name="T75" fmla="*/ 928 h 947"/>
              <a:gd name="T76" fmla="*/ 203 w 946"/>
              <a:gd name="T77" fmla="*/ 930 h 947"/>
              <a:gd name="T78" fmla="*/ 256 w 946"/>
              <a:gd name="T79" fmla="*/ 917 h 947"/>
              <a:gd name="T80" fmla="*/ 303 w 946"/>
              <a:gd name="T81" fmla="*/ 889 h 947"/>
              <a:gd name="T82" fmla="*/ 334 w 946"/>
              <a:gd name="T83" fmla="*/ 857 h 947"/>
              <a:gd name="T84" fmla="*/ 353 w 946"/>
              <a:gd name="T85" fmla="*/ 823 h 947"/>
              <a:gd name="T86" fmla="*/ 366 w 946"/>
              <a:gd name="T87" fmla="*/ 787 h 947"/>
              <a:gd name="T88" fmla="*/ 371 w 946"/>
              <a:gd name="T89" fmla="*/ 749 h 947"/>
              <a:gd name="T90" fmla="*/ 366 w 946"/>
              <a:gd name="T91" fmla="*/ 710 h 947"/>
              <a:gd name="T92" fmla="*/ 510 w 946"/>
              <a:gd name="T93" fmla="*/ 535 h 947"/>
              <a:gd name="T94" fmla="*/ 584 w 946"/>
              <a:gd name="T95" fmla="*/ 759 h 947"/>
              <a:gd name="T96" fmla="*/ 803 w 946"/>
              <a:gd name="T97" fmla="*/ 927 h 947"/>
              <a:gd name="T98" fmla="*/ 824 w 946"/>
              <a:gd name="T99" fmla="*/ 940 h 947"/>
              <a:gd name="T100" fmla="*/ 850 w 946"/>
              <a:gd name="T101" fmla="*/ 947 h 947"/>
              <a:gd name="T102" fmla="*/ 876 w 946"/>
              <a:gd name="T103" fmla="*/ 945 h 947"/>
              <a:gd name="T104" fmla="*/ 900 w 946"/>
              <a:gd name="T105" fmla="*/ 937 h 947"/>
              <a:gd name="T106" fmla="*/ 920 w 946"/>
              <a:gd name="T107" fmla="*/ 921 h 947"/>
              <a:gd name="T108" fmla="*/ 937 w 946"/>
              <a:gd name="T109" fmla="*/ 900 h 947"/>
              <a:gd name="T110" fmla="*/ 945 w 946"/>
              <a:gd name="T111" fmla="*/ 875 h 947"/>
              <a:gd name="T112" fmla="*/ 946 w 946"/>
              <a:gd name="T113" fmla="*/ 850 h 947"/>
              <a:gd name="T114" fmla="*/ 940 w 946"/>
              <a:gd name="T115" fmla="*/ 826 h 947"/>
              <a:gd name="T116" fmla="*/ 927 w 946"/>
              <a:gd name="T117" fmla="*/ 803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6" h="947">
                <a:moveTo>
                  <a:pt x="920" y="796"/>
                </a:moveTo>
                <a:lnTo>
                  <a:pt x="734" y="610"/>
                </a:lnTo>
                <a:lnTo>
                  <a:pt x="758" y="585"/>
                </a:lnTo>
                <a:lnTo>
                  <a:pt x="734" y="560"/>
                </a:lnTo>
                <a:lnTo>
                  <a:pt x="659" y="634"/>
                </a:lnTo>
                <a:lnTo>
                  <a:pt x="535" y="510"/>
                </a:lnTo>
                <a:lnTo>
                  <a:pt x="684" y="360"/>
                </a:lnTo>
                <a:lnTo>
                  <a:pt x="699" y="364"/>
                </a:lnTo>
                <a:lnTo>
                  <a:pt x="715" y="368"/>
                </a:lnTo>
                <a:lnTo>
                  <a:pt x="730" y="370"/>
                </a:lnTo>
                <a:lnTo>
                  <a:pt x="746" y="371"/>
                </a:lnTo>
                <a:lnTo>
                  <a:pt x="765" y="370"/>
                </a:lnTo>
                <a:lnTo>
                  <a:pt x="783" y="367"/>
                </a:lnTo>
                <a:lnTo>
                  <a:pt x="800" y="362"/>
                </a:lnTo>
                <a:lnTo>
                  <a:pt x="818" y="357"/>
                </a:lnTo>
                <a:lnTo>
                  <a:pt x="834" y="348"/>
                </a:lnTo>
                <a:lnTo>
                  <a:pt x="849" y="340"/>
                </a:lnTo>
                <a:lnTo>
                  <a:pt x="863" y="329"/>
                </a:lnTo>
                <a:lnTo>
                  <a:pt x="877" y="316"/>
                </a:lnTo>
                <a:lnTo>
                  <a:pt x="887" y="306"/>
                </a:lnTo>
                <a:lnTo>
                  <a:pt x="896" y="295"/>
                </a:lnTo>
                <a:lnTo>
                  <a:pt x="903" y="283"/>
                </a:lnTo>
                <a:lnTo>
                  <a:pt x="911" y="272"/>
                </a:lnTo>
                <a:lnTo>
                  <a:pt x="916" y="260"/>
                </a:lnTo>
                <a:lnTo>
                  <a:pt x="921" y="247"/>
                </a:lnTo>
                <a:lnTo>
                  <a:pt x="925" y="234"/>
                </a:lnTo>
                <a:lnTo>
                  <a:pt x="928" y="221"/>
                </a:lnTo>
                <a:lnTo>
                  <a:pt x="930" y="207"/>
                </a:lnTo>
                <a:lnTo>
                  <a:pt x="931" y="194"/>
                </a:lnTo>
                <a:lnTo>
                  <a:pt x="931" y="180"/>
                </a:lnTo>
                <a:lnTo>
                  <a:pt x="930" y="166"/>
                </a:lnTo>
                <a:lnTo>
                  <a:pt x="928" y="153"/>
                </a:lnTo>
                <a:lnTo>
                  <a:pt x="926" y="139"/>
                </a:lnTo>
                <a:lnTo>
                  <a:pt x="921" y="126"/>
                </a:lnTo>
                <a:lnTo>
                  <a:pt x="916" y="112"/>
                </a:lnTo>
                <a:lnTo>
                  <a:pt x="906" y="88"/>
                </a:lnTo>
                <a:lnTo>
                  <a:pt x="825" y="169"/>
                </a:lnTo>
                <a:lnTo>
                  <a:pt x="761" y="170"/>
                </a:lnTo>
                <a:lnTo>
                  <a:pt x="762" y="107"/>
                </a:lnTo>
                <a:lnTo>
                  <a:pt x="844" y="26"/>
                </a:lnTo>
                <a:lnTo>
                  <a:pt x="820" y="16"/>
                </a:lnTo>
                <a:lnTo>
                  <a:pt x="802" y="9"/>
                </a:lnTo>
                <a:lnTo>
                  <a:pt x="783" y="4"/>
                </a:lnTo>
                <a:lnTo>
                  <a:pt x="765" y="2"/>
                </a:lnTo>
                <a:lnTo>
                  <a:pt x="746" y="0"/>
                </a:lnTo>
                <a:lnTo>
                  <a:pt x="728" y="2"/>
                </a:lnTo>
                <a:lnTo>
                  <a:pt x="710" y="4"/>
                </a:lnTo>
                <a:lnTo>
                  <a:pt x="692" y="8"/>
                </a:lnTo>
                <a:lnTo>
                  <a:pt x="675" y="14"/>
                </a:lnTo>
                <a:lnTo>
                  <a:pt x="659" y="22"/>
                </a:lnTo>
                <a:lnTo>
                  <a:pt x="644" y="31"/>
                </a:lnTo>
                <a:lnTo>
                  <a:pt x="629" y="43"/>
                </a:lnTo>
                <a:lnTo>
                  <a:pt x="616" y="54"/>
                </a:lnTo>
                <a:lnTo>
                  <a:pt x="606" y="64"/>
                </a:lnTo>
                <a:lnTo>
                  <a:pt x="597" y="75"/>
                </a:lnTo>
                <a:lnTo>
                  <a:pt x="590" y="86"/>
                </a:lnTo>
                <a:lnTo>
                  <a:pt x="583" y="97"/>
                </a:lnTo>
                <a:lnTo>
                  <a:pt x="578" y="108"/>
                </a:lnTo>
                <a:lnTo>
                  <a:pt x="573" y="120"/>
                </a:lnTo>
                <a:lnTo>
                  <a:pt x="568" y="132"/>
                </a:lnTo>
                <a:lnTo>
                  <a:pt x="565" y="145"/>
                </a:lnTo>
                <a:lnTo>
                  <a:pt x="563" y="158"/>
                </a:lnTo>
                <a:lnTo>
                  <a:pt x="562" y="170"/>
                </a:lnTo>
                <a:lnTo>
                  <a:pt x="561" y="183"/>
                </a:lnTo>
                <a:lnTo>
                  <a:pt x="562" y="196"/>
                </a:lnTo>
                <a:lnTo>
                  <a:pt x="563" y="209"/>
                </a:lnTo>
                <a:lnTo>
                  <a:pt x="565" y="222"/>
                </a:lnTo>
                <a:lnTo>
                  <a:pt x="568" y="235"/>
                </a:lnTo>
                <a:lnTo>
                  <a:pt x="572" y="248"/>
                </a:lnTo>
                <a:lnTo>
                  <a:pt x="422" y="398"/>
                </a:lnTo>
                <a:lnTo>
                  <a:pt x="210" y="185"/>
                </a:lnTo>
                <a:lnTo>
                  <a:pt x="236" y="160"/>
                </a:lnTo>
                <a:lnTo>
                  <a:pt x="98" y="23"/>
                </a:lnTo>
                <a:lnTo>
                  <a:pt x="23" y="98"/>
                </a:lnTo>
                <a:lnTo>
                  <a:pt x="160" y="235"/>
                </a:lnTo>
                <a:lnTo>
                  <a:pt x="185" y="210"/>
                </a:lnTo>
                <a:lnTo>
                  <a:pt x="398" y="423"/>
                </a:lnTo>
                <a:lnTo>
                  <a:pt x="247" y="572"/>
                </a:lnTo>
                <a:lnTo>
                  <a:pt x="232" y="567"/>
                </a:lnTo>
                <a:lnTo>
                  <a:pt x="216" y="564"/>
                </a:lnTo>
                <a:lnTo>
                  <a:pt x="201" y="562"/>
                </a:lnTo>
                <a:lnTo>
                  <a:pt x="185" y="561"/>
                </a:lnTo>
                <a:lnTo>
                  <a:pt x="166" y="562"/>
                </a:lnTo>
                <a:lnTo>
                  <a:pt x="148" y="565"/>
                </a:lnTo>
                <a:lnTo>
                  <a:pt x="131" y="570"/>
                </a:lnTo>
                <a:lnTo>
                  <a:pt x="115" y="575"/>
                </a:lnTo>
                <a:lnTo>
                  <a:pt x="97" y="583"/>
                </a:lnTo>
                <a:lnTo>
                  <a:pt x="82" y="592"/>
                </a:lnTo>
                <a:lnTo>
                  <a:pt x="68" y="603"/>
                </a:lnTo>
                <a:lnTo>
                  <a:pt x="54" y="615"/>
                </a:lnTo>
                <a:lnTo>
                  <a:pt x="44" y="626"/>
                </a:lnTo>
                <a:lnTo>
                  <a:pt x="36" y="637"/>
                </a:lnTo>
                <a:lnTo>
                  <a:pt x="28" y="648"/>
                </a:lnTo>
                <a:lnTo>
                  <a:pt x="21" y="660"/>
                </a:lnTo>
                <a:lnTo>
                  <a:pt x="15" y="672"/>
                </a:lnTo>
                <a:lnTo>
                  <a:pt x="10" y="685"/>
                </a:lnTo>
                <a:lnTo>
                  <a:pt x="7" y="698"/>
                </a:lnTo>
                <a:lnTo>
                  <a:pt x="3" y="712"/>
                </a:lnTo>
                <a:lnTo>
                  <a:pt x="1" y="725"/>
                </a:lnTo>
                <a:lnTo>
                  <a:pt x="0" y="739"/>
                </a:lnTo>
                <a:lnTo>
                  <a:pt x="0" y="752"/>
                </a:lnTo>
                <a:lnTo>
                  <a:pt x="1" y="766"/>
                </a:lnTo>
                <a:lnTo>
                  <a:pt x="3" y="780"/>
                </a:lnTo>
                <a:lnTo>
                  <a:pt x="6" y="793"/>
                </a:lnTo>
                <a:lnTo>
                  <a:pt x="10" y="807"/>
                </a:lnTo>
                <a:lnTo>
                  <a:pt x="15" y="820"/>
                </a:lnTo>
                <a:lnTo>
                  <a:pt x="26" y="844"/>
                </a:lnTo>
                <a:lnTo>
                  <a:pt x="107" y="762"/>
                </a:lnTo>
                <a:lnTo>
                  <a:pt x="170" y="761"/>
                </a:lnTo>
                <a:lnTo>
                  <a:pt x="169" y="826"/>
                </a:lnTo>
                <a:lnTo>
                  <a:pt x="88" y="907"/>
                </a:lnTo>
                <a:lnTo>
                  <a:pt x="111" y="916"/>
                </a:lnTo>
                <a:lnTo>
                  <a:pt x="130" y="923"/>
                </a:lnTo>
                <a:lnTo>
                  <a:pt x="148" y="928"/>
                </a:lnTo>
                <a:lnTo>
                  <a:pt x="166" y="930"/>
                </a:lnTo>
                <a:lnTo>
                  <a:pt x="185" y="931"/>
                </a:lnTo>
                <a:lnTo>
                  <a:pt x="203" y="930"/>
                </a:lnTo>
                <a:lnTo>
                  <a:pt x="222" y="928"/>
                </a:lnTo>
                <a:lnTo>
                  <a:pt x="239" y="924"/>
                </a:lnTo>
                <a:lnTo>
                  <a:pt x="256" y="917"/>
                </a:lnTo>
                <a:lnTo>
                  <a:pt x="272" y="910"/>
                </a:lnTo>
                <a:lnTo>
                  <a:pt x="287" y="900"/>
                </a:lnTo>
                <a:lnTo>
                  <a:pt x="303" y="889"/>
                </a:lnTo>
                <a:lnTo>
                  <a:pt x="316" y="877"/>
                </a:lnTo>
                <a:lnTo>
                  <a:pt x="325" y="868"/>
                </a:lnTo>
                <a:lnTo>
                  <a:pt x="334" y="857"/>
                </a:lnTo>
                <a:lnTo>
                  <a:pt x="341" y="846"/>
                </a:lnTo>
                <a:lnTo>
                  <a:pt x="348" y="835"/>
                </a:lnTo>
                <a:lnTo>
                  <a:pt x="353" y="823"/>
                </a:lnTo>
                <a:lnTo>
                  <a:pt x="359" y="812"/>
                </a:lnTo>
                <a:lnTo>
                  <a:pt x="363" y="800"/>
                </a:lnTo>
                <a:lnTo>
                  <a:pt x="366" y="787"/>
                </a:lnTo>
                <a:lnTo>
                  <a:pt x="368" y="775"/>
                </a:lnTo>
                <a:lnTo>
                  <a:pt x="370" y="762"/>
                </a:lnTo>
                <a:lnTo>
                  <a:pt x="371" y="749"/>
                </a:lnTo>
                <a:lnTo>
                  <a:pt x="370" y="736"/>
                </a:lnTo>
                <a:lnTo>
                  <a:pt x="368" y="723"/>
                </a:lnTo>
                <a:lnTo>
                  <a:pt x="366" y="710"/>
                </a:lnTo>
                <a:lnTo>
                  <a:pt x="363" y="697"/>
                </a:lnTo>
                <a:lnTo>
                  <a:pt x="360" y="684"/>
                </a:lnTo>
                <a:lnTo>
                  <a:pt x="510" y="535"/>
                </a:lnTo>
                <a:lnTo>
                  <a:pt x="634" y="659"/>
                </a:lnTo>
                <a:lnTo>
                  <a:pt x="560" y="734"/>
                </a:lnTo>
                <a:lnTo>
                  <a:pt x="584" y="759"/>
                </a:lnTo>
                <a:lnTo>
                  <a:pt x="609" y="734"/>
                </a:lnTo>
                <a:lnTo>
                  <a:pt x="796" y="921"/>
                </a:lnTo>
                <a:lnTo>
                  <a:pt x="803" y="927"/>
                </a:lnTo>
                <a:lnTo>
                  <a:pt x="809" y="932"/>
                </a:lnTo>
                <a:lnTo>
                  <a:pt x="817" y="937"/>
                </a:lnTo>
                <a:lnTo>
                  <a:pt x="824" y="940"/>
                </a:lnTo>
                <a:lnTo>
                  <a:pt x="833" y="943"/>
                </a:lnTo>
                <a:lnTo>
                  <a:pt x="842" y="945"/>
                </a:lnTo>
                <a:lnTo>
                  <a:pt x="850" y="947"/>
                </a:lnTo>
                <a:lnTo>
                  <a:pt x="859" y="947"/>
                </a:lnTo>
                <a:lnTo>
                  <a:pt x="867" y="947"/>
                </a:lnTo>
                <a:lnTo>
                  <a:pt x="876" y="945"/>
                </a:lnTo>
                <a:lnTo>
                  <a:pt x="885" y="943"/>
                </a:lnTo>
                <a:lnTo>
                  <a:pt x="892" y="940"/>
                </a:lnTo>
                <a:lnTo>
                  <a:pt x="900" y="937"/>
                </a:lnTo>
                <a:lnTo>
                  <a:pt x="907" y="932"/>
                </a:lnTo>
                <a:lnTo>
                  <a:pt x="914" y="927"/>
                </a:lnTo>
                <a:lnTo>
                  <a:pt x="920" y="921"/>
                </a:lnTo>
                <a:lnTo>
                  <a:pt x="927" y="914"/>
                </a:lnTo>
                <a:lnTo>
                  <a:pt x="932" y="908"/>
                </a:lnTo>
                <a:lnTo>
                  <a:pt x="937" y="900"/>
                </a:lnTo>
                <a:lnTo>
                  <a:pt x="940" y="891"/>
                </a:lnTo>
                <a:lnTo>
                  <a:pt x="943" y="884"/>
                </a:lnTo>
                <a:lnTo>
                  <a:pt x="945" y="875"/>
                </a:lnTo>
                <a:lnTo>
                  <a:pt x="946" y="868"/>
                </a:lnTo>
                <a:lnTo>
                  <a:pt x="946" y="859"/>
                </a:lnTo>
                <a:lnTo>
                  <a:pt x="946" y="850"/>
                </a:lnTo>
                <a:lnTo>
                  <a:pt x="945" y="842"/>
                </a:lnTo>
                <a:lnTo>
                  <a:pt x="943" y="833"/>
                </a:lnTo>
                <a:lnTo>
                  <a:pt x="940" y="826"/>
                </a:lnTo>
                <a:lnTo>
                  <a:pt x="937" y="818"/>
                </a:lnTo>
                <a:lnTo>
                  <a:pt x="932" y="810"/>
                </a:lnTo>
                <a:lnTo>
                  <a:pt x="927" y="803"/>
                </a:lnTo>
                <a:lnTo>
                  <a:pt x="920" y="796"/>
                </a:lnTo>
                <a:close/>
              </a:path>
            </a:pathLst>
          </a:custGeom>
          <a:solidFill>
            <a:schemeClr val="tx1">
              <a:lumMod val="75000"/>
              <a:lumOff val="25000"/>
            </a:schemeClr>
          </a:solidFill>
          <a:ln>
            <a:noFill/>
          </a:ln>
        </p:spPr>
        <p:txBody>
          <a:bodyPr vert="horz" wrap="square" lIns="68580" tIns="34290" rIns="68580" bIns="34290" numCol="1" anchor="t" anchorCtr="0" compatLnSpc="1"/>
          <a:lstStyle/>
          <a:p>
            <a:endParaRPr lang="en-US" sz="1015"/>
          </a:p>
        </p:txBody>
      </p:sp>
      <p:sp>
        <p:nvSpPr>
          <p:cNvPr id="65" name="Freeform 152"/>
          <p:cNvSpPr/>
          <p:nvPr/>
        </p:nvSpPr>
        <p:spPr bwMode="auto">
          <a:xfrm>
            <a:off x="2398302" y="3762298"/>
            <a:ext cx="315516" cy="294085"/>
          </a:xfrm>
          <a:custGeom>
            <a:avLst/>
            <a:gdLst>
              <a:gd name="T0" fmla="*/ 485 w 1059"/>
              <a:gd name="T1" fmla="*/ 55 h 987"/>
              <a:gd name="T2" fmla="*/ 359 w 1059"/>
              <a:gd name="T3" fmla="*/ 81 h 987"/>
              <a:gd name="T4" fmla="*/ 246 w 1059"/>
              <a:gd name="T5" fmla="*/ 135 h 987"/>
              <a:gd name="T6" fmla="*/ 149 w 1059"/>
              <a:gd name="T7" fmla="*/ 213 h 987"/>
              <a:gd name="T8" fmla="*/ 73 w 1059"/>
              <a:gd name="T9" fmla="*/ 311 h 987"/>
              <a:gd name="T10" fmla="*/ 23 w 1059"/>
              <a:gd name="T11" fmla="*/ 425 h 987"/>
              <a:gd name="T12" fmla="*/ 1 w 1059"/>
              <a:gd name="T13" fmla="*/ 552 h 987"/>
              <a:gd name="T14" fmla="*/ 3 w 1059"/>
              <a:gd name="T15" fmla="*/ 636 h 987"/>
              <a:gd name="T16" fmla="*/ 48 w 1059"/>
              <a:gd name="T17" fmla="*/ 593 h 987"/>
              <a:gd name="T18" fmla="*/ 79 w 1059"/>
              <a:gd name="T19" fmla="*/ 553 h 987"/>
              <a:gd name="T20" fmla="*/ 126 w 1059"/>
              <a:gd name="T21" fmla="*/ 531 h 987"/>
              <a:gd name="T22" fmla="*/ 180 w 1059"/>
              <a:gd name="T23" fmla="*/ 533 h 987"/>
              <a:gd name="T24" fmla="*/ 225 w 1059"/>
              <a:gd name="T25" fmla="*/ 560 h 987"/>
              <a:gd name="T26" fmla="*/ 253 w 1059"/>
              <a:gd name="T27" fmla="*/ 606 h 987"/>
              <a:gd name="T28" fmla="*/ 293 w 1059"/>
              <a:gd name="T29" fmla="*/ 627 h 987"/>
              <a:gd name="T30" fmla="*/ 311 w 1059"/>
              <a:gd name="T31" fmla="*/ 578 h 987"/>
              <a:gd name="T32" fmla="*/ 350 w 1059"/>
              <a:gd name="T33" fmla="*/ 542 h 987"/>
              <a:gd name="T34" fmla="*/ 402 w 1059"/>
              <a:gd name="T35" fmla="*/ 529 h 987"/>
              <a:gd name="T36" fmla="*/ 454 w 1059"/>
              <a:gd name="T37" fmla="*/ 542 h 987"/>
              <a:gd name="T38" fmla="*/ 493 w 1059"/>
              <a:gd name="T39" fmla="*/ 577 h 987"/>
              <a:gd name="T40" fmla="*/ 511 w 1059"/>
              <a:gd name="T41" fmla="*/ 625 h 987"/>
              <a:gd name="T42" fmla="*/ 515 w 1059"/>
              <a:gd name="T43" fmla="*/ 932 h 987"/>
              <a:gd name="T44" fmla="*/ 535 w 1059"/>
              <a:gd name="T45" fmla="*/ 964 h 987"/>
              <a:gd name="T46" fmla="*/ 566 w 1059"/>
              <a:gd name="T47" fmla="*/ 984 h 987"/>
              <a:gd name="T48" fmla="*/ 605 w 1059"/>
              <a:gd name="T49" fmla="*/ 986 h 987"/>
              <a:gd name="T50" fmla="*/ 639 w 1059"/>
              <a:gd name="T51" fmla="*/ 970 h 987"/>
              <a:gd name="T52" fmla="*/ 661 w 1059"/>
              <a:gd name="T53" fmla="*/ 940 h 987"/>
              <a:gd name="T54" fmla="*/ 632 w 1059"/>
              <a:gd name="T55" fmla="*/ 909 h 987"/>
              <a:gd name="T56" fmla="*/ 614 w 1059"/>
              <a:gd name="T57" fmla="*/ 945 h 987"/>
              <a:gd name="T58" fmla="*/ 572 w 1059"/>
              <a:gd name="T59" fmla="*/ 948 h 987"/>
              <a:gd name="T60" fmla="*/ 548 w 1059"/>
              <a:gd name="T61" fmla="*/ 918 h 987"/>
              <a:gd name="T62" fmla="*/ 549 w 1059"/>
              <a:gd name="T63" fmla="*/ 617 h 987"/>
              <a:gd name="T64" fmla="*/ 571 w 1059"/>
              <a:gd name="T65" fmla="*/ 569 h 987"/>
              <a:gd name="T66" fmla="*/ 614 w 1059"/>
              <a:gd name="T67" fmla="*/ 538 h 987"/>
              <a:gd name="T68" fmla="*/ 668 w 1059"/>
              <a:gd name="T69" fmla="*/ 529 h 987"/>
              <a:gd name="T70" fmla="*/ 717 w 1059"/>
              <a:gd name="T71" fmla="*/ 547 h 987"/>
              <a:gd name="T72" fmla="*/ 753 w 1059"/>
              <a:gd name="T73" fmla="*/ 586 h 987"/>
              <a:gd name="T74" fmla="*/ 766 w 1059"/>
              <a:gd name="T75" fmla="*/ 638 h 987"/>
              <a:gd name="T76" fmla="*/ 810 w 1059"/>
              <a:gd name="T77" fmla="*/ 596 h 987"/>
              <a:gd name="T78" fmla="*/ 841 w 1059"/>
              <a:gd name="T79" fmla="*/ 554 h 987"/>
              <a:gd name="T80" fmla="*/ 889 w 1059"/>
              <a:gd name="T81" fmla="*/ 531 h 987"/>
              <a:gd name="T82" fmla="*/ 942 w 1059"/>
              <a:gd name="T83" fmla="*/ 533 h 987"/>
              <a:gd name="T84" fmla="*/ 986 w 1059"/>
              <a:gd name="T85" fmla="*/ 559 h 987"/>
              <a:gd name="T86" fmla="*/ 1014 w 1059"/>
              <a:gd name="T87" fmla="*/ 603 h 987"/>
              <a:gd name="T88" fmla="*/ 1056 w 1059"/>
              <a:gd name="T89" fmla="*/ 621 h 987"/>
              <a:gd name="T90" fmla="*/ 1055 w 1059"/>
              <a:gd name="T91" fmla="*/ 526 h 987"/>
              <a:gd name="T92" fmla="*/ 1027 w 1059"/>
              <a:gd name="T93" fmla="*/ 402 h 987"/>
              <a:gd name="T94" fmla="*/ 971 w 1059"/>
              <a:gd name="T95" fmla="*/ 290 h 987"/>
              <a:gd name="T96" fmla="*/ 891 w 1059"/>
              <a:gd name="T97" fmla="*/ 195 h 987"/>
              <a:gd name="T98" fmla="*/ 791 w 1059"/>
              <a:gd name="T99" fmla="*/ 122 h 987"/>
              <a:gd name="T100" fmla="*/ 675 w 1059"/>
              <a:gd name="T101" fmla="*/ 73 h 987"/>
              <a:gd name="T102" fmla="*/ 547 w 1059"/>
              <a:gd name="T103" fmla="*/ 53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59" h="987">
                <a:moveTo>
                  <a:pt x="547" y="53"/>
                </a:moveTo>
                <a:lnTo>
                  <a:pt x="547" y="0"/>
                </a:lnTo>
                <a:lnTo>
                  <a:pt x="512" y="0"/>
                </a:lnTo>
                <a:lnTo>
                  <a:pt x="512" y="53"/>
                </a:lnTo>
                <a:lnTo>
                  <a:pt x="485" y="55"/>
                </a:lnTo>
                <a:lnTo>
                  <a:pt x="459" y="57"/>
                </a:lnTo>
                <a:lnTo>
                  <a:pt x="433" y="61"/>
                </a:lnTo>
                <a:lnTo>
                  <a:pt x="408" y="67"/>
                </a:lnTo>
                <a:lnTo>
                  <a:pt x="383" y="73"/>
                </a:lnTo>
                <a:lnTo>
                  <a:pt x="359" y="81"/>
                </a:lnTo>
                <a:lnTo>
                  <a:pt x="335" y="90"/>
                </a:lnTo>
                <a:lnTo>
                  <a:pt x="312" y="99"/>
                </a:lnTo>
                <a:lnTo>
                  <a:pt x="289" y="110"/>
                </a:lnTo>
                <a:lnTo>
                  <a:pt x="267" y="122"/>
                </a:lnTo>
                <a:lnTo>
                  <a:pt x="246" y="135"/>
                </a:lnTo>
                <a:lnTo>
                  <a:pt x="225" y="149"/>
                </a:lnTo>
                <a:lnTo>
                  <a:pt x="205" y="163"/>
                </a:lnTo>
                <a:lnTo>
                  <a:pt x="186" y="179"/>
                </a:lnTo>
                <a:lnTo>
                  <a:pt x="167" y="195"/>
                </a:lnTo>
                <a:lnTo>
                  <a:pt x="149" y="213"/>
                </a:lnTo>
                <a:lnTo>
                  <a:pt x="133" y="231"/>
                </a:lnTo>
                <a:lnTo>
                  <a:pt x="117" y="250"/>
                </a:lnTo>
                <a:lnTo>
                  <a:pt x="102" y="270"/>
                </a:lnTo>
                <a:lnTo>
                  <a:pt x="87" y="290"/>
                </a:lnTo>
                <a:lnTo>
                  <a:pt x="73" y="311"/>
                </a:lnTo>
                <a:lnTo>
                  <a:pt x="62" y="333"/>
                </a:lnTo>
                <a:lnTo>
                  <a:pt x="51" y="355"/>
                </a:lnTo>
                <a:lnTo>
                  <a:pt x="40" y="378"/>
                </a:lnTo>
                <a:lnTo>
                  <a:pt x="31" y="402"/>
                </a:lnTo>
                <a:lnTo>
                  <a:pt x="23" y="425"/>
                </a:lnTo>
                <a:lnTo>
                  <a:pt x="16" y="450"/>
                </a:lnTo>
                <a:lnTo>
                  <a:pt x="11" y="475"/>
                </a:lnTo>
                <a:lnTo>
                  <a:pt x="5" y="500"/>
                </a:lnTo>
                <a:lnTo>
                  <a:pt x="2" y="526"/>
                </a:lnTo>
                <a:lnTo>
                  <a:pt x="1" y="552"/>
                </a:lnTo>
                <a:lnTo>
                  <a:pt x="0" y="579"/>
                </a:lnTo>
                <a:lnTo>
                  <a:pt x="0" y="593"/>
                </a:lnTo>
                <a:lnTo>
                  <a:pt x="1" y="607"/>
                </a:lnTo>
                <a:lnTo>
                  <a:pt x="2" y="621"/>
                </a:lnTo>
                <a:lnTo>
                  <a:pt x="3" y="636"/>
                </a:lnTo>
                <a:lnTo>
                  <a:pt x="38" y="635"/>
                </a:lnTo>
                <a:lnTo>
                  <a:pt x="39" y="623"/>
                </a:lnTo>
                <a:lnTo>
                  <a:pt x="41" y="613"/>
                </a:lnTo>
                <a:lnTo>
                  <a:pt x="44" y="603"/>
                </a:lnTo>
                <a:lnTo>
                  <a:pt x="48" y="593"/>
                </a:lnTo>
                <a:lnTo>
                  <a:pt x="53" y="584"/>
                </a:lnTo>
                <a:lnTo>
                  <a:pt x="58" y="574"/>
                </a:lnTo>
                <a:lnTo>
                  <a:pt x="65" y="567"/>
                </a:lnTo>
                <a:lnTo>
                  <a:pt x="71" y="559"/>
                </a:lnTo>
                <a:lnTo>
                  <a:pt x="79" y="553"/>
                </a:lnTo>
                <a:lnTo>
                  <a:pt x="87" y="546"/>
                </a:lnTo>
                <a:lnTo>
                  <a:pt x="96" y="541"/>
                </a:lnTo>
                <a:lnTo>
                  <a:pt x="106" y="537"/>
                </a:lnTo>
                <a:lnTo>
                  <a:pt x="116" y="533"/>
                </a:lnTo>
                <a:lnTo>
                  <a:pt x="126" y="531"/>
                </a:lnTo>
                <a:lnTo>
                  <a:pt x="137" y="529"/>
                </a:lnTo>
                <a:lnTo>
                  <a:pt x="148" y="529"/>
                </a:lnTo>
                <a:lnTo>
                  <a:pt x="159" y="529"/>
                </a:lnTo>
                <a:lnTo>
                  <a:pt x="170" y="531"/>
                </a:lnTo>
                <a:lnTo>
                  <a:pt x="180" y="533"/>
                </a:lnTo>
                <a:lnTo>
                  <a:pt x="190" y="538"/>
                </a:lnTo>
                <a:lnTo>
                  <a:pt x="200" y="542"/>
                </a:lnTo>
                <a:lnTo>
                  <a:pt x="208" y="547"/>
                </a:lnTo>
                <a:lnTo>
                  <a:pt x="217" y="554"/>
                </a:lnTo>
                <a:lnTo>
                  <a:pt x="225" y="560"/>
                </a:lnTo>
                <a:lnTo>
                  <a:pt x="232" y="569"/>
                </a:lnTo>
                <a:lnTo>
                  <a:pt x="239" y="578"/>
                </a:lnTo>
                <a:lnTo>
                  <a:pt x="244" y="586"/>
                </a:lnTo>
                <a:lnTo>
                  <a:pt x="248" y="596"/>
                </a:lnTo>
                <a:lnTo>
                  <a:pt x="253" y="606"/>
                </a:lnTo>
                <a:lnTo>
                  <a:pt x="255" y="617"/>
                </a:lnTo>
                <a:lnTo>
                  <a:pt x="257" y="627"/>
                </a:lnTo>
                <a:lnTo>
                  <a:pt x="257" y="638"/>
                </a:lnTo>
                <a:lnTo>
                  <a:pt x="293" y="638"/>
                </a:lnTo>
                <a:lnTo>
                  <a:pt x="293" y="627"/>
                </a:lnTo>
                <a:lnTo>
                  <a:pt x="295" y="617"/>
                </a:lnTo>
                <a:lnTo>
                  <a:pt x="297" y="606"/>
                </a:lnTo>
                <a:lnTo>
                  <a:pt x="301" y="596"/>
                </a:lnTo>
                <a:lnTo>
                  <a:pt x="306" y="586"/>
                </a:lnTo>
                <a:lnTo>
                  <a:pt x="311" y="578"/>
                </a:lnTo>
                <a:lnTo>
                  <a:pt x="318" y="569"/>
                </a:lnTo>
                <a:lnTo>
                  <a:pt x="325" y="560"/>
                </a:lnTo>
                <a:lnTo>
                  <a:pt x="333" y="554"/>
                </a:lnTo>
                <a:lnTo>
                  <a:pt x="341" y="547"/>
                </a:lnTo>
                <a:lnTo>
                  <a:pt x="350" y="542"/>
                </a:lnTo>
                <a:lnTo>
                  <a:pt x="360" y="538"/>
                </a:lnTo>
                <a:lnTo>
                  <a:pt x="369" y="533"/>
                </a:lnTo>
                <a:lnTo>
                  <a:pt x="380" y="531"/>
                </a:lnTo>
                <a:lnTo>
                  <a:pt x="391" y="529"/>
                </a:lnTo>
                <a:lnTo>
                  <a:pt x="402" y="529"/>
                </a:lnTo>
                <a:lnTo>
                  <a:pt x="413" y="529"/>
                </a:lnTo>
                <a:lnTo>
                  <a:pt x="423" y="531"/>
                </a:lnTo>
                <a:lnTo>
                  <a:pt x="434" y="533"/>
                </a:lnTo>
                <a:lnTo>
                  <a:pt x="444" y="538"/>
                </a:lnTo>
                <a:lnTo>
                  <a:pt x="454" y="542"/>
                </a:lnTo>
                <a:lnTo>
                  <a:pt x="462" y="547"/>
                </a:lnTo>
                <a:lnTo>
                  <a:pt x="471" y="553"/>
                </a:lnTo>
                <a:lnTo>
                  <a:pt x="478" y="560"/>
                </a:lnTo>
                <a:lnTo>
                  <a:pt x="486" y="568"/>
                </a:lnTo>
                <a:lnTo>
                  <a:pt x="493" y="577"/>
                </a:lnTo>
                <a:lnTo>
                  <a:pt x="498" y="585"/>
                </a:lnTo>
                <a:lnTo>
                  <a:pt x="502" y="595"/>
                </a:lnTo>
                <a:lnTo>
                  <a:pt x="507" y="605"/>
                </a:lnTo>
                <a:lnTo>
                  <a:pt x="509" y="614"/>
                </a:lnTo>
                <a:lnTo>
                  <a:pt x="511" y="625"/>
                </a:lnTo>
                <a:lnTo>
                  <a:pt x="512" y="636"/>
                </a:lnTo>
                <a:lnTo>
                  <a:pt x="512" y="909"/>
                </a:lnTo>
                <a:lnTo>
                  <a:pt x="512" y="917"/>
                </a:lnTo>
                <a:lnTo>
                  <a:pt x="513" y="925"/>
                </a:lnTo>
                <a:lnTo>
                  <a:pt x="515" y="932"/>
                </a:lnTo>
                <a:lnTo>
                  <a:pt x="517" y="940"/>
                </a:lnTo>
                <a:lnTo>
                  <a:pt x="521" y="946"/>
                </a:lnTo>
                <a:lnTo>
                  <a:pt x="525" y="952"/>
                </a:lnTo>
                <a:lnTo>
                  <a:pt x="529" y="959"/>
                </a:lnTo>
                <a:lnTo>
                  <a:pt x="535" y="964"/>
                </a:lnTo>
                <a:lnTo>
                  <a:pt x="540" y="970"/>
                </a:lnTo>
                <a:lnTo>
                  <a:pt x="545" y="974"/>
                </a:lnTo>
                <a:lnTo>
                  <a:pt x="552" y="977"/>
                </a:lnTo>
                <a:lnTo>
                  <a:pt x="559" y="982"/>
                </a:lnTo>
                <a:lnTo>
                  <a:pt x="566" y="984"/>
                </a:lnTo>
                <a:lnTo>
                  <a:pt x="574" y="986"/>
                </a:lnTo>
                <a:lnTo>
                  <a:pt x="581" y="987"/>
                </a:lnTo>
                <a:lnTo>
                  <a:pt x="590" y="987"/>
                </a:lnTo>
                <a:lnTo>
                  <a:pt x="597" y="987"/>
                </a:lnTo>
                <a:lnTo>
                  <a:pt x="605" y="986"/>
                </a:lnTo>
                <a:lnTo>
                  <a:pt x="612" y="984"/>
                </a:lnTo>
                <a:lnTo>
                  <a:pt x="620" y="982"/>
                </a:lnTo>
                <a:lnTo>
                  <a:pt x="626" y="977"/>
                </a:lnTo>
                <a:lnTo>
                  <a:pt x="633" y="974"/>
                </a:lnTo>
                <a:lnTo>
                  <a:pt x="639" y="970"/>
                </a:lnTo>
                <a:lnTo>
                  <a:pt x="645" y="964"/>
                </a:lnTo>
                <a:lnTo>
                  <a:pt x="649" y="959"/>
                </a:lnTo>
                <a:lnTo>
                  <a:pt x="653" y="952"/>
                </a:lnTo>
                <a:lnTo>
                  <a:pt x="658" y="946"/>
                </a:lnTo>
                <a:lnTo>
                  <a:pt x="661" y="940"/>
                </a:lnTo>
                <a:lnTo>
                  <a:pt x="664" y="932"/>
                </a:lnTo>
                <a:lnTo>
                  <a:pt x="665" y="925"/>
                </a:lnTo>
                <a:lnTo>
                  <a:pt x="666" y="917"/>
                </a:lnTo>
                <a:lnTo>
                  <a:pt x="668" y="909"/>
                </a:lnTo>
                <a:lnTo>
                  <a:pt x="632" y="909"/>
                </a:lnTo>
                <a:lnTo>
                  <a:pt x="631" y="918"/>
                </a:lnTo>
                <a:lnTo>
                  <a:pt x="629" y="925"/>
                </a:lnTo>
                <a:lnTo>
                  <a:pt x="624" y="933"/>
                </a:lnTo>
                <a:lnTo>
                  <a:pt x="620" y="940"/>
                </a:lnTo>
                <a:lnTo>
                  <a:pt x="614" y="945"/>
                </a:lnTo>
                <a:lnTo>
                  <a:pt x="606" y="948"/>
                </a:lnTo>
                <a:lnTo>
                  <a:pt x="598" y="951"/>
                </a:lnTo>
                <a:lnTo>
                  <a:pt x="590" y="952"/>
                </a:lnTo>
                <a:lnTo>
                  <a:pt x="581" y="951"/>
                </a:lnTo>
                <a:lnTo>
                  <a:pt x="572" y="948"/>
                </a:lnTo>
                <a:lnTo>
                  <a:pt x="566" y="945"/>
                </a:lnTo>
                <a:lnTo>
                  <a:pt x="559" y="940"/>
                </a:lnTo>
                <a:lnTo>
                  <a:pt x="554" y="933"/>
                </a:lnTo>
                <a:lnTo>
                  <a:pt x="550" y="925"/>
                </a:lnTo>
                <a:lnTo>
                  <a:pt x="548" y="918"/>
                </a:lnTo>
                <a:lnTo>
                  <a:pt x="547" y="909"/>
                </a:lnTo>
                <a:lnTo>
                  <a:pt x="547" y="638"/>
                </a:lnTo>
                <a:lnTo>
                  <a:pt x="547" y="638"/>
                </a:lnTo>
                <a:lnTo>
                  <a:pt x="548" y="627"/>
                </a:lnTo>
                <a:lnTo>
                  <a:pt x="549" y="617"/>
                </a:lnTo>
                <a:lnTo>
                  <a:pt x="552" y="606"/>
                </a:lnTo>
                <a:lnTo>
                  <a:pt x="555" y="596"/>
                </a:lnTo>
                <a:lnTo>
                  <a:pt x="561" y="586"/>
                </a:lnTo>
                <a:lnTo>
                  <a:pt x="566" y="578"/>
                </a:lnTo>
                <a:lnTo>
                  <a:pt x="571" y="569"/>
                </a:lnTo>
                <a:lnTo>
                  <a:pt x="579" y="560"/>
                </a:lnTo>
                <a:lnTo>
                  <a:pt x="586" y="554"/>
                </a:lnTo>
                <a:lnTo>
                  <a:pt x="595" y="547"/>
                </a:lnTo>
                <a:lnTo>
                  <a:pt x="604" y="542"/>
                </a:lnTo>
                <a:lnTo>
                  <a:pt x="614" y="538"/>
                </a:lnTo>
                <a:lnTo>
                  <a:pt x="624" y="533"/>
                </a:lnTo>
                <a:lnTo>
                  <a:pt x="634" y="531"/>
                </a:lnTo>
                <a:lnTo>
                  <a:pt x="645" y="529"/>
                </a:lnTo>
                <a:lnTo>
                  <a:pt x="657" y="529"/>
                </a:lnTo>
                <a:lnTo>
                  <a:pt x="668" y="529"/>
                </a:lnTo>
                <a:lnTo>
                  <a:pt x="678" y="531"/>
                </a:lnTo>
                <a:lnTo>
                  <a:pt x="689" y="533"/>
                </a:lnTo>
                <a:lnTo>
                  <a:pt x="699" y="538"/>
                </a:lnTo>
                <a:lnTo>
                  <a:pt x="709" y="542"/>
                </a:lnTo>
                <a:lnTo>
                  <a:pt x="717" y="547"/>
                </a:lnTo>
                <a:lnTo>
                  <a:pt x="726" y="554"/>
                </a:lnTo>
                <a:lnTo>
                  <a:pt x="733" y="560"/>
                </a:lnTo>
                <a:lnTo>
                  <a:pt x="741" y="569"/>
                </a:lnTo>
                <a:lnTo>
                  <a:pt x="747" y="578"/>
                </a:lnTo>
                <a:lnTo>
                  <a:pt x="753" y="586"/>
                </a:lnTo>
                <a:lnTo>
                  <a:pt x="757" y="596"/>
                </a:lnTo>
                <a:lnTo>
                  <a:pt x="761" y="606"/>
                </a:lnTo>
                <a:lnTo>
                  <a:pt x="764" y="617"/>
                </a:lnTo>
                <a:lnTo>
                  <a:pt x="766" y="627"/>
                </a:lnTo>
                <a:lnTo>
                  <a:pt x="766" y="638"/>
                </a:lnTo>
                <a:lnTo>
                  <a:pt x="801" y="638"/>
                </a:lnTo>
                <a:lnTo>
                  <a:pt x="801" y="627"/>
                </a:lnTo>
                <a:lnTo>
                  <a:pt x="804" y="617"/>
                </a:lnTo>
                <a:lnTo>
                  <a:pt x="806" y="606"/>
                </a:lnTo>
                <a:lnTo>
                  <a:pt x="810" y="596"/>
                </a:lnTo>
                <a:lnTo>
                  <a:pt x="814" y="586"/>
                </a:lnTo>
                <a:lnTo>
                  <a:pt x="820" y="578"/>
                </a:lnTo>
                <a:lnTo>
                  <a:pt x="826" y="569"/>
                </a:lnTo>
                <a:lnTo>
                  <a:pt x="834" y="560"/>
                </a:lnTo>
                <a:lnTo>
                  <a:pt x="841" y="554"/>
                </a:lnTo>
                <a:lnTo>
                  <a:pt x="850" y="547"/>
                </a:lnTo>
                <a:lnTo>
                  <a:pt x="859" y="542"/>
                </a:lnTo>
                <a:lnTo>
                  <a:pt x="868" y="538"/>
                </a:lnTo>
                <a:lnTo>
                  <a:pt x="878" y="533"/>
                </a:lnTo>
                <a:lnTo>
                  <a:pt x="889" y="531"/>
                </a:lnTo>
                <a:lnTo>
                  <a:pt x="900" y="529"/>
                </a:lnTo>
                <a:lnTo>
                  <a:pt x="911" y="529"/>
                </a:lnTo>
                <a:lnTo>
                  <a:pt x="921" y="529"/>
                </a:lnTo>
                <a:lnTo>
                  <a:pt x="932" y="531"/>
                </a:lnTo>
                <a:lnTo>
                  <a:pt x="942" y="533"/>
                </a:lnTo>
                <a:lnTo>
                  <a:pt x="953" y="537"/>
                </a:lnTo>
                <a:lnTo>
                  <a:pt x="961" y="541"/>
                </a:lnTo>
                <a:lnTo>
                  <a:pt x="970" y="546"/>
                </a:lnTo>
                <a:lnTo>
                  <a:pt x="979" y="553"/>
                </a:lnTo>
                <a:lnTo>
                  <a:pt x="986" y="559"/>
                </a:lnTo>
                <a:lnTo>
                  <a:pt x="994" y="567"/>
                </a:lnTo>
                <a:lnTo>
                  <a:pt x="1000" y="574"/>
                </a:lnTo>
                <a:lnTo>
                  <a:pt x="1006" y="583"/>
                </a:lnTo>
                <a:lnTo>
                  <a:pt x="1010" y="593"/>
                </a:lnTo>
                <a:lnTo>
                  <a:pt x="1014" y="603"/>
                </a:lnTo>
                <a:lnTo>
                  <a:pt x="1017" y="612"/>
                </a:lnTo>
                <a:lnTo>
                  <a:pt x="1019" y="623"/>
                </a:lnTo>
                <a:lnTo>
                  <a:pt x="1020" y="634"/>
                </a:lnTo>
                <a:lnTo>
                  <a:pt x="1055" y="635"/>
                </a:lnTo>
                <a:lnTo>
                  <a:pt x="1056" y="621"/>
                </a:lnTo>
                <a:lnTo>
                  <a:pt x="1057" y="607"/>
                </a:lnTo>
                <a:lnTo>
                  <a:pt x="1057" y="593"/>
                </a:lnTo>
                <a:lnTo>
                  <a:pt x="1059" y="579"/>
                </a:lnTo>
                <a:lnTo>
                  <a:pt x="1057" y="552"/>
                </a:lnTo>
                <a:lnTo>
                  <a:pt x="1055" y="526"/>
                </a:lnTo>
                <a:lnTo>
                  <a:pt x="1052" y="500"/>
                </a:lnTo>
                <a:lnTo>
                  <a:pt x="1048" y="475"/>
                </a:lnTo>
                <a:lnTo>
                  <a:pt x="1042" y="450"/>
                </a:lnTo>
                <a:lnTo>
                  <a:pt x="1035" y="425"/>
                </a:lnTo>
                <a:lnTo>
                  <a:pt x="1027" y="402"/>
                </a:lnTo>
                <a:lnTo>
                  <a:pt x="1019" y="378"/>
                </a:lnTo>
                <a:lnTo>
                  <a:pt x="1008" y="355"/>
                </a:lnTo>
                <a:lnTo>
                  <a:pt x="997" y="333"/>
                </a:lnTo>
                <a:lnTo>
                  <a:pt x="984" y="311"/>
                </a:lnTo>
                <a:lnTo>
                  <a:pt x="971" y="290"/>
                </a:lnTo>
                <a:lnTo>
                  <a:pt x="957" y="270"/>
                </a:lnTo>
                <a:lnTo>
                  <a:pt x="942" y="250"/>
                </a:lnTo>
                <a:lnTo>
                  <a:pt x="926" y="231"/>
                </a:lnTo>
                <a:lnTo>
                  <a:pt x="908" y="213"/>
                </a:lnTo>
                <a:lnTo>
                  <a:pt x="891" y="195"/>
                </a:lnTo>
                <a:lnTo>
                  <a:pt x="873" y="179"/>
                </a:lnTo>
                <a:lnTo>
                  <a:pt x="853" y="163"/>
                </a:lnTo>
                <a:lnTo>
                  <a:pt x="833" y="149"/>
                </a:lnTo>
                <a:lnTo>
                  <a:pt x="812" y="135"/>
                </a:lnTo>
                <a:lnTo>
                  <a:pt x="791" y="122"/>
                </a:lnTo>
                <a:lnTo>
                  <a:pt x="769" y="110"/>
                </a:lnTo>
                <a:lnTo>
                  <a:pt x="746" y="99"/>
                </a:lnTo>
                <a:lnTo>
                  <a:pt x="723" y="90"/>
                </a:lnTo>
                <a:lnTo>
                  <a:pt x="699" y="81"/>
                </a:lnTo>
                <a:lnTo>
                  <a:pt x="675" y="73"/>
                </a:lnTo>
                <a:lnTo>
                  <a:pt x="650" y="67"/>
                </a:lnTo>
                <a:lnTo>
                  <a:pt x="625" y="61"/>
                </a:lnTo>
                <a:lnTo>
                  <a:pt x="599" y="57"/>
                </a:lnTo>
                <a:lnTo>
                  <a:pt x="574" y="55"/>
                </a:lnTo>
                <a:lnTo>
                  <a:pt x="547" y="53"/>
                </a:lnTo>
                <a:close/>
              </a:path>
            </a:pathLst>
          </a:custGeom>
          <a:solidFill>
            <a:schemeClr val="tx1">
              <a:lumMod val="75000"/>
              <a:lumOff val="25000"/>
            </a:schemeClr>
          </a:solidFill>
          <a:ln>
            <a:noFill/>
          </a:ln>
        </p:spPr>
        <p:txBody>
          <a:bodyPr vert="horz" wrap="square" lIns="68580" tIns="34290" rIns="68580" bIns="34290" numCol="1" anchor="t" anchorCtr="0" compatLnSpc="1"/>
          <a:lstStyle/>
          <a:p>
            <a:endParaRPr lang="en-US" sz="1015"/>
          </a:p>
        </p:txBody>
      </p:sp>
      <p:grpSp>
        <p:nvGrpSpPr>
          <p:cNvPr id="66" name="Group 65"/>
          <p:cNvGrpSpPr/>
          <p:nvPr/>
        </p:nvGrpSpPr>
        <p:grpSpPr>
          <a:xfrm>
            <a:off x="2438532" y="2873663"/>
            <a:ext cx="209550" cy="304800"/>
            <a:chOff x="1038225" y="5818188"/>
            <a:chExt cx="279400" cy="406400"/>
          </a:xfrm>
          <a:solidFill>
            <a:schemeClr val="tx1">
              <a:lumMod val="75000"/>
              <a:lumOff val="25000"/>
            </a:schemeClr>
          </a:solidFill>
        </p:grpSpPr>
        <p:sp>
          <p:nvSpPr>
            <p:cNvPr id="67" name="Freeform 169"/>
            <p:cNvSpPr/>
            <p:nvPr/>
          </p:nvSpPr>
          <p:spPr bwMode="auto">
            <a:xfrm>
              <a:off x="1038225" y="5818188"/>
              <a:ext cx="279400" cy="334963"/>
            </a:xfrm>
            <a:custGeom>
              <a:avLst/>
              <a:gdLst>
                <a:gd name="T0" fmla="*/ 145 w 705"/>
                <a:gd name="T1" fmla="*/ 637 h 846"/>
                <a:gd name="T2" fmla="*/ 156 w 705"/>
                <a:gd name="T3" fmla="*/ 647 h 846"/>
                <a:gd name="T4" fmla="*/ 188 w 705"/>
                <a:gd name="T5" fmla="*/ 690 h 846"/>
                <a:gd name="T6" fmla="*/ 202 w 705"/>
                <a:gd name="T7" fmla="*/ 718 h 846"/>
                <a:gd name="T8" fmla="*/ 210 w 705"/>
                <a:gd name="T9" fmla="*/ 752 h 846"/>
                <a:gd name="T10" fmla="*/ 212 w 705"/>
                <a:gd name="T11" fmla="*/ 846 h 846"/>
                <a:gd name="T12" fmla="*/ 324 w 705"/>
                <a:gd name="T13" fmla="*/ 416 h 846"/>
                <a:gd name="T14" fmla="*/ 297 w 705"/>
                <a:gd name="T15" fmla="*/ 395 h 846"/>
                <a:gd name="T16" fmla="*/ 283 w 705"/>
                <a:gd name="T17" fmla="*/ 364 h 846"/>
                <a:gd name="T18" fmla="*/ 283 w 705"/>
                <a:gd name="T19" fmla="*/ 338 h 846"/>
                <a:gd name="T20" fmla="*/ 291 w 705"/>
                <a:gd name="T21" fmla="*/ 319 h 846"/>
                <a:gd name="T22" fmla="*/ 303 w 705"/>
                <a:gd name="T23" fmla="*/ 302 h 846"/>
                <a:gd name="T24" fmla="*/ 319 w 705"/>
                <a:gd name="T25" fmla="*/ 289 h 846"/>
                <a:gd name="T26" fmla="*/ 338 w 705"/>
                <a:gd name="T27" fmla="*/ 283 h 846"/>
                <a:gd name="T28" fmla="*/ 360 w 705"/>
                <a:gd name="T29" fmla="*/ 282 h 846"/>
                <a:gd name="T30" fmla="*/ 380 w 705"/>
                <a:gd name="T31" fmla="*/ 287 h 846"/>
                <a:gd name="T32" fmla="*/ 398 w 705"/>
                <a:gd name="T33" fmla="*/ 297 h 846"/>
                <a:gd name="T34" fmla="*/ 411 w 705"/>
                <a:gd name="T35" fmla="*/ 312 h 846"/>
                <a:gd name="T36" fmla="*/ 420 w 705"/>
                <a:gd name="T37" fmla="*/ 330 h 846"/>
                <a:gd name="T38" fmla="*/ 424 w 705"/>
                <a:gd name="T39" fmla="*/ 352 h 846"/>
                <a:gd name="T40" fmla="*/ 415 w 705"/>
                <a:gd name="T41" fmla="*/ 385 h 846"/>
                <a:gd name="T42" fmla="*/ 391 w 705"/>
                <a:gd name="T43" fmla="*/ 410 h 846"/>
                <a:gd name="T44" fmla="*/ 371 w 705"/>
                <a:gd name="T45" fmla="*/ 846 h 846"/>
                <a:gd name="T46" fmla="*/ 494 w 705"/>
                <a:gd name="T47" fmla="*/ 762 h 846"/>
                <a:gd name="T48" fmla="*/ 500 w 705"/>
                <a:gd name="T49" fmla="*/ 727 h 846"/>
                <a:gd name="T50" fmla="*/ 513 w 705"/>
                <a:gd name="T51" fmla="*/ 695 h 846"/>
                <a:gd name="T52" fmla="*/ 540 w 705"/>
                <a:gd name="T53" fmla="*/ 654 h 846"/>
                <a:gd name="T54" fmla="*/ 564 w 705"/>
                <a:gd name="T55" fmla="*/ 634 h 846"/>
                <a:gd name="T56" fmla="*/ 609 w 705"/>
                <a:gd name="T57" fmla="*/ 594 h 846"/>
                <a:gd name="T58" fmla="*/ 646 w 705"/>
                <a:gd name="T59" fmla="*/ 547 h 846"/>
                <a:gd name="T60" fmla="*/ 675 w 705"/>
                <a:gd name="T61" fmla="*/ 495 h 846"/>
                <a:gd name="T62" fmla="*/ 696 w 705"/>
                <a:gd name="T63" fmla="*/ 436 h 846"/>
                <a:gd name="T64" fmla="*/ 704 w 705"/>
                <a:gd name="T65" fmla="*/ 374 h 846"/>
                <a:gd name="T66" fmla="*/ 703 w 705"/>
                <a:gd name="T67" fmla="*/ 316 h 846"/>
                <a:gd name="T68" fmla="*/ 695 w 705"/>
                <a:gd name="T69" fmla="*/ 265 h 846"/>
                <a:gd name="T70" fmla="*/ 677 w 705"/>
                <a:gd name="T71" fmla="*/ 215 h 846"/>
                <a:gd name="T72" fmla="*/ 655 w 705"/>
                <a:gd name="T73" fmla="*/ 169 h 846"/>
                <a:gd name="T74" fmla="*/ 624 w 705"/>
                <a:gd name="T75" fmla="*/ 128 h 846"/>
                <a:gd name="T76" fmla="*/ 590 w 705"/>
                <a:gd name="T77" fmla="*/ 92 h 846"/>
                <a:gd name="T78" fmla="*/ 550 w 705"/>
                <a:gd name="T79" fmla="*/ 60 h 846"/>
                <a:gd name="T80" fmla="*/ 506 w 705"/>
                <a:gd name="T81" fmla="*/ 34 h 846"/>
                <a:gd name="T82" fmla="*/ 457 w 705"/>
                <a:gd name="T83" fmla="*/ 15 h 846"/>
                <a:gd name="T84" fmla="*/ 406 w 705"/>
                <a:gd name="T85" fmla="*/ 3 h 846"/>
                <a:gd name="T86" fmla="*/ 352 w 705"/>
                <a:gd name="T87" fmla="*/ 0 h 846"/>
                <a:gd name="T88" fmla="*/ 299 w 705"/>
                <a:gd name="T89" fmla="*/ 3 h 846"/>
                <a:gd name="T90" fmla="*/ 247 w 705"/>
                <a:gd name="T91" fmla="*/ 15 h 846"/>
                <a:gd name="T92" fmla="*/ 200 w 705"/>
                <a:gd name="T93" fmla="*/ 34 h 846"/>
                <a:gd name="T94" fmla="*/ 156 w 705"/>
                <a:gd name="T95" fmla="*/ 60 h 846"/>
                <a:gd name="T96" fmla="*/ 116 w 705"/>
                <a:gd name="T97" fmla="*/ 92 h 846"/>
                <a:gd name="T98" fmla="*/ 80 w 705"/>
                <a:gd name="T99" fmla="*/ 128 h 846"/>
                <a:gd name="T100" fmla="*/ 51 w 705"/>
                <a:gd name="T101" fmla="*/ 169 h 846"/>
                <a:gd name="T102" fmla="*/ 27 w 705"/>
                <a:gd name="T103" fmla="*/ 215 h 846"/>
                <a:gd name="T104" fmla="*/ 11 w 705"/>
                <a:gd name="T105" fmla="*/ 265 h 846"/>
                <a:gd name="T106" fmla="*/ 1 w 705"/>
                <a:gd name="T107" fmla="*/ 316 h 846"/>
                <a:gd name="T108" fmla="*/ 0 w 705"/>
                <a:gd name="T109" fmla="*/ 374 h 846"/>
                <a:gd name="T110" fmla="*/ 10 w 705"/>
                <a:gd name="T111" fmla="*/ 435 h 846"/>
                <a:gd name="T112" fmla="*/ 29 w 705"/>
                <a:gd name="T113" fmla="*/ 493 h 846"/>
                <a:gd name="T114" fmla="*/ 58 w 705"/>
                <a:gd name="T115" fmla="*/ 546 h 846"/>
                <a:gd name="T116" fmla="*/ 95 w 705"/>
                <a:gd name="T117" fmla="*/ 593 h 846"/>
                <a:gd name="T118" fmla="*/ 139 w 705"/>
                <a:gd name="T119" fmla="*/ 633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5" h="846">
                  <a:moveTo>
                    <a:pt x="139" y="633"/>
                  </a:moveTo>
                  <a:lnTo>
                    <a:pt x="142" y="635"/>
                  </a:lnTo>
                  <a:lnTo>
                    <a:pt x="145" y="637"/>
                  </a:lnTo>
                  <a:lnTo>
                    <a:pt x="145" y="637"/>
                  </a:lnTo>
                  <a:lnTo>
                    <a:pt x="145" y="637"/>
                  </a:lnTo>
                  <a:lnTo>
                    <a:pt x="156" y="647"/>
                  </a:lnTo>
                  <a:lnTo>
                    <a:pt x="166" y="659"/>
                  </a:lnTo>
                  <a:lnTo>
                    <a:pt x="178" y="673"/>
                  </a:lnTo>
                  <a:lnTo>
                    <a:pt x="188" y="690"/>
                  </a:lnTo>
                  <a:lnTo>
                    <a:pt x="193" y="699"/>
                  </a:lnTo>
                  <a:lnTo>
                    <a:pt x="198" y="708"/>
                  </a:lnTo>
                  <a:lnTo>
                    <a:pt x="202" y="718"/>
                  </a:lnTo>
                  <a:lnTo>
                    <a:pt x="205" y="729"/>
                  </a:lnTo>
                  <a:lnTo>
                    <a:pt x="207" y="740"/>
                  </a:lnTo>
                  <a:lnTo>
                    <a:pt x="210" y="752"/>
                  </a:lnTo>
                  <a:lnTo>
                    <a:pt x="211" y="763"/>
                  </a:lnTo>
                  <a:lnTo>
                    <a:pt x="212" y="775"/>
                  </a:lnTo>
                  <a:lnTo>
                    <a:pt x="212" y="846"/>
                  </a:lnTo>
                  <a:lnTo>
                    <a:pt x="335" y="846"/>
                  </a:lnTo>
                  <a:lnTo>
                    <a:pt x="335" y="420"/>
                  </a:lnTo>
                  <a:lnTo>
                    <a:pt x="324" y="416"/>
                  </a:lnTo>
                  <a:lnTo>
                    <a:pt x="313" y="410"/>
                  </a:lnTo>
                  <a:lnTo>
                    <a:pt x="305" y="404"/>
                  </a:lnTo>
                  <a:lnTo>
                    <a:pt x="297" y="395"/>
                  </a:lnTo>
                  <a:lnTo>
                    <a:pt x="291" y="385"/>
                  </a:lnTo>
                  <a:lnTo>
                    <a:pt x="286" y="375"/>
                  </a:lnTo>
                  <a:lnTo>
                    <a:pt x="283" y="364"/>
                  </a:lnTo>
                  <a:lnTo>
                    <a:pt x="282" y="352"/>
                  </a:lnTo>
                  <a:lnTo>
                    <a:pt x="282" y="344"/>
                  </a:lnTo>
                  <a:lnTo>
                    <a:pt x="283" y="338"/>
                  </a:lnTo>
                  <a:lnTo>
                    <a:pt x="285" y="330"/>
                  </a:lnTo>
                  <a:lnTo>
                    <a:pt x="287" y="324"/>
                  </a:lnTo>
                  <a:lnTo>
                    <a:pt x="291" y="319"/>
                  </a:lnTo>
                  <a:lnTo>
                    <a:pt x="294" y="312"/>
                  </a:lnTo>
                  <a:lnTo>
                    <a:pt x="298" y="307"/>
                  </a:lnTo>
                  <a:lnTo>
                    <a:pt x="303" y="302"/>
                  </a:lnTo>
                  <a:lnTo>
                    <a:pt x="308" y="297"/>
                  </a:lnTo>
                  <a:lnTo>
                    <a:pt x="313" y="294"/>
                  </a:lnTo>
                  <a:lnTo>
                    <a:pt x="319" y="289"/>
                  </a:lnTo>
                  <a:lnTo>
                    <a:pt x="325" y="287"/>
                  </a:lnTo>
                  <a:lnTo>
                    <a:pt x="332" y="284"/>
                  </a:lnTo>
                  <a:lnTo>
                    <a:pt x="338" y="283"/>
                  </a:lnTo>
                  <a:lnTo>
                    <a:pt x="346" y="282"/>
                  </a:lnTo>
                  <a:lnTo>
                    <a:pt x="352" y="281"/>
                  </a:lnTo>
                  <a:lnTo>
                    <a:pt x="360" y="282"/>
                  </a:lnTo>
                  <a:lnTo>
                    <a:pt x="366" y="283"/>
                  </a:lnTo>
                  <a:lnTo>
                    <a:pt x="374" y="284"/>
                  </a:lnTo>
                  <a:lnTo>
                    <a:pt x="380" y="287"/>
                  </a:lnTo>
                  <a:lnTo>
                    <a:pt x="386" y="289"/>
                  </a:lnTo>
                  <a:lnTo>
                    <a:pt x="392" y="294"/>
                  </a:lnTo>
                  <a:lnTo>
                    <a:pt x="398" y="297"/>
                  </a:lnTo>
                  <a:lnTo>
                    <a:pt x="403" y="302"/>
                  </a:lnTo>
                  <a:lnTo>
                    <a:pt x="407" y="307"/>
                  </a:lnTo>
                  <a:lnTo>
                    <a:pt x="411" y="312"/>
                  </a:lnTo>
                  <a:lnTo>
                    <a:pt x="415" y="319"/>
                  </a:lnTo>
                  <a:lnTo>
                    <a:pt x="417" y="324"/>
                  </a:lnTo>
                  <a:lnTo>
                    <a:pt x="420" y="330"/>
                  </a:lnTo>
                  <a:lnTo>
                    <a:pt x="421" y="338"/>
                  </a:lnTo>
                  <a:lnTo>
                    <a:pt x="422" y="344"/>
                  </a:lnTo>
                  <a:lnTo>
                    <a:pt x="424" y="352"/>
                  </a:lnTo>
                  <a:lnTo>
                    <a:pt x="422" y="364"/>
                  </a:lnTo>
                  <a:lnTo>
                    <a:pt x="419" y="375"/>
                  </a:lnTo>
                  <a:lnTo>
                    <a:pt x="415" y="385"/>
                  </a:lnTo>
                  <a:lnTo>
                    <a:pt x="408" y="395"/>
                  </a:lnTo>
                  <a:lnTo>
                    <a:pt x="400" y="404"/>
                  </a:lnTo>
                  <a:lnTo>
                    <a:pt x="391" y="410"/>
                  </a:lnTo>
                  <a:lnTo>
                    <a:pt x="381" y="416"/>
                  </a:lnTo>
                  <a:lnTo>
                    <a:pt x="371" y="420"/>
                  </a:lnTo>
                  <a:lnTo>
                    <a:pt x="371" y="846"/>
                  </a:lnTo>
                  <a:lnTo>
                    <a:pt x="494" y="846"/>
                  </a:lnTo>
                  <a:lnTo>
                    <a:pt x="494" y="775"/>
                  </a:lnTo>
                  <a:lnTo>
                    <a:pt x="494" y="762"/>
                  </a:lnTo>
                  <a:lnTo>
                    <a:pt x="496" y="751"/>
                  </a:lnTo>
                  <a:lnTo>
                    <a:pt x="498" y="738"/>
                  </a:lnTo>
                  <a:lnTo>
                    <a:pt x="500" y="727"/>
                  </a:lnTo>
                  <a:lnTo>
                    <a:pt x="505" y="716"/>
                  </a:lnTo>
                  <a:lnTo>
                    <a:pt x="508" y="705"/>
                  </a:lnTo>
                  <a:lnTo>
                    <a:pt x="513" y="695"/>
                  </a:lnTo>
                  <a:lnTo>
                    <a:pt x="517" y="686"/>
                  </a:lnTo>
                  <a:lnTo>
                    <a:pt x="528" y="670"/>
                  </a:lnTo>
                  <a:lnTo>
                    <a:pt x="540" y="654"/>
                  </a:lnTo>
                  <a:lnTo>
                    <a:pt x="553" y="644"/>
                  </a:lnTo>
                  <a:lnTo>
                    <a:pt x="564" y="634"/>
                  </a:lnTo>
                  <a:lnTo>
                    <a:pt x="564" y="634"/>
                  </a:lnTo>
                  <a:lnTo>
                    <a:pt x="580" y="622"/>
                  </a:lnTo>
                  <a:lnTo>
                    <a:pt x="595" y="608"/>
                  </a:lnTo>
                  <a:lnTo>
                    <a:pt x="609" y="594"/>
                  </a:lnTo>
                  <a:lnTo>
                    <a:pt x="622" y="579"/>
                  </a:lnTo>
                  <a:lnTo>
                    <a:pt x="635" y="564"/>
                  </a:lnTo>
                  <a:lnTo>
                    <a:pt x="646" y="547"/>
                  </a:lnTo>
                  <a:lnTo>
                    <a:pt x="657" y="530"/>
                  </a:lnTo>
                  <a:lnTo>
                    <a:pt x="667" y="512"/>
                  </a:lnTo>
                  <a:lnTo>
                    <a:pt x="675" y="495"/>
                  </a:lnTo>
                  <a:lnTo>
                    <a:pt x="683" y="475"/>
                  </a:lnTo>
                  <a:lnTo>
                    <a:pt x="690" y="456"/>
                  </a:lnTo>
                  <a:lnTo>
                    <a:pt x="696" y="436"/>
                  </a:lnTo>
                  <a:lnTo>
                    <a:pt x="700" y="416"/>
                  </a:lnTo>
                  <a:lnTo>
                    <a:pt x="703" y="395"/>
                  </a:lnTo>
                  <a:lnTo>
                    <a:pt x="704" y="374"/>
                  </a:lnTo>
                  <a:lnTo>
                    <a:pt x="705" y="352"/>
                  </a:lnTo>
                  <a:lnTo>
                    <a:pt x="704" y="334"/>
                  </a:lnTo>
                  <a:lnTo>
                    <a:pt x="703" y="316"/>
                  </a:lnTo>
                  <a:lnTo>
                    <a:pt x="701" y="299"/>
                  </a:lnTo>
                  <a:lnTo>
                    <a:pt x="698" y="281"/>
                  </a:lnTo>
                  <a:lnTo>
                    <a:pt x="695" y="265"/>
                  </a:lnTo>
                  <a:lnTo>
                    <a:pt x="689" y="247"/>
                  </a:lnTo>
                  <a:lnTo>
                    <a:pt x="684" y="231"/>
                  </a:lnTo>
                  <a:lnTo>
                    <a:pt x="677" y="215"/>
                  </a:lnTo>
                  <a:lnTo>
                    <a:pt x="671" y="200"/>
                  </a:lnTo>
                  <a:lnTo>
                    <a:pt x="662" y="185"/>
                  </a:lnTo>
                  <a:lnTo>
                    <a:pt x="655" y="169"/>
                  </a:lnTo>
                  <a:lnTo>
                    <a:pt x="645" y="155"/>
                  </a:lnTo>
                  <a:lnTo>
                    <a:pt x="635" y="141"/>
                  </a:lnTo>
                  <a:lnTo>
                    <a:pt x="624" y="128"/>
                  </a:lnTo>
                  <a:lnTo>
                    <a:pt x="614" y="115"/>
                  </a:lnTo>
                  <a:lnTo>
                    <a:pt x="602" y="103"/>
                  </a:lnTo>
                  <a:lnTo>
                    <a:pt x="590" y="92"/>
                  </a:lnTo>
                  <a:lnTo>
                    <a:pt x="577" y="80"/>
                  </a:lnTo>
                  <a:lnTo>
                    <a:pt x="564" y="70"/>
                  </a:lnTo>
                  <a:lnTo>
                    <a:pt x="550" y="60"/>
                  </a:lnTo>
                  <a:lnTo>
                    <a:pt x="536" y="51"/>
                  </a:lnTo>
                  <a:lnTo>
                    <a:pt x="521" y="42"/>
                  </a:lnTo>
                  <a:lnTo>
                    <a:pt x="506" y="34"/>
                  </a:lnTo>
                  <a:lnTo>
                    <a:pt x="489" y="27"/>
                  </a:lnTo>
                  <a:lnTo>
                    <a:pt x="474" y="22"/>
                  </a:lnTo>
                  <a:lnTo>
                    <a:pt x="457" y="15"/>
                  </a:lnTo>
                  <a:lnTo>
                    <a:pt x="441" y="11"/>
                  </a:lnTo>
                  <a:lnTo>
                    <a:pt x="424" y="6"/>
                  </a:lnTo>
                  <a:lnTo>
                    <a:pt x="406" y="3"/>
                  </a:lnTo>
                  <a:lnTo>
                    <a:pt x="389" y="1"/>
                  </a:lnTo>
                  <a:lnTo>
                    <a:pt x="371" y="0"/>
                  </a:lnTo>
                  <a:lnTo>
                    <a:pt x="352" y="0"/>
                  </a:lnTo>
                  <a:lnTo>
                    <a:pt x="335" y="0"/>
                  </a:lnTo>
                  <a:lnTo>
                    <a:pt x="317" y="1"/>
                  </a:lnTo>
                  <a:lnTo>
                    <a:pt x="299" y="3"/>
                  </a:lnTo>
                  <a:lnTo>
                    <a:pt x="282" y="6"/>
                  </a:lnTo>
                  <a:lnTo>
                    <a:pt x="265" y="11"/>
                  </a:lnTo>
                  <a:lnTo>
                    <a:pt x="247" y="15"/>
                  </a:lnTo>
                  <a:lnTo>
                    <a:pt x="231" y="22"/>
                  </a:lnTo>
                  <a:lnTo>
                    <a:pt x="215" y="27"/>
                  </a:lnTo>
                  <a:lnTo>
                    <a:pt x="200" y="34"/>
                  </a:lnTo>
                  <a:lnTo>
                    <a:pt x="185" y="42"/>
                  </a:lnTo>
                  <a:lnTo>
                    <a:pt x="170" y="51"/>
                  </a:lnTo>
                  <a:lnTo>
                    <a:pt x="156" y="60"/>
                  </a:lnTo>
                  <a:lnTo>
                    <a:pt x="142" y="70"/>
                  </a:lnTo>
                  <a:lnTo>
                    <a:pt x="129" y="80"/>
                  </a:lnTo>
                  <a:lnTo>
                    <a:pt x="116" y="92"/>
                  </a:lnTo>
                  <a:lnTo>
                    <a:pt x="103" y="103"/>
                  </a:lnTo>
                  <a:lnTo>
                    <a:pt x="92" y="115"/>
                  </a:lnTo>
                  <a:lnTo>
                    <a:pt x="80" y="128"/>
                  </a:lnTo>
                  <a:lnTo>
                    <a:pt x="70" y="141"/>
                  </a:lnTo>
                  <a:lnTo>
                    <a:pt x="61" y="155"/>
                  </a:lnTo>
                  <a:lnTo>
                    <a:pt x="51" y="169"/>
                  </a:lnTo>
                  <a:lnTo>
                    <a:pt x="42" y="185"/>
                  </a:lnTo>
                  <a:lnTo>
                    <a:pt x="35" y="200"/>
                  </a:lnTo>
                  <a:lnTo>
                    <a:pt x="27" y="215"/>
                  </a:lnTo>
                  <a:lnTo>
                    <a:pt x="22" y="231"/>
                  </a:lnTo>
                  <a:lnTo>
                    <a:pt x="15" y="247"/>
                  </a:lnTo>
                  <a:lnTo>
                    <a:pt x="11" y="265"/>
                  </a:lnTo>
                  <a:lnTo>
                    <a:pt x="7" y="281"/>
                  </a:lnTo>
                  <a:lnTo>
                    <a:pt x="4" y="299"/>
                  </a:lnTo>
                  <a:lnTo>
                    <a:pt x="1" y="316"/>
                  </a:lnTo>
                  <a:lnTo>
                    <a:pt x="0" y="334"/>
                  </a:lnTo>
                  <a:lnTo>
                    <a:pt x="0" y="352"/>
                  </a:lnTo>
                  <a:lnTo>
                    <a:pt x="0" y="374"/>
                  </a:lnTo>
                  <a:lnTo>
                    <a:pt x="2" y="395"/>
                  </a:lnTo>
                  <a:lnTo>
                    <a:pt x="6" y="416"/>
                  </a:lnTo>
                  <a:lnTo>
                    <a:pt x="10" y="435"/>
                  </a:lnTo>
                  <a:lnTo>
                    <a:pt x="15" y="456"/>
                  </a:lnTo>
                  <a:lnTo>
                    <a:pt x="22" y="475"/>
                  </a:lnTo>
                  <a:lnTo>
                    <a:pt x="29" y="493"/>
                  </a:lnTo>
                  <a:lnTo>
                    <a:pt x="38" y="512"/>
                  </a:lnTo>
                  <a:lnTo>
                    <a:pt x="48" y="529"/>
                  </a:lnTo>
                  <a:lnTo>
                    <a:pt x="58" y="546"/>
                  </a:lnTo>
                  <a:lnTo>
                    <a:pt x="69" y="563"/>
                  </a:lnTo>
                  <a:lnTo>
                    <a:pt x="82" y="578"/>
                  </a:lnTo>
                  <a:lnTo>
                    <a:pt x="95" y="593"/>
                  </a:lnTo>
                  <a:lnTo>
                    <a:pt x="109" y="607"/>
                  </a:lnTo>
                  <a:lnTo>
                    <a:pt x="124" y="621"/>
                  </a:lnTo>
                  <a:lnTo>
                    <a:pt x="139" y="633"/>
                  </a:lnTo>
                  <a:lnTo>
                    <a:pt x="139" y="63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68" name="Rectangle 170"/>
            <p:cNvSpPr>
              <a:spLocks noChangeArrowheads="1"/>
            </p:cNvSpPr>
            <p:nvPr/>
          </p:nvSpPr>
          <p:spPr bwMode="auto">
            <a:xfrm>
              <a:off x="1122362" y="6167438"/>
              <a:ext cx="1111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en-US" sz="1015"/>
            </a:p>
          </p:txBody>
        </p:sp>
      </p:grpSp>
      <p:grpSp>
        <p:nvGrpSpPr>
          <p:cNvPr id="69" name="Group 68"/>
          <p:cNvGrpSpPr/>
          <p:nvPr/>
        </p:nvGrpSpPr>
        <p:grpSpPr>
          <a:xfrm>
            <a:off x="5843284" y="2873663"/>
            <a:ext cx="270272" cy="210741"/>
            <a:chOff x="2752952" y="4675188"/>
            <a:chExt cx="360363" cy="280988"/>
          </a:xfrm>
          <a:solidFill>
            <a:schemeClr val="tx1">
              <a:lumMod val="75000"/>
              <a:lumOff val="25000"/>
            </a:schemeClr>
          </a:solidFill>
        </p:grpSpPr>
        <p:sp>
          <p:nvSpPr>
            <p:cNvPr id="70" name="Freeform 107"/>
            <p:cNvSpPr/>
            <p:nvPr/>
          </p:nvSpPr>
          <p:spPr bwMode="auto">
            <a:xfrm>
              <a:off x="2752952" y="4675188"/>
              <a:ext cx="254000" cy="280988"/>
            </a:xfrm>
            <a:custGeom>
              <a:avLst/>
              <a:gdLst>
                <a:gd name="T0" fmla="*/ 442 w 641"/>
                <a:gd name="T1" fmla="*/ 483 h 708"/>
                <a:gd name="T2" fmla="*/ 418 w 641"/>
                <a:gd name="T3" fmla="*/ 468 h 708"/>
                <a:gd name="T4" fmla="*/ 422 w 641"/>
                <a:gd name="T5" fmla="*/ 434 h 708"/>
                <a:gd name="T6" fmla="*/ 437 w 641"/>
                <a:gd name="T7" fmla="*/ 397 h 708"/>
                <a:gd name="T8" fmla="*/ 445 w 641"/>
                <a:gd name="T9" fmla="*/ 367 h 708"/>
                <a:gd name="T10" fmla="*/ 454 w 641"/>
                <a:gd name="T11" fmla="*/ 344 h 708"/>
                <a:gd name="T12" fmla="*/ 466 w 641"/>
                <a:gd name="T13" fmla="*/ 320 h 708"/>
                <a:gd name="T14" fmla="*/ 471 w 641"/>
                <a:gd name="T15" fmla="*/ 305 h 708"/>
                <a:gd name="T16" fmla="*/ 477 w 641"/>
                <a:gd name="T17" fmla="*/ 276 h 708"/>
                <a:gd name="T18" fmla="*/ 479 w 641"/>
                <a:gd name="T19" fmla="*/ 262 h 708"/>
                <a:gd name="T20" fmla="*/ 479 w 641"/>
                <a:gd name="T21" fmla="*/ 249 h 708"/>
                <a:gd name="T22" fmla="*/ 477 w 641"/>
                <a:gd name="T23" fmla="*/ 240 h 708"/>
                <a:gd name="T24" fmla="*/ 475 w 641"/>
                <a:gd name="T25" fmla="*/ 233 h 708"/>
                <a:gd name="T26" fmla="*/ 474 w 641"/>
                <a:gd name="T27" fmla="*/ 227 h 708"/>
                <a:gd name="T28" fmla="*/ 476 w 641"/>
                <a:gd name="T29" fmla="*/ 178 h 708"/>
                <a:gd name="T30" fmla="*/ 478 w 641"/>
                <a:gd name="T31" fmla="*/ 159 h 708"/>
                <a:gd name="T32" fmla="*/ 479 w 641"/>
                <a:gd name="T33" fmla="*/ 121 h 708"/>
                <a:gd name="T34" fmla="*/ 450 w 641"/>
                <a:gd name="T35" fmla="*/ 54 h 708"/>
                <a:gd name="T36" fmla="*/ 433 w 641"/>
                <a:gd name="T37" fmla="*/ 35 h 708"/>
                <a:gd name="T38" fmla="*/ 410 w 641"/>
                <a:gd name="T39" fmla="*/ 19 h 708"/>
                <a:gd name="T40" fmla="*/ 380 w 641"/>
                <a:gd name="T41" fmla="*/ 7 h 708"/>
                <a:gd name="T42" fmla="*/ 347 w 641"/>
                <a:gd name="T43" fmla="*/ 0 h 708"/>
                <a:gd name="T44" fmla="*/ 286 w 641"/>
                <a:gd name="T45" fmla="*/ 1 h 708"/>
                <a:gd name="T46" fmla="*/ 252 w 641"/>
                <a:gd name="T47" fmla="*/ 9 h 708"/>
                <a:gd name="T48" fmla="*/ 225 w 641"/>
                <a:gd name="T49" fmla="*/ 21 h 708"/>
                <a:gd name="T50" fmla="*/ 206 w 641"/>
                <a:gd name="T51" fmla="*/ 36 h 708"/>
                <a:gd name="T52" fmla="*/ 180 w 641"/>
                <a:gd name="T53" fmla="*/ 68 h 708"/>
                <a:gd name="T54" fmla="*/ 160 w 641"/>
                <a:gd name="T55" fmla="*/ 154 h 708"/>
                <a:gd name="T56" fmla="*/ 166 w 641"/>
                <a:gd name="T57" fmla="*/ 197 h 708"/>
                <a:gd name="T58" fmla="*/ 167 w 641"/>
                <a:gd name="T59" fmla="*/ 214 h 708"/>
                <a:gd name="T60" fmla="*/ 167 w 641"/>
                <a:gd name="T61" fmla="*/ 226 h 708"/>
                <a:gd name="T62" fmla="*/ 160 w 641"/>
                <a:gd name="T63" fmla="*/ 253 h 708"/>
                <a:gd name="T64" fmla="*/ 161 w 641"/>
                <a:gd name="T65" fmla="*/ 265 h 708"/>
                <a:gd name="T66" fmla="*/ 165 w 641"/>
                <a:gd name="T67" fmla="*/ 286 h 708"/>
                <a:gd name="T68" fmla="*/ 194 w 641"/>
                <a:gd name="T69" fmla="*/ 365 h 708"/>
                <a:gd name="T70" fmla="*/ 203 w 641"/>
                <a:gd name="T71" fmla="*/ 399 h 708"/>
                <a:gd name="T72" fmla="*/ 213 w 641"/>
                <a:gd name="T73" fmla="*/ 426 h 708"/>
                <a:gd name="T74" fmla="*/ 216 w 641"/>
                <a:gd name="T75" fmla="*/ 457 h 708"/>
                <a:gd name="T76" fmla="*/ 212 w 641"/>
                <a:gd name="T77" fmla="*/ 478 h 708"/>
                <a:gd name="T78" fmla="*/ 129 w 641"/>
                <a:gd name="T79" fmla="*/ 505 h 708"/>
                <a:gd name="T80" fmla="*/ 111 w 641"/>
                <a:gd name="T81" fmla="*/ 511 h 708"/>
                <a:gd name="T82" fmla="*/ 89 w 641"/>
                <a:gd name="T83" fmla="*/ 520 h 708"/>
                <a:gd name="T84" fmla="*/ 40 w 641"/>
                <a:gd name="T85" fmla="*/ 538 h 708"/>
                <a:gd name="T86" fmla="*/ 18 w 641"/>
                <a:gd name="T87" fmla="*/ 550 h 708"/>
                <a:gd name="T88" fmla="*/ 9 w 641"/>
                <a:gd name="T89" fmla="*/ 561 h 708"/>
                <a:gd name="T90" fmla="*/ 3 w 641"/>
                <a:gd name="T91" fmla="*/ 573 h 708"/>
                <a:gd name="T92" fmla="*/ 0 w 641"/>
                <a:gd name="T93" fmla="*/ 587 h 708"/>
                <a:gd name="T94" fmla="*/ 0 w 641"/>
                <a:gd name="T95" fmla="*/ 676 h 708"/>
                <a:gd name="T96" fmla="*/ 24 w 641"/>
                <a:gd name="T97" fmla="*/ 707 h 708"/>
                <a:gd name="T98" fmla="*/ 140 w 641"/>
                <a:gd name="T99" fmla="*/ 708 h 708"/>
                <a:gd name="T100" fmla="*/ 315 w 641"/>
                <a:gd name="T101" fmla="*/ 708 h 708"/>
                <a:gd name="T102" fmla="*/ 389 w 641"/>
                <a:gd name="T103" fmla="*/ 708 h 708"/>
                <a:gd name="T104" fmla="*/ 608 w 641"/>
                <a:gd name="T105" fmla="*/ 708 h 708"/>
                <a:gd name="T106" fmla="*/ 637 w 641"/>
                <a:gd name="T107" fmla="*/ 693 h 708"/>
                <a:gd name="T108" fmla="*/ 639 w 641"/>
                <a:gd name="T109" fmla="*/ 57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41" h="708">
                  <a:moveTo>
                    <a:pt x="602" y="540"/>
                  </a:moveTo>
                  <a:lnTo>
                    <a:pt x="575" y="529"/>
                  </a:lnTo>
                  <a:lnTo>
                    <a:pt x="539" y="516"/>
                  </a:lnTo>
                  <a:lnTo>
                    <a:pt x="501" y="503"/>
                  </a:lnTo>
                  <a:lnTo>
                    <a:pt x="462" y="490"/>
                  </a:lnTo>
                  <a:lnTo>
                    <a:pt x="452" y="487"/>
                  </a:lnTo>
                  <a:lnTo>
                    <a:pt x="442" y="483"/>
                  </a:lnTo>
                  <a:lnTo>
                    <a:pt x="441" y="483"/>
                  </a:lnTo>
                  <a:lnTo>
                    <a:pt x="440" y="483"/>
                  </a:lnTo>
                  <a:lnTo>
                    <a:pt x="431" y="480"/>
                  </a:lnTo>
                  <a:lnTo>
                    <a:pt x="424" y="478"/>
                  </a:lnTo>
                  <a:lnTo>
                    <a:pt x="421" y="477"/>
                  </a:lnTo>
                  <a:lnTo>
                    <a:pt x="418" y="474"/>
                  </a:lnTo>
                  <a:lnTo>
                    <a:pt x="418" y="468"/>
                  </a:lnTo>
                  <a:lnTo>
                    <a:pt x="418" y="457"/>
                  </a:lnTo>
                  <a:lnTo>
                    <a:pt x="418" y="451"/>
                  </a:lnTo>
                  <a:lnTo>
                    <a:pt x="420" y="446"/>
                  </a:lnTo>
                  <a:lnTo>
                    <a:pt x="420" y="441"/>
                  </a:lnTo>
                  <a:lnTo>
                    <a:pt x="421" y="438"/>
                  </a:lnTo>
                  <a:lnTo>
                    <a:pt x="422" y="436"/>
                  </a:lnTo>
                  <a:lnTo>
                    <a:pt x="422" y="434"/>
                  </a:lnTo>
                  <a:lnTo>
                    <a:pt x="423" y="430"/>
                  </a:lnTo>
                  <a:lnTo>
                    <a:pt x="424" y="427"/>
                  </a:lnTo>
                  <a:lnTo>
                    <a:pt x="427" y="420"/>
                  </a:lnTo>
                  <a:lnTo>
                    <a:pt x="431" y="412"/>
                  </a:lnTo>
                  <a:lnTo>
                    <a:pt x="434" y="406"/>
                  </a:lnTo>
                  <a:lnTo>
                    <a:pt x="436" y="399"/>
                  </a:lnTo>
                  <a:lnTo>
                    <a:pt x="437" y="397"/>
                  </a:lnTo>
                  <a:lnTo>
                    <a:pt x="438" y="394"/>
                  </a:lnTo>
                  <a:lnTo>
                    <a:pt x="440" y="389"/>
                  </a:lnTo>
                  <a:lnTo>
                    <a:pt x="441" y="384"/>
                  </a:lnTo>
                  <a:lnTo>
                    <a:pt x="442" y="381"/>
                  </a:lnTo>
                  <a:lnTo>
                    <a:pt x="443" y="378"/>
                  </a:lnTo>
                  <a:lnTo>
                    <a:pt x="444" y="372"/>
                  </a:lnTo>
                  <a:lnTo>
                    <a:pt x="445" y="367"/>
                  </a:lnTo>
                  <a:lnTo>
                    <a:pt x="447" y="361"/>
                  </a:lnTo>
                  <a:lnTo>
                    <a:pt x="448" y="356"/>
                  </a:lnTo>
                  <a:lnTo>
                    <a:pt x="449" y="353"/>
                  </a:lnTo>
                  <a:lnTo>
                    <a:pt x="449" y="351"/>
                  </a:lnTo>
                  <a:lnTo>
                    <a:pt x="449" y="351"/>
                  </a:lnTo>
                  <a:lnTo>
                    <a:pt x="449" y="351"/>
                  </a:lnTo>
                  <a:lnTo>
                    <a:pt x="454" y="344"/>
                  </a:lnTo>
                  <a:lnTo>
                    <a:pt x="460" y="335"/>
                  </a:lnTo>
                  <a:lnTo>
                    <a:pt x="460" y="334"/>
                  </a:lnTo>
                  <a:lnTo>
                    <a:pt x="461" y="332"/>
                  </a:lnTo>
                  <a:lnTo>
                    <a:pt x="462" y="330"/>
                  </a:lnTo>
                  <a:lnTo>
                    <a:pt x="463" y="328"/>
                  </a:lnTo>
                  <a:lnTo>
                    <a:pt x="464" y="325"/>
                  </a:lnTo>
                  <a:lnTo>
                    <a:pt x="466" y="320"/>
                  </a:lnTo>
                  <a:lnTo>
                    <a:pt x="466" y="320"/>
                  </a:lnTo>
                  <a:lnTo>
                    <a:pt x="466" y="319"/>
                  </a:lnTo>
                  <a:lnTo>
                    <a:pt x="467" y="315"/>
                  </a:lnTo>
                  <a:lnTo>
                    <a:pt x="469" y="311"/>
                  </a:lnTo>
                  <a:lnTo>
                    <a:pt x="469" y="311"/>
                  </a:lnTo>
                  <a:lnTo>
                    <a:pt x="469" y="310"/>
                  </a:lnTo>
                  <a:lnTo>
                    <a:pt x="471" y="305"/>
                  </a:lnTo>
                  <a:lnTo>
                    <a:pt x="472" y="300"/>
                  </a:lnTo>
                  <a:lnTo>
                    <a:pt x="472" y="299"/>
                  </a:lnTo>
                  <a:lnTo>
                    <a:pt x="472" y="299"/>
                  </a:lnTo>
                  <a:lnTo>
                    <a:pt x="474" y="292"/>
                  </a:lnTo>
                  <a:lnTo>
                    <a:pt x="476" y="286"/>
                  </a:lnTo>
                  <a:lnTo>
                    <a:pt x="477" y="280"/>
                  </a:lnTo>
                  <a:lnTo>
                    <a:pt x="477" y="276"/>
                  </a:lnTo>
                  <a:lnTo>
                    <a:pt x="478" y="275"/>
                  </a:lnTo>
                  <a:lnTo>
                    <a:pt x="478" y="274"/>
                  </a:lnTo>
                  <a:lnTo>
                    <a:pt x="478" y="270"/>
                  </a:lnTo>
                  <a:lnTo>
                    <a:pt x="479" y="266"/>
                  </a:lnTo>
                  <a:lnTo>
                    <a:pt x="479" y="265"/>
                  </a:lnTo>
                  <a:lnTo>
                    <a:pt x="479" y="264"/>
                  </a:lnTo>
                  <a:lnTo>
                    <a:pt x="479" y="262"/>
                  </a:lnTo>
                  <a:lnTo>
                    <a:pt x="479" y="259"/>
                  </a:lnTo>
                  <a:lnTo>
                    <a:pt x="479" y="258"/>
                  </a:lnTo>
                  <a:lnTo>
                    <a:pt x="479" y="257"/>
                  </a:lnTo>
                  <a:lnTo>
                    <a:pt x="479" y="254"/>
                  </a:lnTo>
                  <a:lnTo>
                    <a:pt x="479" y="252"/>
                  </a:lnTo>
                  <a:lnTo>
                    <a:pt x="479" y="251"/>
                  </a:lnTo>
                  <a:lnTo>
                    <a:pt x="479" y="249"/>
                  </a:lnTo>
                  <a:lnTo>
                    <a:pt x="479" y="248"/>
                  </a:lnTo>
                  <a:lnTo>
                    <a:pt x="479" y="248"/>
                  </a:lnTo>
                  <a:lnTo>
                    <a:pt x="478" y="246"/>
                  </a:lnTo>
                  <a:lnTo>
                    <a:pt x="478" y="244"/>
                  </a:lnTo>
                  <a:lnTo>
                    <a:pt x="478" y="243"/>
                  </a:lnTo>
                  <a:lnTo>
                    <a:pt x="478" y="243"/>
                  </a:lnTo>
                  <a:lnTo>
                    <a:pt x="477" y="240"/>
                  </a:lnTo>
                  <a:lnTo>
                    <a:pt x="477" y="238"/>
                  </a:lnTo>
                  <a:lnTo>
                    <a:pt x="477" y="238"/>
                  </a:lnTo>
                  <a:lnTo>
                    <a:pt x="477" y="237"/>
                  </a:lnTo>
                  <a:lnTo>
                    <a:pt x="476" y="236"/>
                  </a:lnTo>
                  <a:lnTo>
                    <a:pt x="476" y="234"/>
                  </a:lnTo>
                  <a:lnTo>
                    <a:pt x="475" y="233"/>
                  </a:lnTo>
                  <a:lnTo>
                    <a:pt x="475" y="233"/>
                  </a:lnTo>
                  <a:lnTo>
                    <a:pt x="475" y="232"/>
                  </a:lnTo>
                  <a:lnTo>
                    <a:pt x="475" y="232"/>
                  </a:lnTo>
                  <a:lnTo>
                    <a:pt x="475" y="232"/>
                  </a:lnTo>
                  <a:lnTo>
                    <a:pt x="474" y="231"/>
                  </a:lnTo>
                  <a:lnTo>
                    <a:pt x="474" y="229"/>
                  </a:lnTo>
                  <a:lnTo>
                    <a:pt x="474" y="229"/>
                  </a:lnTo>
                  <a:lnTo>
                    <a:pt x="474" y="227"/>
                  </a:lnTo>
                  <a:lnTo>
                    <a:pt x="474" y="226"/>
                  </a:lnTo>
                  <a:lnTo>
                    <a:pt x="474" y="225"/>
                  </a:lnTo>
                  <a:lnTo>
                    <a:pt x="472" y="225"/>
                  </a:lnTo>
                  <a:lnTo>
                    <a:pt x="472" y="216"/>
                  </a:lnTo>
                  <a:lnTo>
                    <a:pt x="474" y="205"/>
                  </a:lnTo>
                  <a:lnTo>
                    <a:pt x="475" y="192"/>
                  </a:lnTo>
                  <a:lnTo>
                    <a:pt x="476" y="178"/>
                  </a:lnTo>
                  <a:lnTo>
                    <a:pt x="476" y="177"/>
                  </a:lnTo>
                  <a:lnTo>
                    <a:pt x="476" y="177"/>
                  </a:lnTo>
                  <a:lnTo>
                    <a:pt x="477" y="172"/>
                  </a:lnTo>
                  <a:lnTo>
                    <a:pt x="477" y="168"/>
                  </a:lnTo>
                  <a:lnTo>
                    <a:pt x="477" y="166"/>
                  </a:lnTo>
                  <a:lnTo>
                    <a:pt x="478" y="165"/>
                  </a:lnTo>
                  <a:lnTo>
                    <a:pt x="478" y="159"/>
                  </a:lnTo>
                  <a:lnTo>
                    <a:pt x="479" y="155"/>
                  </a:lnTo>
                  <a:lnTo>
                    <a:pt x="479" y="154"/>
                  </a:lnTo>
                  <a:lnTo>
                    <a:pt x="479" y="154"/>
                  </a:lnTo>
                  <a:lnTo>
                    <a:pt x="480" y="150"/>
                  </a:lnTo>
                  <a:lnTo>
                    <a:pt x="480" y="144"/>
                  </a:lnTo>
                  <a:lnTo>
                    <a:pt x="480" y="133"/>
                  </a:lnTo>
                  <a:lnTo>
                    <a:pt x="479" y="121"/>
                  </a:lnTo>
                  <a:lnTo>
                    <a:pt x="476" y="106"/>
                  </a:lnTo>
                  <a:lnTo>
                    <a:pt x="471" y="91"/>
                  </a:lnTo>
                  <a:lnTo>
                    <a:pt x="467" y="82"/>
                  </a:lnTo>
                  <a:lnTo>
                    <a:pt x="463" y="72"/>
                  </a:lnTo>
                  <a:lnTo>
                    <a:pt x="457" y="63"/>
                  </a:lnTo>
                  <a:lnTo>
                    <a:pt x="450" y="54"/>
                  </a:lnTo>
                  <a:lnTo>
                    <a:pt x="450" y="54"/>
                  </a:lnTo>
                  <a:lnTo>
                    <a:pt x="450" y="54"/>
                  </a:lnTo>
                  <a:lnTo>
                    <a:pt x="445" y="48"/>
                  </a:lnTo>
                  <a:lnTo>
                    <a:pt x="441" y="44"/>
                  </a:lnTo>
                  <a:lnTo>
                    <a:pt x="439" y="41"/>
                  </a:lnTo>
                  <a:lnTo>
                    <a:pt x="437" y="38"/>
                  </a:lnTo>
                  <a:lnTo>
                    <a:pt x="435" y="36"/>
                  </a:lnTo>
                  <a:lnTo>
                    <a:pt x="433" y="35"/>
                  </a:lnTo>
                  <a:lnTo>
                    <a:pt x="428" y="32"/>
                  </a:lnTo>
                  <a:lnTo>
                    <a:pt x="424" y="29"/>
                  </a:lnTo>
                  <a:lnTo>
                    <a:pt x="423" y="28"/>
                  </a:lnTo>
                  <a:lnTo>
                    <a:pt x="422" y="27"/>
                  </a:lnTo>
                  <a:lnTo>
                    <a:pt x="416" y="23"/>
                  </a:lnTo>
                  <a:lnTo>
                    <a:pt x="411" y="20"/>
                  </a:lnTo>
                  <a:lnTo>
                    <a:pt x="410" y="19"/>
                  </a:lnTo>
                  <a:lnTo>
                    <a:pt x="409" y="19"/>
                  </a:lnTo>
                  <a:lnTo>
                    <a:pt x="402" y="16"/>
                  </a:lnTo>
                  <a:lnTo>
                    <a:pt x="396" y="13"/>
                  </a:lnTo>
                  <a:lnTo>
                    <a:pt x="395" y="13"/>
                  </a:lnTo>
                  <a:lnTo>
                    <a:pt x="394" y="11"/>
                  </a:lnTo>
                  <a:lnTo>
                    <a:pt x="387" y="9"/>
                  </a:lnTo>
                  <a:lnTo>
                    <a:pt x="380" y="7"/>
                  </a:lnTo>
                  <a:lnTo>
                    <a:pt x="378" y="6"/>
                  </a:lnTo>
                  <a:lnTo>
                    <a:pt x="376" y="6"/>
                  </a:lnTo>
                  <a:lnTo>
                    <a:pt x="369" y="4"/>
                  </a:lnTo>
                  <a:lnTo>
                    <a:pt x="361" y="2"/>
                  </a:lnTo>
                  <a:lnTo>
                    <a:pt x="359" y="2"/>
                  </a:lnTo>
                  <a:lnTo>
                    <a:pt x="357" y="2"/>
                  </a:lnTo>
                  <a:lnTo>
                    <a:pt x="347" y="0"/>
                  </a:lnTo>
                  <a:lnTo>
                    <a:pt x="336" y="0"/>
                  </a:lnTo>
                  <a:lnTo>
                    <a:pt x="319" y="0"/>
                  </a:lnTo>
                  <a:lnTo>
                    <a:pt x="303" y="0"/>
                  </a:lnTo>
                  <a:lnTo>
                    <a:pt x="302" y="0"/>
                  </a:lnTo>
                  <a:lnTo>
                    <a:pt x="296" y="0"/>
                  </a:lnTo>
                  <a:lnTo>
                    <a:pt x="291" y="1"/>
                  </a:lnTo>
                  <a:lnTo>
                    <a:pt x="286" y="1"/>
                  </a:lnTo>
                  <a:lnTo>
                    <a:pt x="280" y="2"/>
                  </a:lnTo>
                  <a:lnTo>
                    <a:pt x="275" y="3"/>
                  </a:lnTo>
                  <a:lnTo>
                    <a:pt x="270" y="4"/>
                  </a:lnTo>
                  <a:lnTo>
                    <a:pt x="265" y="5"/>
                  </a:lnTo>
                  <a:lnTo>
                    <a:pt x="261" y="6"/>
                  </a:lnTo>
                  <a:lnTo>
                    <a:pt x="256" y="7"/>
                  </a:lnTo>
                  <a:lnTo>
                    <a:pt x="252" y="9"/>
                  </a:lnTo>
                  <a:lnTo>
                    <a:pt x="248" y="10"/>
                  </a:lnTo>
                  <a:lnTo>
                    <a:pt x="245" y="13"/>
                  </a:lnTo>
                  <a:lnTo>
                    <a:pt x="240" y="14"/>
                  </a:lnTo>
                  <a:lnTo>
                    <a:pt x="236" y="16"/>
                  </a:lnTo>
                  <a:lnTo>
                    <a:pt x="233" y="18"/>
                  </a:lnTo>
                  <a:lnTo>
                    <a:pt x="229" y="19"/>
                  </a:lnTo>
                  <a:lnTo>
                    <a:pt x="225" y="21"/>
                  </a:lnTo>
                  <a:lnTo>
                    <a:pt x="222" y="24"/>
                  </a:lnTo>
                  <a:lnTo>
                    <a:pt x="220" y="25"/>
                  </a:lnTo>
                  <a:lnTo>
                    <a:pt x="216" y="28"/>
                  </a:lnTo>
                  <a:lnTo>
                    <a:pt x="213" y="30"/>
                  </a:lnTo>
                  <a:lnTo>
                    <a:pt x="209" y="33"/>
                  </a:lnTo>
                  <a:lnTo>
                    <a:pt x="208" y="34"/>
                  </a:lnTo>
                  <a:lnTo>
                    <a:pt x="206" y="36"/>
                  </a:lnTo>
                  <a:lnTo>
                    <a:pt x="202" y="40"/>
                  </a:lnTo>
                  <a:lnTo>
                    <a:pt x="198" y="43"/>
                  </a:lnTo>
                  <a:lnTo>
                    <a:pt x="197" y="44"/>
                  </a:lnTo>
                  <a:lnTo>
                    <a:pt x="197" y="45"/>
                  </a:lnTo>
                  <a:lnTo>
                    <a:pt x="193" y="49"/>
                  </a:lnTo>
                  <a:lnTo>
                    <a:pt x="189" y="54"/>
                  </a:lnTo>
                  <a:lnTo>
                    <a:pt x="180" y="68"/>
                  </a:lnTo>
                  <a:lnTo>
                    <a:pt x="172" y="82"/>
                  </a:lnTo>
                  <a:lnTo>
                    <a:pt x="167" y="96"/>
                  </a:lnTo>
                  <a:lnTo>
                    <a:pt x="162" y="110"/>
                  </a:lnTo>
                  <a:lnTo>
                    <a:pt x="160" y="123"/>
                  </a:lnTo>
                  <a:lnTo>
                    <a:pt x="159" y="135"/>
                  </a:lnTo>
                  <a:lnTo>
                    <a:pt x="159" y="144"/>
                  </a:lnTo>
                  <a:lnTo>
                    <a:pt x="160" y="154"/>
                  </a:lnTo>
                  <a:lnTo>
                    <a:pt x="160" y="155"/>
                  </a:lnTo>
                  <a:lnTo>
                    <a:pt x="160" y="156"/>
                  </a:lnTo>
                  <a:lnTo>
                    <a:pt x="161" y="160"/>
                  </a:lnTo>
                  <a:lnTo>
                    <a:pt x="162" y="165"/>
                  </a:lnTo>
                  <a:lnTo>
                    <a:pt x="164" y="181"/>
                  </a:lnTo>
                  <a:lnTo>
                    <a:pt x="166" y="196"/>
                  </a:lnTo>
                  <a:lnTo>
                    <a:pt x="166" y="197"/>
                  </a:lnTo>
                  <a:lnTo>
                    <a:pt x="166" y="198"/>
                  </a:lnTo>
                  <a:lnTo>
                    <a:pt x="166" y="202"/>
                  </a:lnTo>
                  <a:lnTo>
                    <a:pt x="166" y="206"/>
                  </a:lnTo>
                  <a:lnTo>
                    <a:pt x="167" y="207"/>
                  </a:lnTo>
                  <a:lnTo>
                    <a:pt x="167" y="209"/>
                  </a:lnTo>
                  <a:lnTo>
                    <a:pt x="167" y="211"/>
                  </a:lnTo>
                  <a:lnTo>
                    <a:pt x="167" y="214"/>
                  </a:lnTo>
                  <a:lnTo>
                    <a:pt x="167" y="216"/>
                  </a:lnTo>
                  <a:lnTo>
                    <a:pt x="167" y="218"/>
                  </a:lnTo>
                  <a:lnTo>
                    <a:pt x="167" y="221"/>
                  </a:lnTo>
                  <a:lnTo>
                    <a:pt x="167" y="224"/>
                  </a:lnTo>
                  <a:lnTo>
                    <a:pt x="167" y="224"/>
                  </a:lnTo>
                  <a:lnTo>
                    <a:pt x="167" y="224"/>
                  </a:lnTo>
                  <a:lnTo>
                    <a:pt x="167" y="226"/>
                  </a:lnTo>
                  <a:lnTo>
                    <a:pt x="166" y="229"/>
                  </a:lnTo>
                  <a:lnTo>
                    <a:pt x="166" y="229"/>
                  </a:lnTo>
                  <a:lnTo>
                    <a:pt x="166" y="229"/>
                  </a:lnTo>
                  <a:lnTo>
                    <a:pt x="166" y="231"/>
                  </a:lnTo>
                  <a:lnTo>
                    <a:pt x="165" y="233"/>
                  </a:lnTo>
                  <a:lnTo>
                    <a:pt x="162" y="243"/>
                  </a:lnTo>
                  <a:lnTo>
                    <a:pt x="160" y="253"/>
                  </a:lnTo>
                  <a:lnTo>
                    <a:pt x="160" y="253"/>
                  </a:lnTo>
                  <a:lnTo>
                    <a:pt x="160" y="254"/>
                  </a:lnTo>
                  <a:lnTo>
                    <a:pt x="160" y="257"/>
                  </a:lnTo>
                  <a:lnTo>
                    <a:pt x="160" y="260"/>
                  </a:lnTo>
                  <a:lnTo>
                    <a:pt x="160" y="261"/>
                  </a:lnTo>
                  <a:lnTo>
                    <a:pt x="160" y="263"/>
                  </a:lnTo>
                  <a:lnTo>
                    <a:pt x="161" y="265"/>
                  </a:lnTo>
                  <a:lnTo>
                    <a:pt x="161" y="266"/>
                  </a:lnTo>
                  <a:lnTo>
                    <a:pt x="161" y="270"/>
                  </a:lnTo>
                  <a:lnTo>
                    <a:pt x="161" y="273"/>
                  </a:lnTo>
                  <a:lnTo>
                    <a:pt x="162" y="274"/>
                  </a:lnTo>
                  <a:lnTo>
                    <a:pt x="162" y="276"/>
                  </a:lnTo>
                  <a:lnTo>
                    <a:pt x="164" y="280"/>
                  </a:lnTo>
                  <a:lnTo>
                    <a:pt x="165" y="286"/>
                  </a:lnTo>
                  <a:lnTo>
                    <a:pt x="169" y="307"/>
                  </a:lnTo>
                  <a:lnTo>
                    <a:pt x="175" y="324"/>
                  </a:lnTo>
                  <a:lnTo>
                    <a:pt x="182" y="337"/>
                  </a:lnTo>
                  <a:lnTo>
                    <a:pt x="187" y="346"/>
                  </a:lnTo>
                  <a:lnTo>
                    <a:pt x="189" y="348"/>
                  </a:lnTo>
                  <a:lnTo>
                    <a:pt x="191" y="351"/>
                  </a:lnTo>
                  <a:lnTo>
                    <a:pt x="194" y="365"/>
                  </a:lnTo>
                  <a:lnTo>
                    <a:pt x="197" y="379"/>
                  </a:lnTo>
                  <a:lnTo>
                    <a:pt x="197" y="382"/>
                  </a:lnTo>
                  <a:lnTo>
                    <a:pt x="198" y="384"/>
                  </a:lnTo>
                  <a:lnTo>
                    <a:pt x="199" y="388"/>
                  </a:lnTo>
                  <a:lnTo>
                    <a:pt x="201" y="393"/>
                  </a:lnTo>
                  <a:lnTo>
                    <a:pt x="202" y="396"/>
                  </a:lnTo>
                  <a:lnTo>
                    <a:pt x="203" y="399"/>
                  </a:lnTo>
                  <a:lnTo>
                    <a:pt x="206" y="406"/>
                  </a:lnTo>
                  <a:lnTo>
                    <a:pt x="209" y="412"/>
                  </a:lnTo>
                  <a:lnTo>
                    <a:pt x="210" y="416"/>
                  </a:lnTo>
                  <a:lnTo>
                    <a:pt x="212" y="421"/>
                  </a:lnTo>
                  <a:lnTo>
                    <a:pt x="212" y="422"/>
                  </a:lnTo>
                  <a:lnTo>
                    <a:pt x="212" y="422"/>
                  </a:lnTo>
                  <a:lnTo>
                    <a:pt x="213" y="426"/>
                  </a:lnTo>
                  <a:lnTo>
                    <a:pt x="214" y="430"/>
                  </a:lnTo>
                  <a:lnTo>
                    <a:pt x="214" y="434"/>
                  </a:lnTo>
                  <a:lnTo>
                    <a:pt x="214" y="436"/>
                  </a:lnTo>
                  <a:lnTo>
                    <a:pt x="215" y="439"/>
                  </a:lnTo>
                  <a:lnTo>
                    <a:pt x="215" y="443"/>
                  </a:lnTo>
                  <a:lnTo>
                    <a:pt x="216" y="450"/>
                  </a:lnTo>
                  <a:lnTo>
                    <a:pt x="216" y="457"/>
                  </a:lnTo>
                  <a:lnTo>
                    <a:pt x="215" y="472"/>
                  </a:lnTo>
                  <a:lnTo>
                    <a:pt x="214" y="477"/>
                  </a:lnTo>
                  <a:lnTo>
                    <a:pt x="214" y="477"/>
                  </a:lnTo>
                  <a:lnTo>
                    <a:pt x="214" y="477"/>
                  </a:lnTo>
                  <a:lnTo>
                    <a:pt x="214" y="477"/>
                  </a:lnTo>
                  <a:lnTo>
                    <a:pt x="213" y="478"/>
                  </a:lnTo>
                  <a:lnTo>
                    <a:pt x="212" y="478"/>
                  </a:lnTo>
                  <a:lnTo>
                    <a:pt x="211" y="478"/>
                  </a:lnTo>
                  <a:lnTo>
                    <a:pt x="206" y="480"/>
                  </a:lnTo>
                  <a:lnTo>
                    <a:pt x="200" y="481"/>
                  </a:lnTo>
                  <a:lnTo>
                    <a:pt x="183" y="487"/>
                  </a:lnTo>
                  <a:lnTo>
                    <a:pt x="166" y="493"/>
                  </a:lnTo>
                  <a:lnTo>
                    <a:pt x="147" y="499"/>
                  </a:lnTo>
                  <a:lnTo>
                    <a:pt x="129" y="505"/>
                  </a:lnTo>
                  <a:lnTo>
                    <a:pt x="128" y="506"/>
                  </a:lnTo>
                  <a:lnTo>
                    <a:pt x="127" y="506"/>
                  </a:lnTo>
                  <a:lnTo>
                    <a:pt x="122" y="507"/>
                  </a:lnTo>
                  <a:lnTo>
                    <a:pt x="118" y="509"/>
                  </a:lnTo>
                  <a:lnTo>
                    <a:pt x="116" y="510"/>
                  </a:lnTo>
                  <a:lnTo>
                    <a:pt x="114" y="510"/>
                  </a:lnTo>
                  <a:lnTo>
                    <a:pt x="111" y="511"/>
                  </a:lnTo>
                  <a:lnTo>
                    <a:pt x="108" y="513"/>
                  </a:lnTo>
                  <a:lnTo>
                    <a:pt x="105" y="514"/>
                  </a:lnTo>
                  <a:lnTo>
                    <a:pt x="101" y="516"/>
                  </a:lnTo>
                  <a:lnTo>
                    <a:pt x="100" y="516"/>
                  </a:lnTo>
                  <a:lnTo>
                    <a:pt x="99" y="516"/>
                  </a:lnTo>
                  <a:lnTo>
                    <a:pt x="94" y="518"/>
                  </a:lnTo>
                  <a:lnTo>
                    <a:pt x="89" y="520"/>
                  </a:lnTo>
                  <a:lnTo>
                    <a:pt x="89" y="520"/>
                  </a:lnTo>
                  <a:lnTo>
                    <a:pt x="88" y="520"/>
                  </a:lnTo>
                  <a:lnTo>
                    <a:pt x="77" y="524"/>
                  </a:lnTo>
                  <a:lnTo>
                    <a:pt x="66" y="528"/>
                  </a:lnTo>
                  <a:lnTo>
                    <a:pt x="57" y="532"/>
                  </a:lnTo>
                  <a:lnTo>
                    <a:pt x="48" y="535"/>
                  </a:lnTo>
                  <a:lnTo>
                    <a:pt x="40" y="538"/>
                  </a:lnTo>
                  <a:lnTo>
                    <a:pt x="33" y="542"/>
                  </a:lnTo>
                  <a:lnTo>
                    <a:pt x="28" y="544"/>
                  </a:lnTo>
                  <a:lnTo>
                    <a:pt x="25" y="546"/>
                  </a:lnTo>
                  <a:lnTo>
                    <a:pt x="23" y="547"/>
                  </a:lnTo>
                  <a:lnTo>
                    <a:pt x="22" y="548"/>
                  </a:lnTo>
                  <a:lnTo>
                    <a:pt x="20" y="549"/>
                  </a:lnTo>
                  <a:lnTo>
                    <a:pt x="18" y="550"/>
                  </a:lnTo>
                  <a:lnTo>
                    <a:pt x="17" y="553"/>
                  </a:lnTo>
                  <a:lnTo>
                    <a:pt x="14" y="554"/>
                  </a:lnTo>
                  <a:lnTo>
                    <a:pt x="13" y="555"/>
                  </a:lnTo>
                  <a:lnTo>
                    <a:pt x="12" y="556"/>
                  </a:lnTo>
                  <a:lnTo>
                    <a:pt x="11" y="558"/>
                  </a:lnTo>
                  <a:lnTo>
                    <a:pt x="10" y="560"/>
                  </a:lnTo>
                  <a:lnTo>
                    <a:pt x="9" y="561"/>
                  </a:lnTo>
                  <a:lnTo>
                    <a:pt x="8" y="562"/>
                  </a:lnTo>
                  <a:lnTo>
                    <a:pt x="7" y="564"/>
                  </a:lnTo>
                  <a:lnTo>
                    <a:pt x="6" y="567"/>
                  </a:lnTo>
                  <a:lnTo>
                    <a:pt x="5" y="568"/>
                  </a:lnTo>
                  <a:lnTo>
                    <a:pt x="5" y="569"/>
                  </a:lnTo>
                  <a:lnTo>
                    <a:pt x="4" y="571"/>
                  </a:lnTo>
                  <a:lnTo>
                    <a:pt x="3" y="573"/>
                  </a:lnTo>
                  <a:lnTo>
                    <a:pt x="3" y="575"/>
                  </a:lnTo>
                  <a:lnTo>
                    <a:pt x="3" y="576"/>
                  </a:lnTo>
                  <a:lnTo>
                    <a:pt x="1" y="578"/>
                  </a:lnTo>
                  <a:lnTo>
                    <a:pt x="1" y="582"/>
                  </a:lnTo>
                  <a:lnTo>
                    <a:pt x="1" y="583"/>
                  </a:lnTo>
                  <a:lnTo>
                    <a:pt x="0" y="584"/>
                  </a:lnTo>
                  <a:lnTo>
                    <a:pt x="0" y="587"/>
                  </a:lnTo>
                  <a:lnTo>
                    <a:pt x="0" y="591"/>
                  </a:lnTo>
                  <a:lnTo>
                    <a:pt x="0" y="610"/>
                  </a:lnTo>
                  <a:lnTo>
                    <a:pt x="0" y="635"/>
                  </a:lnTo>
                  <a:lnTo>
                    <a:pt x="0" y="657"/>
                  </a:lnTo>
                  <a:lnTo>
                    <a:pt x="0" y="675"/>
                  </a:lnTo>
                  <a:lnTo>
                    <a:pt x="0" y="675"/>
                  </a:lnTo>
                  <a:lnTo>
                    <a:pt x="0" y="676"/>
                  </a:lnTo>
                  <a:lnTo>
                    <a:pt x="0" y="680"/>
                  </a:lnTo>
                  <a:lnTo>
                    <a:pt x="1" y="685"/>
                  </a:lnTo>
                  <a:lnTo>
                    <a:pt x="4" y="691"/>
                  </a:lnTo>
                  <a:lnTo>
                    <a:pt x="7" y="696"/>
                  </a:lnTo>
                  <a:lnTo>
                    <a:pt x="11" y="700"/>
                  </a:lnTo>
                  <a:lnTo>
                    <a:pt x="17" y="705"/>
                  </a:lnTo>
                  <a:lnTo>
                    <a:pt x="24" y="707"/>
                  </a:lnTo>
                  <a:lnTo>
                    <a:pt x="33" y="708"/>
                  </a:lnTo>
                  <a:lnTo>
                    <a:pt x="34" y="708"/>
                  </a:lnTo>
                  <a:lnTo>
                    <a:pt x="34" y="708"/>
                  </a:lnTo>
                  <a:lnTo>
                    <a:pt x="48" y="708"/>
                  </a:lnTo>
                  <a:lnTo>
                    <a:pt x="73" y="708"/>
                  </a:lnTo>
                  <a:lnTo>
                    <a:pt x="104" y="708"/>
                  </a:lnTo>
                  <a:lnTo>
                    <a:pt x="140" y="708"/>
                  </a:lnTo>
                  <a:lnTo>
                    <a:pt x="179" y="708"/>
                  </a:lnTo>
                  <a:lnTo>
                    <a:pt x="216" y="708"/>
                  </a:lnTo>
                  <a:lnTo>
                    <a:pt x="252" y="708"/>
                  </a:lnTo>
                  <a:lnTo>
                    <a:pt x="282" y="708"/>
                  </a:lnTo>
                  <a:lnTo>
                    <a:pt x="296" y="708"/>
                  </a:lnTo>
                  <a:lnTo>
                    <a:pt x="308" y="708"/>
                  </a:lnTo>
                  <a:lnTo>
                    <a:pt x="315" y="708"/>
                  </a:lnTo>
                  <a:lnTo>
                    <a:pt x="317" y="708"/>
                  </a:lnTo>
                  <a:lnTo>
                    <a:pt x="323" y="708"/>
                  </a:lnTo>
                  <a:lnTo>
                    <a:pt x="326" y="708"/>
                  </a:lnTo>
                  <a:lnTo>
                    <a:pt x="333" y="708"/>
                  </a:lnTo>
                  <a:lnTo>
                    <a:pt x="345" y="708"/>
                  </a:lnTo>
                  <a:lnTo>
                    <a:pt x="359" y="708"/>
                  </a:lnTo>
                  <a:lnTo>
                    <a:pt x="389" y="708"/>
                  </a:lnTo>
                  <a:lnTo>
                    <a:pt x="425" y="708"/>
                  </a:lnTo>
                  <a:lnTo>
                    <a:pt x="463" y="708"/>
                  </a:lnTo>
                  <a:lnTo>
                    <a:pt x="502" y="708"/>
                  </a:lnTo>
                  <a:lnTo>
                    <a:pt x="537" y="708"/>
                  </a:lnTo>
                  <a:lnTo>
                    <a:pt x="569" y="708"/>
                  </a:lnTo>
                  <a:lnTo>
                    <a:pt x="592" y="708"/>
                  </a:lnTo>
                  <a:lnTo>
                    <a:pt x="608" y="708"/>
                  </a:lnTo>
                  <a:lnTo>
                    <a:pt x="608" y="708"/>
                  </a:lnTo>
                  <a:lnTo>
                    <a:pt x="609" y="708"/>
                  </a:lnTo>
                  <a:lnTo>
                    <a:pt x="616" y="707"/>
                  </a:lnTo>
                  <a:lnTo>
                    <a:pt x="624" y="705"/>
                  </a:lnTo>
                  <a:lnTo>
                    <a:pt x="629" y="702"/>
                  </a:lnTo>
                  <a:lnTo>
                    <a:pt x="633" y="697"/>
                  </a:lnTo>
                  <a:lnTo>
                    <a:pt x="637" y="693"/>
                  </a:lnTo>
                  <a:lnTo>
                    <a:pt x="639" y="688"/>
                  </a:lnTo>
                  <a:lnTo>
                    <a:pt x="640" y="683"/>
                  </a:lnTo>
                  <a:lnTo>
                    <a:pt x="641" y="678"/>
                  </a:lnTo>
                  <a:lnTo>
                    <a:pt x="641" y="675"/>
                  </a:lnTo>
                  <a:lnTo>
                    <a:pt x="641" y="591"/>
                  </a:lnTo>
                  <a:lnTo>
                    <a:pt x="641" y="585"/>
                  </a:lnTo>
                  <a:lnTo>
                    <a:pt x="639" y="577"/>
                  </a:lnTo>
                  <a:lnTo>
                    <a:pt x="636" y="571"/>
                  </a:lnTo>
                  <a:lnTo>
                    <a:pt x="631" y="563"/>
                  </a:lnTo>
                  <a:lnTo>
                    <a:pt x="626" y="557"/>
                  </a:lnTo>
                  <a:lnTo>
                    <a:pt x="619" y="550"/>
                  </a:lnTo>
                  <a:lnTo>
                    <a:pt x="612" y="544"/>
                  </a:lnTo>
                  <a:lnTo>
                    <a:pt x="602" y="54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71" name="Freeform 108"/>
            <p:cNvSpPr/>
            <p:nvPr/>
          </p:nvSpPr>
          <p:spPr bwMode="auto">
            <a:xfrm>
              <a:off x="2956152" y="4702175"/>
              <a:ext cx="157163" cy="227013"/>
            </a:xfrm>
            <a:custGeom>
              <a:avLst/>
              <a:gdLst>
                <a:gd name="T0" fmla="*/ 299 w 397"/>
                <a:gd name="T1" fmla="*/ 411 h 572"/>
                <a:gd name="T2" fmla="*/ 219 w 397"/>
                <a:gd name="T3" fmla="*/ 385 h 572"/>
                <a:gd name="T4" fmla="*/ 217 w 397"/>
                <a:gd name="T5" fmla="*/ 370 h 572"/>
                <a:gd name="T6" fmla="*/ 224 w 397"/>
                <a:gd name="T7" fmla="*/ 342 h 572"/>
                <a:gd name="T8" fmla="*/ 236 w 397"/>
                <a:gd name="T9" fmla="*/ 311 h 572"/>
                <a:gd name="T10" fmla="*/ 247 w 397"/>
                <a:gd name="T11" fmla="*/ 276 h 572"/>
                <a:gd name="T12" fmla="*/ 263 w 397"/>
                <a:gd name="T13" fmla="*/ 232 h 572"/>
                <a:gd name="T14" fmla="*/ 265 w 397"/>
                <a:gd name="T15" fmla="*/ 195 h 572"/>
                <a:gd name="T16" fmla="*/ 262 w 397"/>
                <a:gd name="T17" fmla="*/ 185 h 572"/>
                <a:gd name="T18" fmla="*/ 264 w 397"/>
                <a:gd name="T19" fmla="*/ 143 h 572"/>
                <a:gd name="T20" fmla="*/ 267 w 397"/>
                <a:gd name="T21" fmla="*/ 109 h 572"/>
                <a:gd name="T22" fmla="*/ 261 w 397"/>
                <a:gd name="T23" fmla="*/ 77 h 572"/>
                <a:gd name="T24" fmla="*/ 244 w 397"/>
                <a:gd name="T25" fmla="*/ 44 h 572"/>
                <a:gd name="T26" fmla="*/ 221 w 397"/>
                <a:gd name="T27" fmla="*/ 22 h 572"/>
                <a:gd name="T28" fmla="*/ 184 w 397"/>
                <a:gd name="T29" fmla="*/ 5 h 572"/>
                <a:gd name="T30" fmla="*/ 124 w 397"/>
                <a:gd name="T31" fmla="*/ 0 h 572"/>
                <a:gd name="T32" fmla="*/ 77 w 397"/>
                <a:gd name="T33" fmla="*/ 9 h 572"/>
                <a:gd name="T34" fmla="*/ 46 w 397"/>
                <a:gd name="T35" fmla="*/ 29 h 572"/>
                <a:gd name="T36" fmla="*/ 24 w 397"/>
                <a:gd name="T37" fmla="*/ 55 h 572"/>
                <a:gd name="T38" fmla="*/ 11 w 397"/>
                <a:gd name="T39" fmla="*/ 88 h 572"/>
                <a:gd name="T40" fmla="*/ 8 w 397"/>
                <a:gd name="T41" fmla="*/ 117 h 572"/>
                <a:gd name="T42" fmla="*/ 14 w 397"/>
                <a:gd name="T43" fmla="*/ 162 h 572"/>
                <a:gd name="T44" fmla="*/ 14 w 397"/>
                <a:gd name="T45" fmla="*/ 186 h 572"/>
                <a:gd name="T46" fmla="*/ 9 w 397"/>
                <a:gd name="T47" fmla="*/ 204 h 572"/>
                <a:gd name="T48" fmla="*/ 17 w 397"/>
                <a:gd name="T49" fmla="*/ 251 h 572"/>
                <a:gd name="T50" fmla="*/ 33 w 397"/>
                <a:gd name="T51" fmla="*/ 284 h 572"/>
                <a:gd name="T52" fmla="*/ 44 w 397"/>
                <a:gd name="T53" fmla="*/ 323 h 572"/>
                <a:gd name="T54" fmla="*/ 52 w 397"/>
                <a:gd name="T55" fmla="*/ 348 h 572"/>
                <a:gd name="T56" fmla="*/ 54 w 397"/>
                <a:gd name="T57" fmla="*/ 380 h 572"/>
                <a:gd name="T58" fmla="*/ 50 w 397"/>
                <a:gd name="T59" fmla="*/ 387 h 572"/>
                <a:gd name="T60" fmla="*/ 12 w 397"/>
                <a:gd name="T61" fmla="*/ 399 h 572"/>
                <a:gd name="T62" fmla="*/ 57 w 397"/>
                <a:gd name="T63" fmla="*/ 424 h 572"/>
                <a:gd name="T64" fmla="*/ 109 w 397"/>
                <a:gd name="T65" fmla="*/ 445 h 572"/>
                <a:gd name="T66" fmla="*/ 128 w 397"/>
                <a:gd name="T67" fmla="*/ 456 h 572"/>
                <a:gd name="T68" fmla="*/ 153 w 397"/>
                <a:gd name="T69" fmla="*/ 489 h 572"/>
                <a:gd name="T70" fmla="*/ 160 w 397"/>
                <a:gd name="T71" fmla="*/ 523 h 572"/>
                <a:gd name="T72" fmla="*/ 170 w 397"/>
                <a:gd name="T73" fmla="*/ 572 h 572"/>
                <a:gd name="T74" fmla="*/ 254 w 397"/>
                <a:gd name="T75" fmla="*/ 572 h 572"/>
                <a:gd name="T76" fmla="*/ 341 w 397"/>
                <a:gd name="T77" fmla="*/ 572 h 572"/>
                <a:gd name="T78" fmla="*/ 378 w 397"/>
                <a:gd name="T79" fmla="*/ 572 h 572"/>
                <a:gd name="T80" fmla="*/ 392 w 397"/>
                <a:gd name="T81" fmla="*/ 563 h 572"/>
                <a:gd name="T82" fmla="*/ 397 w 397"/>
                <a:gd name="T83" fmla="*/ 550 h 572"/>
                <a:gd name="T84" fmla="*/ 397 w 397"/>
                <a:gd name="T85" fmla="*/ 515 h 572"/>
                <a:gd name="T86" fmla="*/ 396 w 397"/>
                <a:gd name="T87" fmla="*/ 473 h 572"/>
                <a:gd name="T88" fmla="*/ 389 w 397"/>
                <a:gd name="T89" fmla="*/ 455 h 572"/>
                <a:gd name="T90" fmla="*/ 373 w 397"/>
                <a:gd name="T91" fmla="*/ 44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7" h="572">
                  <a:moveTo>
                    <a:pt x="366" y="436"/>
                  </a:moveTo>
                  <a:lnTo>
                    <a:pt x="337" y="425"/>
                  </a:lnTo>
                  <a:lnTo>
                    <a:pt x="299" y="411"/>
                  </a:lnTo>
                  <a:lnTo>
                    <a:pt x="258" y="398"/>
                  </a:lnTo>
                  <a:lnTo>
                    <a:pt x="221" y="386"/>
                  </a:lnTo>
                  <a:lnTo>
                    <a:pt x="219" y="385"/>
                  </a:lnTo>
                  <a:lnTo>
                    <a:pt x="218" y="383"/>
                  </a:lnTo>
                  <a:lnTo>
                    <a:pt x="218" y="379"/>
                  </a:lnTo>
                  <a:lnTo>
                    <a:pt x="217" y="370"/>
                  </a:lnTo>
                  <a:lnTo>
                    <a:pt x="218" y="360"/>
                  </a:lnTo>
                  <a:lnTo>
                    <a:pt x="220" y="351"/>
                  </a:lnTo>
                  <a:lnTo>
                    <a:pt x="224" y="342"/>
                  </a:lnTo>
                  <a:lnTo>
                    <a:pt x="227" y="333"/>
                  </a:lnTo>
                  <a:lnTo>
                    <a:pt x="232" y="323"/>
                  </a:lnTo>
                  <a:lnTo>
                    <a:pt x="236" y="311"/>
                  </a:lnTo>
                  <a:lnTo>
                    <a:pt x="239" y="297"/>
                  </a:lnTo>
                  <a:lnTo>
                    <a:pt x="243" y="284"/>
                  </a:lnTo>
                  <a:lnTo>
                    <a:pt x="247" y="276"/>
                  </a:lnTo>
                  <a:lnTo>
                    <a:pt x="253" y="265"/>
                  </a:lnTo>
                  <a:lnTo>
                    <a:pt x="259" y="251"/>
                  </a:lnTo>
                  <a:lnTo>
                    <a:pt x="263" y="232"/>
                  </a:lnTo>
                  <a:lnTo>
                    <a:pt x="266" y="216"/>
                  </a:lnTo>
                  <a:lnTo>
                    <a:pt x="266" y="204"/>
                  </a:lnTo>
                  <a:lnTo>
                    <a:pt x="265" y="195"/>
                  </a:lnTo>
                  <a:lnTo>
                    <a:pt x="263" y="188"/>
                  </a:lnTo>
                  <a:lnTo>
                    <a:pt x="262" y="186"/>
                  </a:lnTo>
                  <a:lnTo>
                    <a:pt x="262" y="185"/>
                  </a:lnTo>
                  <a:lnTo>
                    <a:pt x="261" y="177"/>
                  </a:lnTo>
                  <a:lnTo>
                    <a:pt x="262" y="162"/>
                  </a:lnTo>
                  <a:lnTo>
                    <a:pt x="264" y="143"/>
                  </a:lnTo>
                  <a:lnTo>
                    <a:pt x="266" y="124"/>
                  </a:lnTo>
                  <a:lnTo>
                    <a:pt x="267" y="117"/>
                  </a:lnTo>
                  <a:lnTo>
                    <a:pt x="267" y="109"/>
                  </a:lnTo>
                  <a:lnTo>
                    <a:pt x="266" y="99"/>
                  </a:lnTo>
                  <a:lnTo>
                    <a:pt x="264" y="88"/>
                  </a:lnTo>
                  <a:lnTo>
                    <a:pt x="261" y="77"/>
                  </a:lnTo>
                  <a:lnTo>
                    <a:pt x="257" y="67"/>
                  </a:lnTo>
                  <a:lnTo>
                    <a:pt x="251" y="55"/>
                  </a:lnTo>
                  <a:lnTo>
                    <a:pt x="244" y="44"/>
                  </a:lnTo>
                  <a:lnTo>
                    <a:pt x="237" y="36"/>
                  </a:lnTo>
                  <a:lnTo>
                    <a:pt x="230" y="29"/>
                  </a:lnTo>
                  <a:lnTo>
                    <a:pt x="221" y="22"/>
                  </a:lnTo>
                  <a:lnTo>
                    <a:pt x="210" y="16"/>
                  </a:lnTo>
                  <a:lnTo>
                    <a:pt x="198" y="9"/>
                  </a:lnTo>
                  <a:lnTo>
                    <a:pt x="184" y="5"/>
                  </a:lnTo>
                  <a:lnTo>
                    <a:pt x="169" y="2"/>
                  </a:lnTo>
                  <a:lnTo>
                    <a:pt x="151" y="0"/>
                  </a:lnTo>
                  <a:lnTo>
                    <a:pt x="124" y="0"/>
                  </a:lnTo>
                  <a:lnTo>
                    <a:pt x="106" y="2"/>
                  </a:lnTo>
                  <a:lnTo>
                    <a:pt x="90" y="5"/>
                  </a:lnTo>
                  <a:lnTo>
                    <a:pt x="77" y="9"/>
                  </a:lnTo>
                  <a:lnTo>
                    <a:pt x="64" y="16"/>
                  </a:lnTo>
                  <a:lnTo>
                    <a:pt x="55" y="22"/>
                  </a:lnTo>
                  <a:lnTo>
                    <a:pt x="46" y="29"/>
                  </a:lnTo>
                  <a:lnTo>
                    <a:pt x="38" y="36"/>
                  </a:lnTo>
                  <a:lnTo>
                    <a:pt x="32" y="44"/>
                  </a:lnTo>
                  <a:lnTo>
                    <a:pt x="24" y="55"/>
                  </a:lnTo>
                  <a:lnTo>
                    <a:pt x="19" y="67"/>
                  </a:lnTo>
                  <a:lnTo>
                    <a:pt x="14" y="77"/>
                  </a:lnTo>
                  <a:lnTo>
                    <a:pt x="11" y="88"/>
                  </a:lnTo>
                  <a:lnTo>
                    <a:pt x="9" y="99"/>
                  </a:lnTo>
                  <a:lnTo>
                    <a:pt x="8" y="109"/>
                  </a:lnTo>
                  <a:lnTo>
                    <a:pt x="8" y="117"/>
                  </a:lnTo>
                  <a:lnTo>
                    <a:pt x="9" y="124"/>
                  </a:lnTo>
                  <a:lnTo>
                    <a:pt x="11" y="143"/>
                  </a:lnTo>
                  <a:lnTo>
                    <a:pt x="14" y="162"/>
                  </a:lnTo>
                  <a:lnTo>
                    <a:pt x="14" y="177"/>
                  </a:lnTo>
                  <a:lnTo>
                    <a:pt x="14" y="185"/>
                  </a:lnTo>
                  <a:lnTo>
                    <a:pt x="14" y="186"/>
                  </a:lnTo>
                  <a:lnTo>
                    <a:pt x="12" y="188"/>
                  </a:lnTo>
                  <a:lnTo>
                    <a:pt x="10" y="195"/>
                  </a:lnTo>
                  <a:lnTo>
                    <a:pt x="9" y="204"/>
                  </a:lnTo>
                  <a:lnTo>
                    <a:pt x="9" y="216"/>
                  </a:lnTo>
                  <a:lnTo>
                    <a:pt x="12" y="232"/>
                  </a:lnTo>
                  <a:lnTo>
                    <a:pt x="17" y="251"/>
                  </a:lnTo>
                  <a:lnTo>
                    <a:pt x="22" y="265"/>
                  </a:lnTo>
                  <a:lnTo>
                    <a:pt x="28" y="276"/>
                  </a:lnTo>
                  <a:lnTo>
                    <a:pt x="33" y="284"/>
                  </a:lnTo>
                  <a:lnTo>
                    <a:pt x="36" y="297"/>
                  </a:lnTo>
                  <a:lnTo>
                    <a:pt x="39" y="311"/>
                  </a:lnTo>
                  <a:lnTo>
                    <a:pt x="44" y="323"/>
                  </a:lnTo>
                  <a:lnTo>
                    <a:pt x="48" y="333"/>
                  </a:lnTo>
                  <a:lnTo>
                    <a:pt x="50" y="340"/>
                  </a:lnTo>
                  <a:lnTo>
                    <a:pt x="52" y="348"/>
                  </a:lnTo>
                  <a:lnTo>
                    <a:pt x="54" y="358"/>
                  </a:lnTo>
                  <a:lnTo>
                    <a:pt x="54" y="370"/>
                  </a:lnTo>
                  <a:lnTo>
                    <a:pt x="54" y="380"/>
                  </a:lnTo>
                  <a:lnTo>
                    <a:pt x="54" y="384"/>
                  </a:lnTo>
                  <a:lnTo>
                    <a:pt x="52" y="386"/>
                  </a:lnTo>
                  <a:lnTo>
                    <a:pt x="50" y="387"/>
                  </a:lnTo>
                  <a:lnTo>
                    <a:pt x="38" y="391"/>
                  </a:lnTo>
                  <a:lnTo>
                    <a:pt x="25" y="395"/>
                  </a:lnTo>
                  <a:lnTo>
                    <a:pt x="12" y="399"/>
                  </a:lnTo>
                  <a:lnTo>
                    <a:pt x="0" y="404"/>
                  </a:lnTo>
                  <a:lnTo>
                    <a:pt x="29" y="413"/>
                  </a:lnTo>
                  <a:lnTo>
                    <a:pt x="57" y="424"/>
                  </a:lnTo>
                  <a:lnTo>
                    <a:pt x="82" y="433"/>
                  </a:lnTo>
                  <a:lnTo>
                    <a:pt x="101" y="440"/>
                  </a:lnTo>
                  <a:lnTo>
                    <a:pt x="109" y="445"/>
                  </a:lnTo>
                  <a:lnTo>
                    <a:pt x="116" y="448"/>
                  </a:lnTo>
                  <a:lnTo>
                    <a:pt x="123" y="452"/>
                  </a:lnTo>
                  <a:lnTo>
                    <a:pt x="128" y="456"/>
                  </a:lnTo>
                  <a:lnTo>
                    <a:pt x="138" y="467"/>
                  </a:lnTo>
                  <a:lnTo>
                    <a:pt x="146" y="478"/>
                  </a:lnTo>
                  <a:lnTo>
                    <a:pt x="153" y="489"/>
                  </a:lnTo>
                  <a:lnTo>
                    <a:pt x="157" y="501"/>
                  </a:lnTo>
                  <a:lnTo>
                    <a:pt x="160" y="513"/>
                  </a:lnTo>
                  <a:lnTo>
                    <a:pt x="160" y="523"/>
                  </a:lnTo>
                  <a:lnTo>
                    <a:pt x="160" y="572"/>
                  </a:lnTo>
                  <a:lnTo>
                    <a:pt x="165" y="572"/>
                  </a:lnTo>
                  <a:lnTo>
                    <a:pt x="170" y="572"/>
                  </a:lnTo>
                  <a:lnTo>
                    <a:pt x="194" y="572"/>
                  </a:lnTo>
                  <a:lnTo>
                    <a:pt x="223" y="572"/>
                  </a:lnTo>
                  <a:lnTo>
                    <a:pt x="254" y="572"/>
                  </a:lnTo>
                  <a:lnTo>
                    <a:pt x="286" y="572"/>
                  </a:lnTo>
                  <a:lnTo>
                    <a:pt x="315" y="572"/>
                  </a:lnTo>
                  <a:lnTo>
                    <a:pt x="341" y="572"/>
                  </a:lnTo>
                  <a:lnTo>
                    <a:pt x="359" y="572"/>
                  </a:lnTo>
                  <a:lnTo>
                    <a:pt x="370" y="572"/>
                  </a:lnTo>
                  <a:lnTo>
                    <a:pt x="378" y="572"/>
                  </a:lnTo>
                  <a:lnTo>
                    <a:pt x="383" y="570"/>
                  </a:lnTo>
                  <a:lnTo>
                    <a:pt x="388" y="567"/>
                  </a:lnTo>
                  <a:lnTo>
                    <a:pt x="392" y="563"/>
                  </a:lnTo>
                  <a:lnTo>
                    <a:pt x="394" y="559"/>
                  </a:lnTo>
                  <a:lnTo>
                    <a:pt x="396" y="555"/>
                  </a:lnTo>
                  <a:lnTo>
                    <a:pt x="397" y="550"/>
                  </a:lnTo>
                  <a:lnTo>
                    <a:pt x="397" y="546"/>
                  </a:lnTo>
                  <a:lnTo>
                    <a:pt x="397" y="534"/>
                  </a:lnTo>
                  <a:lnTo>
                    <a:pt x="397" y="515"/>
                  </a:lnTo>
                  <a:lnTo>
                    <a:pt x="397" y="494"/>
                  </a:lnTo>
                  <a:lnTo>
                    <a:pt x="397" y="478"/>
                  </a:lnTo>
                  <a:lnTo>
                    <a:pt x="396" y="473"/>
                  </a:lnTo>
                  <a:lnTo>
                    <a:pt x="395" y="467"/>
                  </a:lnTo>
                  <a:lnTo>
                    <a:pt x="393" y="461"/>
                  </a:lnTo>
                  <a:lnTo>
                    <a:pt x="389" y="455"/>
                  </a:lnTo>
                  <a:lnTo>
                    <a:pt x="385" y="450"/>
                  </a:lnTo>
                  <a:lnTo>
                    <a:pt x="380" y="445"/>
                  </a:lnTo>
                  <a:lnTo>
                    <a:pt x="373" y="440"/>
                  </a:lnTo>
                  <a:lnTo>
                    <a:pt x="366" y="4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grpSp>
      <p:sp>
        <p:nvSpPr>
          <p:cNvPr id="72" name="Rectangle 71"/>
          <p:cNvSpPr/>
          <p:nvPr/>
        </p:nvSpPr>
        <p:spPr>
          <a:xfrm>
            <a:off x="2785522" y="2745329"/>
            <a:ext cx="1479470" cy="577338"/>
          </a:xfrm>
          <a:prstGeom prst="rect">
            <a:avLst/>
          </a:prstGeom>
        </p:spPr>
        <p:txBody>
          <a:bodyPr wrap="square">
            <a:spAutoFit/>
          </a:bodyPr>
          <a:lstStyle/>
          <a:p>
            <a:pPr>
              <a:buClr>
                <a:srgbClr val="E24848"/>
              </a:buClr>
            </a:pPr>
            <a:r>
              <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73" name="Rectangle 72"/>
          <p:cNvSpPr/>
          <p:nvPr/>
        </p:nvSpPr>
        <p:spPr>
          <a:xfrm>
            <a:off x="2785522" y="3671099"/>
            <a:ext cx="1479470" cy="577338"/>
          </a:xfrm>
          <a:prstGeom prst="rect">
            <a:avLst/>
          </a:prstGeom>
        </p:spPr>
        <p:txBody>
          <a:bodyPr wrap="square">
            <a:spAutoFit/>
          </a:bodyPr>
          <a:lstStyle/>
          <a:p>
            <a:pPr>
              <a:buClr>
                <a:srgbClr val="E24848"/>
              </a:buClr>
            </a:pPr>
            <a:r>
              <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74" name="Content Placeholder 2"/>
          <p:cNvSpPr txBox="1"/>
          <p:nvPr/>
        </p:nvSpPr>
        <p:spPr>
          <a:xfrm>
            <a:off x="1140940" y="2943308"/>
            <a:ext cx="772179" cy="304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900" dirty="0">
                <a:solidFill>
                  <a:schemeClr val="bg1"/>
                </a:solidFill>
                <a:latin typeface="Lato" panose="020F0502020204030203" pitchFamily="34" charset="0"/>
                <a:ea typeface="Open Sans" panose="020B0606030504020204" pitchFamily="34" charset="0"/>
                <a:cs typeface="Lato" panose="020F0502020204030203" pitchFamily="34" charset="0"/>
              </a:rPr>
              <a:t>PRODUCT</a:t>
            </a:r>
            <a:endParaRPr lang="en-US" sz="900"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75" name="Content Placeholder 2"/>
          <p:cNvSpPr txBox="1"/>
          <p:nvPr/>
        </p:nvSpPr>
        <p:spPr>
          <a:xfrm>
            <a:off x="1140940" y="3869078"/>
            <a:ext cx="772179" cy="304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900" dirty="0">
                <a:solidFill>
                  <a:schemeClr val="bg1"/>
                </a:solidFill>
                <a:latin typeface="Lato" panose="020F0502020204030203" pitchFamily="34" charset="0"/>
                <a:ea typeface="Open Sans" panose="020B0606030504020204" pitchFamily="34" charset="0"/>
                <a:cs typeface="Lato" panose="020F0502020204030203" pitchFamily="34" charset="0"/>
              </a:rPr>
              <a:t>PRODUCT</a:t>
            </a:r>
            <a:endParaRPr lang="en-US" sz="900"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76" name="Content Placeholder 2"/>
          <p:cNvSpPr txBox="1"/>
          <p:nvPr/>
        </p:nvSpPr>
        <p:spPr>
          <a:xfrm>
            <a:off x="4449073" y="1978425"/>
            <a:ext cx="772179" cy="304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900" dirty="0">
                <a:solidFill>
                  <a:schemeClr val="bg1"/>
                </a:solidFill>
                <a:latin typeface="Lato" panose="020F0502020204030203" pitchFamily="34" charset="0"/>
                <a:ea typeface="Open Sans" panose="020B0606030504020204" pitchFamily="34" charset="0"/>
                <a:cs typeface="Lato" panose="020F0502020204030203" pitchFamily="34" charset="0"/>
              </a:rPr>
              <a:t>PRODUCT</a:t>
            </a:r>
            <a:endParaRPr lang="en-US" sz="900"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77" name="Content Placeholder 2"/>
          <p:cNvSpPr txBox="1"/>
          <p:nvPr/>
        </p:nvSpPr>
        <p:spPr>
          <a:xfrm>
            <a:off x="4449073" y="2943308"/>
            <a:ext cx="772179" cy="304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900" dirty="0">
                <a:solidFill>
                  <a:schemeClr val="bg1"/>
                </a:solidFill>
                <a:latin typeface="Lato" panose="020F0502020204030203" pitchFamily="34" charset="0"/>
                <a:ea typeface="Open Sans" panose="020B0606030504020204" pitchFamily="34" charset="0"/>
                <a:cs typeface="Lato" panose="020F0502020204030203" pitchFamily="34" charset="0"/>
              </a:rPr>
              <a:t>PRODUCT</a:t>
            </a:r>
            <a:endParaRPr lang="en-US" sz="900"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78" name="Content Placeholder 2"/>
          <p:cNvSpPr txBox="1"/>
          <p:nvPr/>
        </p:nvSpPr>
        <p:spPr>
          <a:xfrm>
            <a:off x="4449073" y="3869078"/>
            <a:ext cx="772179" cy="304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900" dirty="0">
                <a:solidFill>
                  <a:schemeClr val="bg1"/>
                </a:solidFill>
                <a:latin typeface="Lato" panose="020F0502020204030203" pitchFamily="34" charset="0"/>
                <a:ea typeface="Open Sans" panose="020B0606030504020204" pitchFamily="34" charset="0"/>
                <a:cs typeface="Lato" panose="020F0502020204030203" pitchFamily="34" charset="0"/>
              </a:rPr>
              <a:t>PRODUCT</a:t>
            </a:r>
            <a:endParaRPr lang="en-US" sz="900"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79" name="Rectangle 78"/>
          <p:cNvSpPr/>
          <p:nvPr/>
        </p:nvSpPr>
        <p:spPr>
          <a:xfrm>
            <a:off x="6301752" y="1845164"/>
            <a:ext cx="1479470" cy="577338"/>
          </a:xfrm>
          <a:prstGeom prst="rect">
            <a:avLst/>
          </a:prstGeom>
        </p:spPr>
        <p:txBody>
          <a:bodyPr wrap="square">
            <a:spAutoFit/>
          </a:bodyPr>
          <a:lstStyle/>
          <a:p>
            <a:pPr>
              <a:buClr>
                <a:srgbClr val="E24848"/>
              </a:buClr>
            </a:pPr>
            <a:r>
              <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80" name="Rectangle 79"/>
          <p:cNvSpPr/>
          <p:nvPr/>
        </p:nvSpPr>
        <p:spPr>
          <a:xfrm>
            <a:off x="6301752" y="2745329"/>
            <a:ext cx="1479470" cy="577338"/>
          </a:xfrm>
          <a:prstGeom prst="rect">
            <a:avLst/>
          </a:prstGeom>
        </p:spPr>
        <p:txBody>
          <a:bodyPr wrap="square">
            <a:spAutoFit/>
          </a:bodyPr>
          <a:lstStyle/>
          <a:p>
            <a:pPr>
              <a:buClr>
                <a:srgbClr val="E24848"/>
              </a:buClr>
            </a:pPr>
            <a:r>
              <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81" name="Rectangle 80"/>
          <p:cNvSpPr/>
          <p:nvPr/>
        </p:nvSpPr>
        <p:spPr>
          <a:xfrm>
            <a:off x="6301752" y="3671099"/>
            <a:ext cx="1479470" cy="577338"/>
          </a:xfrm>
          <a:prstGeom prst="rect">
            <a:avLst/>
          </a:prstGeom>
        </p:spPr>
        <p:txBody>
          <a:bodyPr wrap="square">
            <a:spAutoFit/>
          </a:bodyPr>
          <a:lstStyle/>
          <a:p>
            <a:pPr>
              <a:buClr>
                <a:srgbClr val="E24848"/>
              </a:buClr>
            </a:pPr>
            <a:r>
              <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占位符 4"/>
          <p:cNvPicPr>
            <a:picLocks noGrp="1" noChangeAspect="1"/>
          </p:cNvPicPr>
          <p:nvPr>
            <p:ph type="pic" sz="quarter" idx="23"/>
          </p:nvPr>
        </p:nvPicPr>
        <p:blipFill>
          <a:blip r:embed="rId1" cstate="print">
            <a:extLst>
              <a:ext uri="{28A0092B-C50C-407E-A947-70E740481C1C}">
                <a14:useLocalDpi xmlns:a14="http://schemas.microsoft.com/office/drawing/2010/main" val="0"/>
              </a:ext>
            </a:extLst>
          </a:blip>
          <a:srcRect t="22176" b="22176"/>
          <a:stretch>
            <a:fillRect/>
          </a:stretch>
        </p:blipFill>
        <p:spPr/>
      </p:pic>
      <p:sp>
        <p:nvSpPr>
          <p:cNvPr id="28" name="Rectangle 27"/>
          <p:cNvSpPr/>
          <p:nvPr/>
        </p:nvSpPr>
        <p:spPr>
          <a:xfrm>
            <a:off x="-904" y="1715801"/>
            <a:ext cx="9144000" cy="2862035"/>
          </a:xfrm>
          <a:custGeom>
            <a:avLst/>
            <a:gdLst>
              <a:gd name="connsiteX0" fmla="*/ 0 w 12192000"/>
              <a:gd name="connsiteY0" fmla="*/ 0 h 4589335"/>
              <a:gd name="connsiteX1" fmla="*/ 12192000 w 12192000"/>
              <a:gd name="connsiteY1" fmla="*/ 0 h 4589335"/>
              <a:gd name="connsiteX2" fmla="*/ 12192000 w 12192000"/>
              <a:gd name="connsiteY2" fmla="*/ 4589335 h 4589335"/>
              <a:gd name="connsiteX3" fmla="*/ 0 w 12192000"/>
              <a:gd name="connsiteY3" fmla="*/ 4589335 h 4589335"/>
              <a:gd name="connsiteX4" fmla="*/ 0 w 12192000"/>
              <a:gd name="connsiteY4" fmla="*/ 0 h 4589335"/>
              <a:gd name="connsiteX0-1" fmla="*/ 0 w 12192000"/>
              <a:gd name="connsiteY0-2" fmla="*/ 0 h 4589335"/>
              <a:gd name="connsiteX1-3" fmla="*/ 9674578 w 12192000"/>
              <a:gd name="connsiteY1-4" fmla="*/ 403 h 4589335"/>
              <a:gd name="connsiteX2-5" fmla="*/ 12192000 w 12192000"/>
              <a:gd name="connsiteY2-6" fmla="*/ 0 h 4589335"/>
              <a:gd name="connsiteX3-7" fmla="*/ 12192000 w 12192000"/>
              <a:gd name="connsiteY3-8" fmla="*/ 4589335 h 4589335"/>
              <a:gd name="connsiteX4-9" fmla="*/ 0 w 12192000"/>
              <a:gd name="connsiteY4-10" fmla="*/ 4589335 h 4589335"/>
              <a:gd name="connsiteX5" fmla="*/ 0 w 12192000"/>
              <a:gd name="connsiteY5" fmla="*/ 0 h 4589335"/>
              <a:gd name="connsiteX0-11" fmla="*/ 0 w 12192000"/>
              <a:gd name="connsiteY0-12" fmla="*/ 0 h 4589335"/>
              <a:gd name="connsiteX1-13" fmla="*/ 9877778 w 12192000"/>
              <a:gd name="connsiteY1-14" fmla="*/ 1806625 h 4589335"/>
              <a:gd name="connsiteX2-15" fmla="*/ 12192000 w 12192000"/>
              <a:gd name="connsiteY2-16" fmla="*/ 0 h 4589335"/>
              <a:gd name="connsiteX3-17" fmla="*/ 12192000 w 12192000"/>
              <a:gd name="connsiteY3-18" fmla="*/ 4589335 h 4589335"/>
              <a:gd name="connsiteX4-19" fmla="*/ 0 w 12192000"/>
              <a:gd name="connsiteY4-20" fmla="*/ 4589335 h 4589335"/>
              <a:gd name="connsiteX5-21" fmla="*/ 0 w 12192000"/>
              <a:gd name="connsiteY5-22" fmla="*/ 0 h 4589335"/>
              <a:gd name="connsiteX0-23" fmla="*/ 0 w 12192000"/>
              <a:gd name="connsiteY0-24" fmla="*/ 0 h 4589335"/>
              <a:gd name="connsiteX1-25" fmla="*/ 10103556 w 12192000"/>
              <a:gd name="connsiteY1-26" fmla="*/ 880936 h 4589335"/>
              <a:gd name="connsiteX2-27" fmla="*/ 12192000 w 12192000"/>
              <a:gd name="connsiteY2-28" fmla="*/ 0 h 4589335"/>
              <a:gd name="connsiteX3-29" fmla="*/ 12192000 w 12192000"/>
              <a:gd name="connsiteY3-30" fmla="*/ 4589335 h 4589335"/>
              <a:gd name="connsiteX4-31" fmla="*/ 0 w 12192000"/>
              <a:gd name="connsiteY4-32" fmla="*/ 4589335 h 4589335"/>
              <a:gd name="connsiteX5-33" fmla="*/ 0 w 12192000"/>
              <a:gd name="connsiteY5-34" fmla="*/ 0 h 4589335"/>
              <a:gd name="connsiteX0-35" fmla="*/ 0 w 12192000"/>
              <a:gd name="connsiteY0-36" fmla="*/ 0 h 4589335"/>
              <a:gd name="connsiteX1-37" fmla="*/ 8319911 w 12192000"/>
              <a:gd name="connsiteY1-38" fmla="*/ 734180 h 4589335"/>
              <a:gd name="connsiteX2-39" fmla="*/ 10103556 w 12192000"/>
              <a:gd name="connsiteY2-40" fmla="*/ 880936 h 4589335"/>
              <a:gd name="connsiteX3-41" fmla="*/ 12192000 w 12192000"/>
              <a:gd name="connsiteY3-42" fmla="*/ 0 h 4589335"/>
              <a:gd name="connsiteX4-43" fmla="*/ 12192000 w 12192000"/>
              <a:gd name="connsiteY4-44" fmla="*/ 4589335 h 4589335"/>
              <a:gd name="connsiteX5-45" fmla="*/ 0 w 12192000"/>
              <a:gd name="connsiteY5-46" fmla="*/ 4589335 h 4589335"/>
              <a:gd name="connsiteX6" fmla="*/ 0 w 12192000"/>
              <a:gd name="connsiteY6" fmla="*/ 0 h 4589335"/>
              <a:gd name="connsiteX0-47" fmla="*/ 0 w 12192000"/>
              <a:gd name="connsiteY0-48" fmla="*/ 0 h 4589335"/>
              <a:gd name="connsiteX1-49" fmla="*/ 7947378 w 12192000"/>
              <a:gd name="connsiteY1-50" fmla="*/ 1761469 h 4589335"/>
              <a:gd name="connsiteX2-51" fmla="*/ 10103556 w 12192000"/>
              <a:gd name="connsiteY2-52" fmla="*/ 880936 h 4589335"/>
              <a:gd name="connsiteX3-53" fmla="*/ 12192000 w 12192000"/>
              <a:gd name="connsiteY3-54" fmla="*/ 0 h 4589335"/>
              <a:gd name="connsiteX4-55" fmla="*/ 12192000 w 12192000"/>
              <a:gd name="connsiteY4-56" fmla="*/ 4589335 h 4589335"/>
              <a:gd name="connsiteX5-57" fmla="*/ 0 w 12192000"/>
              <a:gd name="connsiteY5-58" fmla="*/ 4589335 h 4589335"/>
              <a:gd name="connsiteX6-59" fmla="*/ 0 w 12192000"/>
              <a:gd name="connsiteY6-60" fmla="*/ 0 h 4589335"/>
              <a:gd name="connsiteX0-61" fmla="*/ 0 w 12192000"/>
              <a:gd name="connsiteY0-62" fmla="*/ 0 h 4589335"/>
              <a:gd name="connsiteX1-63" fmla="*/ 8229600 w 12192000"/>
              <a:gd name="connsiteY1-64" fmla="*/ 1140580 h 4589335"/>
              <a:gd name="connsiteX2-65" fmla="*/ 10103556 w 12192000"/>
              <a:gd name="connsiteY2-66" fmla="*/ 880936 h 4589335"/>
              <a:gd name="connsiteX3-67" fmla="*/ 12192000 w 12192000"/>
              <a:gd name="connsiteY3-68" fmla="*/ 0 h 4589335"/>
              <a:gd name="connsiteX4-69" fmla="*/ 12192000 w 12192000"/>
              <a:gd name="connsiteY4-70" fmla="*/ 4589335 h 4589335"/>
              <a:gd name="connsiteX5-71" fmla="*/ 0 w 12192000"/>
              <a:gd name="connsiteY5-72" fmla="*/ 4589335 h 4589335"/>
              <a:gd name="connsiteX6-73" fmla="*/ 0 w 12192000"/>
              <a:gd name="connsiteY6-74" fmla="*/ 0 h 4589335"/>
              <a:gd name="connsiteX0-75" fmla="*/ 0 w 12192000"/>
              <a:gd name="connsiteY0-76" fmla="*/ 0 h 4589335"/>
              <a:gd name="connsiteX1-77" fmla="*/ 6028267 w 12192000"/>
              <a:gd name="connsiteY1-78" fmla="*/ 824492 h 4589335"/>
              <a:gd name="connsiteX2-79" fmla="*/ 8229600 w 12192000"/>
              <a:gd name="connsiteY2-80" fmla="*/ 1140580 h 4589335"/>
              <a:gd name="connsiteX3-81" fmla="*/ 10103556 w 12192000"/>
              <a:gd name="connsiteY3-82" fmla="*/ 880936 h 4589335"/>
              <a:gd name="connsiteX4-83" fmla="*/ 12192000 w 12192000"/>
              <a:gd name="connsiteY4-84" fmla="*/ 0 h 4589335"/>
              <a:gd name="connsiteX5-85" fmla="*/ 12192000 w 12192000"/>
              <a:gd name="connsiteY5-86" fmla="*/ 4589335 h 4589335"/>
              <a:gd name="connsiteX6-87" fmla="*/ 0 w 12192000"/>
              <a:gd name="connsiteY6-88" fmla="*/ 4589335 h 4589335"/>
              <a:gd name="connsiteX7" fmla="*/ 0 w 12192000"/>
              <a:gd name="connsiteY7" fmla="*/ 0 h 4589335"/>
              <a:gd name="connsiteX0-89" fmla="*/ 0 w 12192000"/>
              <a:gd name="connsiteY0-90" fmla="*/ 0 h 4589335"/>
              <a:gd name="connsiteX1-91" fmla="*/ 6028267 w 12192000"/>
              <a:gd name="connsiteY1-92" fmla="*/ 474536 h 4589335"/>
              <a:gd name="connsiteX2-93" fmla="*/ 8229600 w 12192000"/>
              <a:gd name="connsiteY2-94" fmla="*/ 1140580 h 4589335"/>
              <a:gd name="connsiteX3-95" fmla="*/ 10103556 w 12192000"/>
              <a:gd name="connsiteY3-96" fmla="*/ 880936 h 4589335"/>
              <a:gd name="connsiteX4-97" fmla="*/ 12192000 w 12192000"/>
              <a:gd name="connsiteY4-98" fmla="*/ 0 h 4589335"/>
              <a:gd name="connsiteX5-99" fmla="*/ 12192000 w 12192000"/>
              <a:gd name="connsiteY5-100" fmla="*/ 4589335 h 4589335"/>
              <a:gd name="connsiteX6-101" fmla="*/ 0 w 12192000"/>
              <a:gd name="connsiteY6-102" fmla="*/ 4589335 h 4589335"/>
              <a:gd name="connsiteX7-103" fmla="*/ 0 w 12192000"/>
              <a:gd name="connsiteY7-104" fmla="*/ 0 h 4589335"/>
              <a:gd name="connsiteX0-105" fmla="*/ 0 w 12192000"/>
              <a:gd name="connsiteY0-106" fmla="*/ 0 h 4589335"/>
              <a:gd name="connsiteX1-107" fmla="*/ 4357511 w 12192000"/>
              <a:gd name="connsiteY1-108" fmla="*/ 350358 h 4589335"/>
              <a:gd name="connsiteX2-109" fmla="*/ 6028267 w 12192000"/>
              <a:gd name="connsiteY2-110" fmla="*/ 474536 h 4589335"/>
              <a:gd name="connsiteX3-111" fmla="*/ 8229600 w 12192000"/>
              <a:gd name="connsiteY3-112" fmla="*/ 1140580 h 4589335"/>
              <a:gd name="connsiteX4-113" fmla="*/ 10103556 w 12192000"/>
              <a:gd name="connsiteY4-114" fmla="*/ 880936 h 4589335"/>
              <a:gd name="connsiteX5-115" fmla="*/ 12192000 w 12192000"/>
              <a:gd name="connsiteY5-116" fmla="*/ 0 h 4589335"/>
              <a:gd name="connsiteX6-117" fmla="*/ 12192000 w 12192000"/>
              <a:gd name="connsiteY6-118" fmla="*/ 4589335 h 4589335"/>
              <a:gd name="connsiteX7-119" fmla="*/ 0 w 12192000"/>
              <a:gd name="connsiteY7-120" fmla="*/ 4589335 h 4589335"/>
              <a:gd name="connsiteX8" fmla="*/ 0 w 12192000"/>
              <a:gd name="connsiteY8" fmla="*/ 0 h 4589335"/>
              <a:gd name="connsiteX0-121" fmla="*/ 0 w 12192000"/>
              <a:gd name="connsiteY0-122" fmla="*/ 0 h 4589335"/>
              <a:gd name="connsiteX1-123" fmla="*/ 3488267 w 12192000"/>
              <a:gd name="connsiteY1-124" fmla="*/ 1659869 h 4589335"/>
              <a:gd name="connsiteX2-125" fmla="*/ 6028267 w 12192000"/>
              <a:gd name="connsiteY2-126" fmla="*/ 474536 h 4589335"/>
              <a:gd name="connsiteX3-127" fmla="*/ 8229600 w 12192000"/>
              <a:gd name="connsiteY3-128" fmla="*/ 1140580 h 4589335"/>
              <a:gd name="connsiteX4-129" fmla="*/ 10103556 w 12192000"/>
              <a:gd name="connsiteY4-130" fmla="*/ 880936 h 4589335"/>
              <a:gd name="connsiteX5-131" fmla="*/ 12192000 w 12192000"/>
              <a:gd name="connsiteY5-132" fmla="*/ 0 h 4589335"/>
              <a:gd name="connsiteX6-133" fmla="*/ 12192000 w 12192000"/>
              <a:gd name="connsiteY6-134" fmla="*/ 4589335 h 4589335"/>
              <a:gd name="connsiteX7-135" fmla="*/ 0 w 12192000"/>
              <a:gd name="connsiteY7-136" fmla="*/ 4589335 h 4589335"/>
              <a:gd name="connsiteX8-137" fmla="*/ 0 w 12192000"/>
              <a:gd name="connsiteY8-138" fmla="*/ 0 h 4589335"/>
              <a:gd name="connsiteX0-139" fmla="*/ 0 w 12192000"/>
              <a:gd name="connsiteY0-140" fmla="*/ 0 h 4589335"/>
              <a:gd name="connsiteX1-141" fmla="*/ 3702756 w 12192000"/>
              <a:gd name="connsiteY1-142" fmla="*/ 1140580 h 4589335"/>
              <a:gd name="connsiteX2-143" fmla="*/ 6028267 w 12192000"/>
              <a:gd name="connsiteY2-144" fmla="*/ 474536 h 4589335"/>
              <a:gd name="connsiteX3-145" fmla="*/ 8229600 w 12192000"/>
              <a:gd name="connsiteY3-146" fmla="*/ 1140580 h 4589335"/>
              <a:gd name="connsiteX4-147" fmla="*/ 10103556 w 12192000"/>
              <a:gd name="connsiteY4-148" fmla="*/ 880936 h 4589335"/>
              <a:gd name="connsiteX5-149" fmla="*/ 12192000 w 12192000"/>
              <a:gd name="connsiteY5-150" fmla="*/ 0 h 4589335"/>
              <a:gd name="connsiteX6-151" fmla="*/ 12192000 w 12192000"/>
              <a:gd name="connsiteY6-152" fmla="*/ 4589335 h 4589335"/>
              <a:gd name="connsiteX7-153" fmla="*/ 0 w 12192000"/>
              <a:gd name="connsiteY7-154" fmla="*/ 4589335 h 4589335"/>
              <a:gd name="connsiteX8-155" fmla="*/ 0 w 12192000"/>
              <a:gd name="connsiteY8-156" fmla="*/ 0 h 4589335"/>
              <a:gd name="connsiteX0-157" fmla="*/ 0 w 12192000"/>
              <a:gd name="connsiteY0-158" fmla="*/ 0 h 4589335"/>
              <a:gd name="connsiteX1-159" fmla="*/ 1862667 w 12192000"/>
              <a:gd name="connsiteY1-160" fmla="*/ 553558 h 4589335"/>
              <a:gd name="connsiteX2-161" fmla="*/ 3702756 w 12192000"/>
              <a:gd name="connsiteY2-162" fmla="*/ 1140580 h 4589335"/>
              <a:gd name="connsiteX3-163" fmla="*/ 6028267 w 12192000"/>
              <a:gd name="connsiteY3-164" fmla="*/ 474536 h 4589335"/>
              <a:gd name="connsiteX4-165" fmla="*/ 8229600 w 12192000"/>
              <a:gd name="connsiteY4-166" fmla="*/ 1140580 h 4589335"/>
              <a:gd name="connsiteX5-167" fmla="*/ 10103556 w 12192000"/>
              <a:gd name="connsiteY5-168" fmla="*/ 880936 h 4589335"/>
              <a:gd name="connsiteX6-169" fmla="*/ 12192000 w 12192000"/>
              <a:gd name="connsiteY6-170" fmla="*/ 0 h 4589335"/>
              <a:gd name="connsiteX7-171" fmla="*/ 12192000 w 12192000"/>
              <a:gd name="connsiteY7-172" fmla="*/ 4589335 h 4589335"/>
              <a:gd name="connsiteX8-173" fmla="*/ 0 w 12192000"/>
              <a:gd name="connsiteY8-174" fmla="*/ 4589335 h 4589335"/>
              <a:gd name="connsiteX9" fmla="*/ 0 w 12192000"/>
              <a:gd name="connsiteY9" fmla="*/ 0 h 4589335"/>
              <a:gd name="connsiteX0-175" fmla="*/ 0 w 12192000"/>
              <a:gd name="connsiteY0-176" fmla="*/ 0 h 4589335"/>
              <a:gd name="connsiteX1-177" fmla="*/ 1704622 w 12192000"/>
              <a:gd name="connsiteY1-178" fmla="*/ 1693736 h 4589335"/>
              <a:gd name="connsiteX2-179" fmla="*/ 3702756 w 12192000"/>
              <a:gd name="connsiteY2-180" fmla="*/ 1140580 h 4589335"/>
              <a:gd name="connsiteX3-181" fmla="*/ 6028267 w 12192000"/>
              <a:gd name="connsiteY3-182" fmla="*/ 474536 h 4589335"/>
              <a:gd name="connsiteX4-183" fmla="*/ 8229600 w 12192000"/>
              <a:gd name="connsiteY4-184" fmla="*/ 1140580 h 4589335"/>
              <a:gd name="connsiteX5-185" fmla="*/ 10103556 w 12192000"/>
              <a:gd name="connsiteY5-186" fmla="*/ 880936 h 4589335"/>
              <a:gd name="connsiteX6-187" fmla="*/ 12192000 w 12192000"/>
              <a:gd name="connsiteY6-188" fmla="*/ 0 h 4589335"/>
              <a:gd name="connsiteX7-189" fmla="*/ 12192000 w 12192000"/>
              <a:gd name="connsiteY7-190" fmla="*/ 4589335 h 4589335"/>
              <a:gd name="connsiteX8-191" fmla="*/ 0 w 12192000"/>
              <a:gd name="connsiteY8-192" fmla="*/ 4589335 h 4589335"/>
              <a:gd name="connsiteX9-193" fmla="*/ 0 w 12192000"/>
              <a:gd name="connsiteY9-194" fmla="*/ 0 h 4589335"/>
              <a:gd name="connsiteX0-195" fmla="*/ 0 w 12192000"/>
              <a:gd name="connsiteY0-196" fmla="*/ 0 h 4589335"/>
              <a:gd name="connsiteX1-197" fmla="*/ 1794933 w 12192000"/>
              <a:gd name="connsiteY1-198" fmla="*/ 1151869 h 4589335"/>
              <a:gd name="connsiteX2-199" fmla="*/ 3702756 w 12192000"/>
              <a:gd name="connsiteY2-200" fmla="*/ 1140580 h 4589335"/>
              <a:gd name="connsiteX3-201" fmla="*/ 6028267 w 12192000"/>
              <a:gd name="connsiteY3-202" fmla="*/ 474536 h 4589335"/>
              <a:gd name="connsiteX4-203" fmla="*/ 8229600 w 12192000"/>
              <a:gd name="connsiteY4-204" fmla="*/ 1140580 h 4589335"/>
              <a:gd name="connsiteX5-205" fmla="*/ 10103556 w 12192000"/>
              <a:gd name="connsiteY5-206" fmla="*/ 880936 h 4589335"/>
              <a:gd name="connsiteX6-207" fmla="*/ 12192000 w 12192000"/>
              <a:gd name="connsiteY6-208" fmla="*/ 0 h 4589335"/>
              <a:gd name="connsiteX7-209" fmla="*/ 12192000 w 12192000"/>
              <a:gd name="connsiteY7-210" fmla="*/ 4589335 h 4589335"/>
              <a:gd name="connsiteX8-211" fmla="*/ 0 w 12192000"/>
              <a:gd name="connsiteY8-212" fmla="*/ 4589335 h 4589335"/>
              <a:gd name="connsiteX9-213" fmla="*/ 0 w 12192000"/>
              <a:gd name="connsiteY9-214" fmla="*/ 0 h 4589335"/>
              <a:gd name="connsiteX0-215" fmla="*/ 124178 w 12192000"/>
              <a:gd name="connsiteY0-216" fmla="*/ 1614311 h 4589335"/>
              <a:gd name="connsiteX1-217" fmla="*/ 1794933 w 12192000"/>
              <a:gd name="connsiteY1-218" fmla="*/ 1151869 h 4589335"/>
              <a:gd name="connsiteX2-219" fmla="*/ 3702756 w 12192000"/>
              <a:gd name="connsiteY2-220" fmla="*/ 1140580 h 4589335"/>
              <a:gd name="connsiteX3-221" fmla="*/ 6028267 w 12192000"/>
              <a:gd name="connsiteY3-222" fmla="*/ 474536 h 4589335"/>
              <a:gd name="connsiteX4-223" fmla="*/ 8229600 w 12192000"/>
              <a:gd name="connsiteY4-224" fmla="*/ 1140580 h 4589335"/>
              <a:gd name="connsiteX5-225" fmla="*/ 10103556 w 12192000"/>
              <a:gd name="connsiteY5-226" fmla="*/ 880936 h 4589335"/>
              <a:gd name="connsiteX6-227" fmla="*/ 12192000 w 12192000"/>
              <a:gd name="connsiteY6-228" fmla="*/ 0 h 4589335"/>
              <a:gd name="connsiteX7-229" fmla="*/ 12192000 w 12192000"/>
              <a:gd name="connsiteY7-230" fmla="*/ 4589335 h 4589335"/>
              <a:gd name="connsiteX8-231" fmla="*/ 0 w 12192000"/>
              <a:gd name="connsiteY8-232" fmla="*/ 4589335 h 4589335"/>
              <a:gd name="connsiteX9-233" fmla="*/ 124178 w 12192000"/>
              <a:gd name="connsiteY9-234" fmla="*/ 1614311 h 4589335"/>
              <a:gd name="connsiteX0-235" fmla="*/ 11289 w 12192000"/>
              <a:gd name="connsiteY0-236" fmla="*/ 1896533 h 4589335"/>
              <a:gd name="connsiteX1-237" fmla="*/ 1794933 w 12192000"/>
              <a:gd name="connsiteY1-238" fmla="*/ 1151869 h 4589335"/>
              <a:gd name="connsiteX2-239" fmla="*/ 3702756 w 12192000"/>
              <a:gd name="connsiteY2-240" fmla="*/ 1140580 h 4589335"/>
              <a:gd name="connsiteX3-241" fmla="*/ 6028267 w 12192000"/>
              <a:gd name="connsiteY3-242" fmla="*/ 474536 h 4589335"/>
              <a:gd name="connsiteX4-243" fmla="*/ 8229600 w 12192000"/>
              <a:gd name="connsiteY4-244" fmla="*/ 1140580 h 4589335"/>
              <a:gd name="connsiteX5-245" fmla="*/ 10103556 w 12192000"/>
              <a:gd name="connsiteY5-246" fmla="*/ 880936 h 4589335"/>
              <a:gd name="connsiteX6-247" fmla="*/ 12192000 w 12192000"/>
              <a:gd name="connsiteY6-248" fmla="*/ 0 h 4589335"/>
              <a:gd name="connsiteX7-249" fmla="*/ 12192000 w 12192000"/>
              <a:gd name="connsiteY7-250" fmla="*/ 4589335 h 4589335"/>
              <a:gd name="connsiteX8-251" fmla="*/ 0 w 12192000"/>
              <a:gd name="connsiteY8-252" fmla="*/ 4589335 h 4589335"/>
              <a:gd name="connsiteX9-253" fmla="*/ 11289 w 12192000"/>
              <a:gd name="connsiteY9-254" fmla="*/ 1896533 h 4589335"/>
              <a:gd name="connsiteX0-255" fmla="*/ 11289 w 12192000"/>
              <a:gd name="connsiteY0-256" fmla="*/ 1896533 h 4589335"/>
              <a:gd name="connsiteX1-257" fmla="*/ 1467555 w 12192000"/>
              <a:gd name="connsiteY1-258" fmla="*/ 1163158 h 4589335"/>
              <a:gd name="connsiteX2-259" fmla="*/ 3702756 w 12192000"/>
              <a:gd name="connsiteY2-260" fmla="*/ 1140580 h 4589335"/>
              <a:gd name="connsiteX3-261" fmla="*/ 6028267 w 12192000"/>
              <a:gd name="connsiteY3-262" fmla="*/ 474536 h 4589335"/>
              <a:gd name="connsiteX4-263" fmla="*/ 8229600 w 12192000"/>
              <a:gd name="connsiteY4-264" fmla="*/ 1140580 h 4589335"/>
              <a:gd name="connsiteX5-265" fmla="*/ 10103556 w 12192000"/>
              <a:gd name="connsiteY5-266" fmla="*/ 880936 h 4589335"/>
              <a:gd name="connsiteX6-267" fmla="*/ 12192000 w 12192000"/>
              <a:gd name="connsiteY6-268" fmla="*/ 0 h 4589335"/>
              <a:gd name="connsiteX7-269" fmla="*/ 12192000 w 12192000"/>
              <a:gd name="connsiteY7-270" fmla="*/ 4589335 h 4589335"/>
              <a:gd name="connsiteX8-271" fmla="*/ 0 w 12192000"/>
              <a:gd name="connsiteY8-272" fmla="*/ 4589335 h 4589335"/>
              <a:gd name="connsiteX9-273" fmla="*/ 11289 w 12192000"/>
              <a:gd name="connsiteY9-274" fmla="*/ 1896533 h 4589335"/>
              <a:gd name="connsiteX0-275" fmla="*/ 11289 w 12192000"/>
              <a:gd name="connsiteY0-276" fmla="*/ 1896533 h 4589335"/>
              <a:gd name="connsiteX1-277" fmla="*/ 1467555 w 12192000"/>
              <a:gd name="connsiteY1-278" fmla="*/ 1163158 h 4589335"/>
              <a:gd name="connsiteX2-279" fmla="*/ 3646311 w 12192000"/>
              <a:gd name="connsiteY2-280" fmla="*/ 1439262 h 4589335"/>
              <a:gd name="connsiteX3-281" fmla="*/ 6028267 w 12192000"/>
              <a:gd name="connsiteY3-282" fmla="*/ 474536 h 4589335"/>
              <a:gd name="connsiteX4-283" fmla="*/ 8229600 w 12192000"/>
              <a:gd name="connsiteY4-284" fmla="*/ 1140580 h 4589335"/>
              <a:gd name="connsiteX5-285" fmla="*/ 10103556 w 12192000"/>
              <a:gd name="connsiteY5-286" fmla="*/ 880936 h 4589335"/>
              <a:gd name="connsiteX6-287" fmla="*/ 12192000 w 12192000"/>
              <a:gd name="connsiteY6-288" fmla="*/ 0 h 4589335"/>
              <a:gd name="connsiteX7-289" fmla="*/ 12192000 w 12192000"/>
              <a:gd name="connsiteY7-290" fmla="*/ 4589335 h 4589335"/>
              <a:gd name="connsiteX8-291" fmla="*/ 0 w 12192000"/>
              <a:gd name="connsiteY8-292" fmla="*/ 4589335 h 4589335"/>
              <a:gd name="connsiteX9-293" fmla="*/ 11289 w 12192000"/>
              <a:gd name="connsiteY9-294" fmla="*/ 1896533 h 4589335"/>
              <a:gd name="connsiteX0-295" fmla="*/ 11289 w 12192000"/>
              <a:gd name="connsiteY0-296" fmla="*/ 1896533 h 4589335"/>
              <a:gd name="connsiteX1-297" fmla="*/ 1569155 w 12192000"/>
              <a:gd name="connsiteY1-298" fmla="*/ 1434688 h 4589335"/>
              <a:gd name="connsiteX2-299" fmla="*/ 3646311 w 12192000"/>
              <a:gd name="connsiteY2-300" fmla="*/ 1439262 h 4589335"/>
              <a:gd name="connsiteX3-301" fmla="*/ 6028267 w 12192000"/>
              <a:gd name="connsiteY3-302" fmla="*/ 474536 h 4589335"/>
              <a:gd name="connsiteX4-303" fmla="*/ 8229600 w 12192000"/>
              <a:gd name="connsiteY4-304" fmla="*/ 1140580 h 4589335"/>
              <a:gd name="connsiteX5-305" fmla="*/ 10103556 w 12192000"/>
              <a:gd name="connsiteY5-306" fmla="*/ 880936 h 4589335"/>
              <a:gd name="connsiteX6-307" fmla="*/ 12192000 w 12192000"/>
              <a:gd name="connsiteY6-308" fmla="*/ 0 h 4589335"/>
              <a:gd name="connsiteX7-309" fmla="*/ 12192000 w 12192000"/>
              <a:gd name="connsiteY7-310" fmla="*/ 4589335 h 4589335"/>
              <a:gd name="connsiteX8-311" fmla="*/ 0 w 12192000"/>
              <a:gd name="connsiteY8-312" fmla="*/ 4589335 h 4589335"/>
              <a:gd name="connsiteX9-313" fmla="*/ 11289 w 12192000"/>
              <a:gd name="connsiteY9-314" fmla="*/ 1896533 h 4589335"/>
              <a:gd name="connsiteX0-315" fmla="*/ 0 w 12192000"/>
              <a:gd name="connsiteY0-316" fmla="*/ 2290251 h 4589335"/>
              <a:gd name="connsiteX1-317" fmla="*/ 1569155 w 12192000"/>
              <a:gd name="connsiteY1-318" fmla="*/ 1434688 h 4589335"/>
              <a:gd name="connsiteX2-319" fmla="*/ 3646311 w 12192000"/>
              <a:gd name="connsiteY2-320" fmla="*/ 1439262 h 4589335"/>
              <a:gd name="connsiteX3-321" fmla="*/ 6028267 w 12192000"/>
              <a:gd name="connsiteY3-322" fmla="*/ 474536 h 4589335"/>
              <a:gd name="connsiteX4-323" fmla="*/ 8229600 w 12192000"/>
              <a:gd name="connsiteY4-324" fmla="*/ 1140580 h 4589335"/>
              <a:gd name="connsiteX5-325" fmla="*/ 10103556 w 12192000"/>
              <a:gd name="connsiteY5-326" fmla="*/ 880936 h 4589335"/>
              <a:gd name="connsiteX6-327" fmla="*/ 12192000 w 12192000"/>
              <a:gd name="connsiteY6-328" fmla="*/ 0 h 4589335"/>
              <a:gd name="connsiteX7-329" fmla="*/ 12192000 w 12192000"/>
              <a:gd name="connsiteY7-330" fmla="*/ 4589335 h 4589335"/>
              <a:gd name="connsiteX8-331" fmla="*/ 0 w 12192000"/>
              <a:gd name="connsiteY8-332" fmla="*/ 4589335 h 4589335"/>
              <a:gd name="connsiteX9-333" fmla="*/ 0 w 12192000"/>
              <a:gd name="connsiteY9-334" fmla="*/ 2290251 h 4589335"/>
              <a:gd name="connsiteX0-335" fmla="*/ 0 w 12192000"/>
              <a:gd name="connsiteY0-336" fmla="*/ 2290251 h 4589335"/>
              <a:gd name="connsiteX1-337" fmla="*/ 1569155 w 12192000"/>
              <a:gd name="connsiteY1-338" fmla="*/ 1434688 h 4589335"/>
              <a:gd name="connsiteX2-339" fmla="*/ 3646311 w 12192000"/>
              <a:gd name="connsiteY2-340" fmla="*/ 1439262 h 4589335"/>
              <a:gd name="connsiteX3-341" fmla="*/ 5926667 w 12192000"/>
              <a:gd name="connsiteY3-342" fmla="*/ 786794 h 4589335"/>
              <a:gd name="connsiteX4-343" fmla="*/ 8229600 w 12192000"/>
              <a:gd name="connsiteY4-344" fmla="*/ 1140580 h 4589335"/>
              <a:gd name="connsiteX5-345" fmla="*/ 10103556 w 12192000"/>
              <a:gd name="connsiteY5-346" fmla="*/ 880936 h 4589335"/>
              <a:gd name="connsiteX6-347" fmla="*/ 12192000 w 12192000"/>
              <a:gd name="connsiteY6-348" fmla="*/ 0 h 4589335"/>
              <a:gd name="connsiteX7-349" fmla="*/ 12192000 w 12192000"/>
              <a:gd name="connsiteY7-350" fmla="*/ 4589335 h 4589335"/>
              <a:gd name="connsiteX8-351" fmla="*/ 0 w 12192000"/>
              <a:gd name="connsiteY8-352" fmla="*/ 4589335 h 4589335"/>
              <a:gd name="connsiteX9-353" fmla="*/ 0 w 12192000"/>
              <a:gd name="connsiteY9-354" fmla="*/ 2290251 h 458933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59" y="connsiteY6-60"/>
              </a:cxn>
              <a:cxn ang="0">
                <a:pos x="connsiteX7-103" y="connsiteY7-104"/>
              </a:cxn>
              <a:cxn ang="0">
                <a:pos x="connsiteX8-137" y="connsiteY8-138"/>
              </a:cxn>
              <a:cxn ang="0">
                <a:pos x="connsiteX9-193" y="connsiteY9-194"/>
              </a:cxn>
            </a:cxnLst>
            <a:rect l="l" t="t" r="r" b="b"/>
            <a:pathLst>
              <a:path w="12192000" h="4589335">
                <a:moveTo>
                  <a:pt x="0" y="2290251"/>
                </a:moveTo>
                <a:lnTo>
                  <a:pt x="1569155" y="1434688"/>
                </a:lnTo>
                <a:lnTo>
                  <a:pt x="3646311" y="1439262"/>
                </a:lnTo>
                <a:lnTo>
                  <a:pt x="5926667" y="786794"/>
                </a:lnTo>
                <a:lnTo>
                  <a:pt x="8229600" y="1140580"/>
                </a:lnTo>
                <a:lnTo>
                  <a:pt x="10103556" y="880936"/>
                </a:lnTo>
                <a:lnTo>
                  <a:pt x="12192000" y="0"/>
                </a:lnTo>
                <a:lnTo>
                  <a:pt x="12192000" y="4589335"/>
                </a:lnTo>
                <a:lnTo>
                  <a:pt x="0" y="4589335"/>
                </a:lnTo>
                <a:lnTo>
                  <a:pt x="0" y="2290251"/>
                </a:lnTo>
                <a:close/>
              </a:path>
            </a:pathLst>
          </a:custGeom>
          <a:solidFill>
            <a:srgbClr val="548235">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5" name="Freeform 24"/>
          <p:cNvSpPr/>
          <p:nvPr/>
        </p:nvSpPr>
        <p:spPr>
          <a:xfrm>
            <a:off x="0" y="1701801"/>
            <a:ext cx="9144000" cy="1413933"/>
          </a:xfrm>
          <a:custGeom>
            <a:avLst/>
            <a:gdLst>
              <a:gd name="connsiteX0" fmla="*/ 12192000 w 12192000"/>
              <a:gd name="connsiteY0" fmla="*/ 0 h 1162755"/>
              <a:gd name="connsiteX1" fmla="*/ 9922933 w 12192000"/>
              <a:gd name="connsiteY1" fmla="*/ 948266 h 1162755"/>
              <a:gd name="connsiteX2" fmla="*/ 8003822 w 12192000"/>
              <a:gd name="connsiteY2" fmla="*/ 1128889 h 1162755"/>
              <a:gd name="connsiteX3" fmla="*/ 6016978 w 12192000"/>
              <a:gd name="connsiteY3" fmla="*/ 428977 h 1162755"/>
              <a:gd name="connsiteX4" fmla="*/ 3578578 w 12192000"/>
              <a:gd name="connsiteY4" fmla="*/ 1162755 h 1162755"/>
              <a:gd name="connsiteX5" fmla="*/ 1659467 w 12192000"/>
              <a:gd name="connsiteY5" fmla="*/ 1117600 h 1162755"/>
              <a:gd name="connsiteX6" fmla="*/ 0 w 12192000"/>
              <a:gd name="connsiteY6" fmla="*/ 112889 h 1162755"/>
              <a:gd name="connsiteX0-1" fmla="*/ 12192000 w 12192000"/>
              <a:gd name="connsiteY0-2" fmla="*/ 0 h 1885244"/>
              <a:gd name="connsiteX1-3" fmla="*/ 9922933 w 12192000"/>
              <a:gd name="connsiteY1-4" fmla="*/ 948266 h 1885244"/>
              <a:gd name="connsiteX2-5" fmla="*/ 8003822 w 12192000"/>
              <a:gd name="connsiteY2-6" fmla="*/ 1128889 h 1885244"/>
              <a:gd name="connsiteX3-7" fmla="*/ 6016978 w 12192000"/>
              <a:gd name="connsiteY3-8" fmla="*/ 428977 h 1885244"/>
              <a:gd name="connsiteX4-9" fmla="*/ 3578578 w 12192000"/>
              <a:gd name="connsiteY4-10" fmla="*/ 1162755 h 1885244"/>
              <a:gd name="connsiteX5-11" fmla="*/ 1659467 w 12192000"/>
              <a:gd name="connsiteY5-12" fmla="*/ 1117600 h 1885244"/>
              <a:gd name="connsiteX6-13" fmla="*/ 0 w 12192000"/>
              <a:gd name="connsiteY6-14" fmla="*/ 1885244 h 1885244"/>
              <a:gd name="connsiteX0-15" fmla="*/ 12192000 w 12192000"/>
              <a:gd name="connsiteY0-16" fmla="*/ 0 h 1885244"/>
              <a:gd name="connsiteX1-17" fmla="*/ 9922933 w 12192000"/>
              <a:gd name="connsiteY1-18" fmla="*/ 948266 h 1885244"/>
              <a:gd name="connsiteX2-19" fmla="*/ 8003822 w 12192000"/>
              <a:gd name="connsiteY2-20" fmla="*/ 1128889 h 1885244"/>
              <a:gd name="connsiteX3-21" fmla="*/ 6016978 w 12192000"/>
              <a:gd name="connsiteY3-22" fmla="*/ 428977 h 1885244"/>
              <a:gd name="connsiteX4-23" fmla="*/ 3578578 w 12192000"/>
              <a:gd name="connsiteY4-24" fmla="*/ 1162755 h 1885244"/>
              <a:gd name="connsiteX5-25" fmla="*/ 1501422 w 12192000"/>
              <a:gd name="connsiteY5-26" fmla="*/ 1117600 h 1885244"/>
              <a:gd name="connsiteX6-27" fmla="*/ 0 w 12192000"/>
              <a:gd name="connsiteY6-28" fmla="*/ 1885244 h 1885244"/>
              <a:gd name="connsiteX0-29" fmla="*/ 12192000 w 12192000"/>
              <a:gd name="connsiteY0-30" fmla="*/ 0 h 1885244"/>
              <a:gd name="connsiteX1-31" fmla="*/ 9922933 w 12192000"/>
              <a:gd name="connsiteY1-32" fmla="*/ 948266 h 1885244"/>
              <a:gd name="connsiteX2-33" fmla="*/ 8003822 w 12192000"/>
              <a:gd name="connsiteY2-34" fmla="*/ 1128889 h 1885244"/>
              <a:gd name="connsiteX3-35" fmla="*/ 5881511 w 12192000"/>
              <a:gd name="connsiteY3-36" fmla="*/ 349955 h 1885244"/>
              <a:gd name="connsiteX4-37" fmla="*/ 3578578 w 12192000"/>
              <a:gd name="connsiteY4-38" fmla="*/ 1162755 h 1885244"/>
              <a:gd name="connsiteX5-39" fmla="*/ 1501422 w 12192000"/>
              <a:gd name="connsiteY5-40" fmla="*/ 1117600 h 1885244"/>
              <a:gd name="connsiteX6-41" fmla="*/ 0 w 12192000"/>
              <a:gd name="connsiteY6-42" fmla="*/ 1885244 h 1885244"/>
              <a:gd name="connsiteX0-43" fmla="*/ 12192000 w 12192000"/>
              <a:gd name="connsiteY0-44" fmla="*/ 0 h 1885244"/>
              <a:gd name="connsiteX1-45" fmla="*/ 9922933 w 12192000"/>
              <a:gd name="connsiteY1-46" fmla="*/ 948266 h 1885244"/>
              <a:gd name="connsiteX2-47" fmla="*/ 9053689 w 12192000"/>
              <a:gd name="connsiteY2-48" fmla="*/ 1027288 h 1885244"/>
              <a:gd name="connsiteX3-49" fmla="*/ 8003822 w 12192000"/>
              <a:gd name="connsiteY3-50" fmla="*/ 1128889 h 1885244"/>
              <a:gd name="connsiteX4-51" fmla="*/ 5881511 w 12192000"/>
              <a:gd name="connsiteY4-52" fmla="*/ 349955 h 1885244"/>
              <a:gd name="connsiteX5-53" fmla="*/ 3578578 w 12192000"/>
              <a:gd name="connsiteY5-54" fmla="*/ 1162755 h 1885244"/>
              <a:gd name="connsiteX6-55" fmla="*/ 1501422 w 12192000"/>
              <a:gd name="connsiteY6-56" fmla="*/ 1117600 h 1885244"/>
              <a:gd name="connsiteX7" fmla="*/ 0 w 12192000"/>
              <a:gd name="connsiteY7" fmla="*/ 1885244 h 1885244"/>
              <a:gd name="connsiteX0-57" fmla="*/ 12192000 w 12192000"/>
              <a:gd name="connsiteY0-58" fmla="*/ 0 h 1885244"/>
              <a:gd name="connsiteX1-59" fmla="*/ 9922933 w 12192000"/>
              <a:gd name="connsiteY1-60" fmla="*/ 948266 h 1885244"/>
              <a:gd name="connsiteX2-61" fmla="*/ 9031111 w 12192000"/>
              <a:gd name="connsiteY2-62" fmla="*/ 496710 h 1885244"/>
              <a:gd name="connsiteX3-63" fmla="*/ 8003822 w 12192000"/>
              <a:gd name="connsiteY3-64" fmla="*/ 1128889 h 1885244"/>
              <a:gd name="connsiteX4-65" fmla="*/ 5881511 w 12192000"/>
              <a:gd name="connsiteY4-66" fmla="*/ 349955 h 1885244"/>
              <a:gd name="connsiteX5-67" fmla="*/ 3578578 w 12192000"/>
              <a:gd name="connsiteY5-68" fmla="*/ 1162755 h 1885244"/>
              <a:gd name="connsiteX6-69" fmla="*/ 1501422 w 12192000"/>
              <a:gd name="connsiteY6-70" fmla="*/ 1117600 h 1885244"/>
              <a:gd name="connsiteX7-71" fmla="*/ 0 w 12192000"/>
              <a:gd name="connsiteY7-72" fmla="*/ 1885244 h 1885244"/>
              <a:gd name="connsiteX0-73" fmla="*/ 12192000 w 12192000"/>
              <a:gd name="connsiteY0-74" fmla="*/ 0 h 2178754"/>
              <a:gd name="connsiteX1-75" fmla="*/ 9922933 w 12192000"/>
              <a:gd name="connsiteY1-76" fmla="*/ 948266 h 2178754"/>
              <a:gd name="connsiteX2-77" fmla="*/ 9098844 w 12192000"/>
              <a:gd name="connsiteY2-78" fmla="*/ 2178754 h 2178754"/>
              <a:gd name="connsiteX3-79" fmla="*/ 8003822 w 12192000"/>
              <a:gd name="connsiteY3-80" fmla="*/ 1128889 h 2178754"/>
              <a:gd name="connsiteX4-81" fmla="*/ 5881511 w 12192000"/>
              <a:gd name="connsiteY4-82" fmla="*/ 349955 h 2178754"/>
              <a:gd name="connsiteX5-83" fmla="*/ 3578578 w 12192000"/>
              <a:gd name="connsiteY5-84" fmla="*/ 1162755 h 2178754"/>
              <a:gd name="connsiteX6-85" fmla="*/ 1501422 w 12192000"/>
              <a:gd name="connsiteY6-86" fmla="*/ 1117600 h 2178754"/>
              <a:gd name="connsiteX7-87" fmla="*/ 0 w 12192000"/>
              <a:gd name="connsiteY7-88" fmla="*/ 1885244 h 2178754"/>
              <a:gd name="connsiteX0-89" fmla="*/ 12192000 w 12192000"/>
              <a:gd name="connsiteY0-90" fmla="*/ 0 h 1885244"/>
              <a:gd name="connsiteX1-91" fmla="*/ 9922933 w 12192000"/>
              <a:gd name="connsiteY1-92" fmla="*/ 948266 h 1885244"/>
              <a:gd name="connsiteX2-93" fmla="*/ 9110133 w 12192000"/>
              <a:gd name="connsiteY2-94" fmla="*/ 1523999 h 1885244"/>
              <a:gd name="connsiteX3-95" fmla="*/ 8003822 w 12192000"/>
              <a:gd name="connsiteY3-96" fmla="*/ 1128889 h 1885244"/>
              <a:gd name="connsiteX4-97" fmla="*/ 5881511 w 12192000"/>
              <a:gd name="connsiteY4-98" fmla="*/ 349955 h 1885244"/>
              <a:gd name="connsiteX5-99" fmla="*/ 3578578 w 12192000"/>
              <a:gd name="connsiteY5-100" fmla="*/ 1162755 h 1885244"/>
              <a:gd name="connsiteX6-101" fmla="*/ 1501422 w 12192000"/>
              <a:gd name="connsiteY6-102" fmla="*/ 1117600 h 1885244"/>
              <a:gd name="connsiteX7-103" fmla="*/ 0 w 12192000"/>
              <a:gd name="connsiteY7-104" fmla="*/ 1885244 h 1885244"/>
              <a:gd name="connsiteX0-105" fmla="*/ 12192000 w 12192000"/>
              <a:gd name="connsiteY0-106" fmla="*/ 0 h 1885244"/>
              <a:gd name="connsiteX1-107" fmla="*/ 10318045 w 12192000"/>
              <a:gd name="connsiteY1-108" fmla="*/ 869244 h 1885244"/>
              <a:gd name="connsiteX2-109" fmla="*/ 9110133 w 12192000"/>
              <a:gd name="connsiteY2-110" fmla="*/ 1523999 h 1885244"/>
              <a:gd name="connsiteX3-111" fmla="*/ 8003822 w 12192000"/>
              <a:gd name="connsiteY3-112" fmla="*/ 1128889 h 1885244"/>
              <a:gd name="connsiteX4-113" fmla="*/ 5881511 w 12192000"/>
              <a:gd name="connsiteY4-114" fmla="*/ 349955 h 1885244"/>
              <a:gd name="connsiteX5-115" fmla="*/ 3578578 w 12192000"/>
              <a:gd name="connsiteY5-116" fmla="*/ 1162755 h 1885244"/>
              <a:gd name="connsiteX6-117" fmla="*/ 1501422 w 12192000"/>
              <a:gd name="connsiteY6-118" fmla="*/ 1117600 h 1885244"/>
              <a:gd name="connsiteX7-119" fmla="*/ 0 w 12192000"/>
              <a:gd name="connsiteY7-120" fmla="*/ 1885244 h 188524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71" y="connsiteY7-72"/>
              </a:cxn>
            </a:cxnLst>
            <a:rect l="l" t="t" r="r" b="b"/>
            <a:pathLst>
              <a:path w="12192000" h="1885244">
                <a:moveTo>
                  <a:pt x="12192000" y="0"/>
                </a:moveTo>
                <a:lnTo>
                  <a:pt x="10318045" y="869244"/>
                </a:lnTo>
                <a:lnTo>
                  <a:pt x="9110133" y="1523999"/>
                </a:lnTo>
                <a:lnTo>
                  <a:pt x="8003822" y="1128889"/>
                </a:lnTo>
                <a:lnTo>
                  <a:pt x="5881511" y="349955"/>
                </a:lnTo>
                <a:lnTo>
                  <a:pt x="3578578" y="1162755"/>
                </a:lnTo>
                <a:lnTo>
                  <a:pt x="1501422" y="1117600"/>
                </a:lnTo>
                <a:lnTo>
                  <a:pt x="0" y="1885244"/>
                </a:lnTo>
              </a:path>
            </a:pathLst>
          </a:custGeom>
          <a:solidFill>
            <a:srgbClr val="548235"/>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3" name="Title 1"/>
          <p:cNvSpPr txBox="1"/>
          <p:nvPr/>
        </p:nvSpPr>
        <p:spPr>
          <a:xfrm>
            <a:off x="2939663" y="252108"/>
            <a:ext cx="3264674" cy="48474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2700" b="1" spc="-113" dirty="0">
                <a:solidFill>
                  <a:srgbClr val="548235"/>
                </a:solidFill>
                <a:latin typeface="Lato" panose="020F0502020204030203" pitchFamily="34" charset="0"/>
                <a:ea typeface="Open Sans" panose="020B0606030504020204" pitchFamily="34" charset="0"/>
                <a:cs typeface="Lato" panose="020F0502020204030203" pitchFamily="34" charset="0"/>
              </a:rPr>
              <a:t>Process</a:t>
            </a:r>
            <a:r>
              <a:rPr lang="en-US" sz="2700" b="1" spc="-113" dirty="0">
                <a:solidFill>
                  <a:schemeClr val="accent1"/>
                </a:solidFill>
                <a:latin typeface="Lato" panose="020F0502020204030203" pitchFamily="34" charset="0"/>
                <a:ea typeface="Open Sans" panose="020B0606030504020204" pitchFamily="34" charset="0"/>
                <a:cs typeface="Lato" panose="020F0502020204030203" pitchFamily="34" charset="0"/>
              </a:rPr>
              <a:t> </a:t>
            </a:r>
            <a:r>
              <a:rPr lang="en-US" sz="2700" spc="-113" dirty="0">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rPr>
              <a:t>Infographic </a:t>
            </a:r>
            <a:endParaRPr lang="en-US" sz="2700" spc="-113" dirty="0">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endParaRPr>
          </a:p>
        </p:txBody>
      </p:sp>
      <p:sp>
        <p:nvSpPr>
          <p:cNvPr id="4" name="Rectangle 3"/>
          <p:cNvSpPr/>
          <p:nvPr/>
        </p:nvSpPr>
        <p:spPr>
          <a:xfrm>
            <a:off x="3763496" y="736856"/>
            <a:ext cx="1617008" cy="219291"/>
          </a:xfrm>
          <a:prstGeom prst="rect">
            <a:avLst/>
          </a:prstGeom>
        </p:spPr>
        <p:txBody>
          <a:bodyPr wrap="square">
            <a:spAutoFit/>
          </a:bodyPr>
          <a:lstStyle/>
          <a:p>
            <a:pPr algn="ct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14" name="Shape 22757"/>
          <p:cNvSpPr/>
          <p:nvPr/>
        </p:nvSpPr>
        <p:spPr>
          <a:xfrm>
            <a:off x="796541" y="3587292"/>
            <a:ext cx="548778" cy="282961"/>
          </a:xfrm>
          <a:prstGeom prst="rect">
            <a:avLst/>
          </a:prstGeom>
          <a:ln w="12700">
            <a:miter lim="400000"/>
          </a:ln>
        </p:spPr>
        <p:txBody>
          <a:bodyPr lIns="19050" tIns="19050" rIns="19050" bIns="19050"/>
          <a:lstStyle>
            <a:lvl1pPr>
              <a:lnSpc>
                <a:spcPct val="110000"/>
              </a:lnSpc>
              <a:defRPr sz="4500" b="1">
                <a:solidFill>
                  <a:srgbClr val="0085AD"/>
                </a:solidFill>
                <a:latin typeface="Helvetica"/>
                <a:ea typeface="Helvetica"/>
                <a:cs typeface="Helvetica"/>
                <a:sym typeface="Helvetica"/>
              </a:defRPr>
            </a:lvl1pPr>
          </a:lstStyle>
          <a:p>
            <a:r>
              <a:rPr sz="1690" dirty="0">
                <a:solidFill>
                  <a:schemeClr val="bg1"/>
                </a:solidFill>
                <a:latin typeface="Lato" panose="020F0502020204030203" pitchFamily="34" charset="0"/>
                <a:cs typeface="Lato" panose="020F0502020204030203" pitchFamily="34" charset="0"/>
              </a:rPr>
              <a:t>365k</a:t>
            </a:r>
            <a:endParaRPr sz="1690" dirty="0">
              <a:solidFill>
                <a:schemeClr val="bg1"/>
              </a:solidFill>
              <a:latin typeface="Lato" panose="020F0502020204030203" pitchFamily="34" charset="0"/>
              <a:cs typeface="Lato" panose="020F0502020204030203" pitchFamily="34" charset="0"/>
            </a:endParaRPr>
          </a:p>
        </p:txBody>
      </p:sp>
      <p:sp>
        <p:nvSpPr>
          <p:cNvPr id="15" name="Shape 22758"/>
          <p:cNvSpPr/>
          <p:nvPr/>
        </p:nvSpPr>
        <p:spPr>
          <a:xfrm>
            <a:off x="796540" y="3883562"/>
            <a:ext cx="1164809" cy="384721"/>
          </a:xfrm>
          <a:prstGeom prst="rect">
            <a:avLst/>
          </a:prstGeom>
          <a:ln w="12700">
            <a:miter lim="400000"/>
          </a:ln>
        </p:spPr>
        <p:txBody>
          <a:bodyPr lIns="19050" tIns="19050" rIns="19050" bIns="19050">
            <a:spAutoFit/>
          </a:bodyPr>
          <a:lstStyle>
            <a:lvl1pPr>
              <a:lnSpc>
                <a:spcPct val="120000"/>
              </a:lnSpc>
              <a:defRPr sz="2000">
                <a:solidFill>
                  <a:srgbClr val="FFFFFF"/>
                </a:solidFill>
                <a:latin typeface="Helvetica"/>
                <a:ea typeface="Helvetica"/>
                <a:cs typeface="Helvetica"/>
                <a:sym typeface="Helvetica"/>
              </a:defRPr>
            </a:lvl1pPr>
          </a:lstStyle>
          <a:p>
            <a:pPr>
              <a:lnSpc>
                <a:spcPct val="100000"/>
              </a:lnSpc>
            </a:pPr>
            <a:r>
              <a:rPr sz="750" dirty="0">
                <a:solidFill>
                  <a:schemeClr val="bg1"/>
                </a:solidFill>
                <a:latin typeface="+mj-lt"/>
              </a:rPr>
              <a:t>Lorem Ipsum is simply dummy text of the printing and typesetting industry.</a:t>
            </a:r>
            <a:endParaRPr sz="750" dirty="0">
              <a:solidFill>
                <a:schemeClr val="bg1"/>
              </a:solidFill>
              <a:latin typeface="+mj-lt"/>
            </a:endParaRPr>
          </a:p>
        </p:txBody>
      </p:sp>
      <p:grpSp>
        <p:nvGrpSpPr>
          <p:cNvPr id="67" name="Group 66"/>
          <p:cNvGrpSpPr/>
          <p:nvPr/>
        </p:nvGrpSpPr>
        <p:grpSpPr>
          <a:xfrm>
            <a:off x="766581" y="2218219"/>
            <a:ext cx="786592" cy="1188326"/>
            <a:chOff x="911984" y="3259720"/>
            <a:chExt cx="1269035" cy="1917167"/>
          </a:xfrm>
          <a:solidFill>
            <a:srgbClr val="548235"/>
          </a:solidFill>
        </p:grpSpPr>
        <p:sp>
          <p:nvSpPr>
            <p:cNvPr id="8" name="Shape 22751"/>
            <p:cNvSpPr/>
            <p:nvPr/>
          </p:nvSpPr>
          <p:spPr>
            <a:xfrm flipV="1">
              <a:off x="1546501" y="3490536"/>
              <a:ext cx="1" cy="1517955"/>
            </a:xfrm>
            <a:prstGeom prst="line">
              <a:avLst/>
            </a:prstGeom>
            <a:grp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015"/>
            </a:p>
          </p:txBody>
        </p:sp>
        <p:sp>
          <p:nvSpPr>
            <p:cNvPr id="27" name="Shape 22769"/>
            <p:cNvSpPr/>
            <p:nvPr/>
          </p:nvSpPr>
          <p:spPr>
            <a:xfrm>
              <a:off x="911984" y="3259720"/>
              <a:ext cx="1269035" cy="1269035"/>
            </a:xfrm>
            <a:prstGeom prst="ellipse">
              <a:avLst/>
            </a:prstGeom>
            <a:grp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015"/>
            </a:p>
          </p:txBody>
        </p:sp>
        <p:sp>
          <p:nvSpPr>
            <p:cNvPr id="45" name="Shape 22787"/>
            <p:cNvSpPr/>
            <p:nvPr/>
          </p:nvSpPr>
          <p:spPr>
            <a:xfrm>
              <a:off x="1398170" y="4880225"/>
              <a:ext cx="296662" cy="296662"/>
            </a:xfrm>
            <a:prstGeom prst="ellipse">
              <a:avLst/>
            </a:prstGeom>
            <a:grp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015"/>
            </a:p>
          </p:txBody>
        </p:sp>
      </p:grpSp>
      <p:sp>
        <p:nvSpPr>
          <p:cNvPr id="30" name="Shape 22772"/>
          <p:cNvSpPr/>
          <p:nvPr/>
        </p:nvSpPr>
        <p:spPr>
          <a:xfrm>
            <a:off x="2233323" y="2047811"/>
            <a:ext cx="994153" cy="994153"/>
          </a:xfrm>
          <a:prstGeom prst="ellipse">
            <a:avLst/>
          </a:prstGeom>
          <a:solidFill>
            <a:srgbClr val="548235"/>
          </a:solid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015"/>
          </a:p>
        </p:txBody>
      </p:sp>
      <p:grpSp>
        <p:nvGrpSpPr>
          <p:cNvPr id="65" name="Group 64"/>
          <p:cNvGrpSpPr/>
          <p:nvPr/>
        </p:nvGrpSpPr>
        <p:grpSpPr>
          <a:xfrm>
            <a:off x="3781291" y="1376367"/>
            <a:ext cx="1331633" cy="2282207"/>
            <a:chOff x="4072666" y="1494927"/>
            <a:chExt cx="2148367" cy="3681960"/>
          </a:xfrm>
          <a:solidFill>
            <a:srgbClr val="548235"/>
          </a:solidFill>
        </p:grpSpPr>
        <p:sp>
          <p:nvSpPr>
            <p:cNvPr id="10" name="Shape 22753"/>
            <p:cNvSpPr/>
            <p:nvPr/>
          </p:nvSpPr>
          <p:spPr>
            <a:xfrm flipV="1">
              <a:off x="5146849" y="3076994"/>
              <a:ext cx="1" cy="1931497"/>
            </a:xfrm>
            <a:prstGeom prst="line">
              <a:avLst/>
            </a:prstGeom>
            <a:grp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015"/>
            </a:p>
          </p:txBody>
        </p:sp>
        <p:sp>
          <p:nvSpPr>
            <p:cNvPr id="33" name="Shape 22775"/>
            <p:cNvSpPr/>
            <p:nvPr/>
          </p:nvSpPr>
          <p:spPr>
            <a:xfrm>
              <a:off x="4072666" y="1494927"/>
              <a:ext cx="2148367" cy="2148367"/>
            </a:xfrm>
            <a:prstGeom prst="ellipse">
              <a:avLst/>
            </a:prstGeom>
            <a:grp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015"/>
            </a:p>
          </p:txBody>
        </p:sp>
        <p:sp>
          <p:nvSpPr>
            <p:cNvPr id="51" name="Shape 22793"/>
            <p:cNvSpPr/>
            <p:nvPr/>
          </p:nvSpPr>
          <p:spPr>
            <a:xfrm>
              <a:off x="4998518" y="4880225"/>
              <a:ext cx="296662" cy="296662"/>
            </a:xfrm>
            <a:prstGeom prst="ellipse">
              <a:avLst/>
            </a:prstGeom>
            <a:grp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015"/>
            </a:p>
          </p:txBody>
        </p:sp>
      </p:grpSp>
      <p:sp>
        <p:nvSpPr>
          <p:cNvPr id="36" name="Shape 22778"/>
          <p:cNvSpPr/>
          <p:nvPr/>
        </p:nvSpPr>
        <p:spPr>
          <a:xfrm>
            <a:off x="5730039" y="2219329"/>
            <a:ext cx="722897" cy="722897"/>
          </a:xfrm>
          <a:prstGeom prst="ellipse">
            <a:avLst/>
          </a:prstGeom>
          <a:solidFill>
            <a:srgbClr val="548235"/>
          </a:solid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015"/>
          </a:p>
        </p:txBody>
      </p:sp>
      <p:grpSp>
        <p:nvGrpSpPr>
          <p:cNvPr id="63" name="Group 62"/>
          <p:cNvGrpSpPr/>
          <p:nvPr/>
        </p:nvGrpSpPr>
        <p:grpSpPr>
          <a:xfrm>
            <a:off x="7047722" y="1874248"/>
            <a:ext cx="1118979" cy="1438676"/>
            <a:chOff x="7844556" y="2149844"/>
            <a:chExt cx="1805286" cy="2321064"/>
          </a:xfrm>
          <a:solidFill>
            <a:srgbClr val="548235"/>
          </a:solidFill>
        </p:grpSpPr>
        <p:sp>
          <p:nvSpPr>
            <p:cNvPr id="12" name="Shape 22755"/>
            <p:cNvSpPr/>
            <p:nvPr/>
          </p:nvSpPr>
          <p:spPr>
            <a:xfrm flipV="1">
              <a:off x="8747197" y="2371015"/>
              <a:ext cx="1" cy="1931497"/>
            </a:xfrm>
            <a:prstGeom prst="line">
              <a:avLst/>
            </a:prstGeom>
            <a:grp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015"/>
            </a:p>
          </p:txBody>
        </p:sp>
        <p:sp>
          <p:nvSpPr>
            <p:cNvPr id="39" name="Shape 22781"/>
            <p:cNvSpPr/>
            <p:nvPr/>
          </p:nvSpPr>
          <p:spPr>
            <a:xfrm>
              <a:off x="7844556" y="2149844"/>
              <a:ext cx="1805286" cy="1805286"/>
            </a:xfrm>
            <a:prstGeom prst="ellipse">
              <a:avLst/>
            </a:prstGeom>
            <a:grp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015"/>
            </a:p>
          </p:txBody>
        </p:sp>
        <p:sp>
          <p:nvSpPr>
            <p:cNvPr id="57" name="Shape 22799"/>
            <p:cNvSpPr/>
            <p:nvPr/>
          </p:nvSpPr>
          <p:spPr>
            <a:xfrm>
              <a:off x="8598866" y="4174246"/>
              <a:ext cx="296662" cy="296662"/>
            </a:xfrm>
            <a:prstGeom prst="ellipse">
              <a:avLst/>
            </a:prstGeom>
            <a:grpFill/>
            <a:ln>
              <a:solidFill>
                <a:schemeClr val="bg1"/>
              </a:solid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015"/>
            </a:p>
          </p:txBody>
        </p:sp>
      </p:grpSp>
      <p:sp>
        <p:nvSpPr>
          <p:cNvPr id="68" name="Freeform 125"/>
          <p:cNvSpPr>
            <a:spLocks noEditPoints="1"/>
          </p:cNvSpPr>
          <p:nvPr/>
        </p:nvSpPr>
        <p:spPr bwMode="auto">
          <a:xfrm>
            <a:off x="6017122" y="2415356"/>
            <a:ext cx="169998" cy="328470"/>
          </a:xfrm>
          <a:custGeom>
            <a:avLst/>
            <a:gdLst>
              <a:gd name="T0" fmla="*/ 220 w 473"/>
              <a:gd name="T1" fmla="*/ 269 h 909"/>
              <a:gd name="T2" fmla="*/ 253 w 473"/>
              <a:gd name="T3" fmla="*/ 134 h 909"/>
              <a:gd name="T4" fmla="*/ 473 w 473"/>
              <a:gd name="T5" fmla="*/ 235 h 909"/>
              <a:gd name="T6" fmla="*/ 471 w 473"/>
              <a:gd name="T7" fmla="*/ 211 h 909"/>
              <a:gd name="T8" fmla="*/ 467 w 473"/>
              <a:gd name="T9" fmla="*/ 188 h 909"/>
              <a:gd name="T10" fmla="*/ 462 w 473"/>
              <a:gd name="T11" fmla="*/ 165 h 909"/>
              <a:gd name="T12" fmla="*/ 454 w 473"/>
              <a:gd name="T13" fmla="*/ 143 h 909"/>
              <a:gd name="T14" fmla="*/ 444 w 473"/>
              <a:gd name="T15" fmla="*/ 123 h 909"/>
              <a:gd name="T16" fmla="*/ 433 w 473"/>
              <a:gd name="T17" fmla="*/ 103 h 909"/>
              <a:gd name="T18" fmla="*/ 419 w 473"/>
              <a:gd name="T19" fmla="*/ 85 h 909"/>
              <a:gd name="T20" fmla="*/ 403 w 473"/>
              <a:gd name="T21" fmla="*/ 69 h 909"/>
              <a:gd name="T22" fmla="*/ 386 w 473"/>
              <a:gd name="T23" fmla="*/ 53 h 909"/>
              <a:gd name="T24" fmla="*/ 369 w 473"/>
              <a:gd name="T25" fmla="*/ 40 h 909"/>
              <a:gd name="T26" fmla="*/ 349 w 473"/>
              <a:gd name="T27" fmla="*/ 28 h 909"/>
              <a:gd name="T28" fmla="*/ 328 w 473"/>
              <a:gd name="T29" fmla="*/ 18 h 909"/>
              <a:gd name="T30" fmla="*/ 306 w 473"/>
              <a:gd name="T31" fmla="*/ 9 h 909"/>
              <a:gd name="T32" fmla="*/ 283 w 473"/>
              <a:gd name="T33" fmla="*/ 4 h 909"/>
              <a:gd name="T34" fmla="*/ 261 w 473"/>
              <a:gd name="T35" fmla="*/ 1 h 909"/>
              <a:gd name="T36" fmla="*/ 236 w 473"/>
              <a:gd name="T37" fmla="*/ 0 h 909"/>
              <a:gd name="T38" fmla="*/ 212 w 473"/>
              <a:gd name="T39" fmla="*/ 1 h 909"/>
              <a:gd name="T40" fmla="*/ 188 w 473"/>
              <a:gd name="T41" fmla="*/ 4 h 909"/>
              <a:gd name="T42" fmla="*/ 166 w 473"/>
              <a:gd name="T43" fmla="*/ 9 h 909"/>
              <a:gd name="T44" fmla="*/ 144 w 473"/>
              <a:gd name="T45" fmla="*/ 18 h 909"/>
              <a:gd name="T46" fmla="*/ 124 w 473"/>
              <a:gd name="T47" fmla="*/ 28 h 909"/>
              <a:gd name="T48" fmla="*/ 104 w 473"/>
              <a:gd name="T49" fmla="*/ 40 h 909"/>
              <a:gd name="T50" fmla="*/ 86 w 473"/>
              <a:gd name="T51" fmla="*/ 53 h 909"/>
              <a:gd name="T52" fmla="*/ 70 w 473"/>
              <a:gd name="T53" fmla="*/ 69 h 909"/>
              <a:gd name="T54" fmla="*/ 54 w 473"/>
              <a:gd name="T55" fmla="*/ 85 h 909"/>
              <a:gd name="T56" fmla="*/ 40 w 473"/>
              <a:gd name="T57" fmla="*/ 103 h 909"/>
              <a:gd name="T58" fmla="*/ 29 w 473"/>
              <a:gd name="T59" fmla="*/ 123 h 909"/>
              <a:gd name="T60" fmla="*/ 19 w 473"/>
              <a:gd name="T61" fmla="*/ 143 h 909"/>
              <a:gd name="T62" fmla="*/ 11 w 473"/>
              <a:gd name="T63" fmla="*/ 165 h 909"/>
              <a:gd name="T64" fmla="*/ 5 w 473"/>
              <a:gd name="T65" fmla="*/ 188 h 909"/>
              <a:gd name="T66" fmla="*/ 2 w 473"/>
              <a:gd name="T67" fmla="*/ 211 h 909"/>
              <a:gd name="T68" fmla="*/ 0 w 473"/>
              <a:gd name="T69" fmla="*/ 235 h 909"/>
              <a:gd name="T70" fmla="*/ 3 w 473"/>
              <a:gd name="T71" fmla="*/ 272 h 909"/>
              <a:gd name="T72" fmla="*/ 11 w 473"/>
              <a:gd name="T73" fmla="*/ 308 h 909"/>
              <a:gd name="T74" fmla="*/ 25 w 473"/>
              <a:gd name="T75" fmla="*/ 340 h 909"/>
              <a:gd name="T76" fmla="*/ 43 w 473"/>
              <a:gd name="T77" fmla="*/ 370 h 909"/>
              <a:gd name="T78" fmla="*/ 65 w 473"/>
              <a:gd name="T79" fmla="*/ 397 h 909"/>
              <a:gd name="T80" fmla="*/ 90 w 473"/>
              <a:gd name="T81" fmla="*/ 421 h 909"/>
              <a:gd name="T82" fmla="*/ 119 w 473"/>
              <a:gd name="T83" fmla="*/ 440 h 909"/>
              <a:gd name="T84" fmla="*/ 152 w 473"/>
              <a:gd name="T85" fmla="*/ 456 h 909"/>
              <a:gd name="T86" fmla="*/ 320 w 473"/>
              <a:gd name="T87" fmla="*/ 909 h 909"/>
              <a:gd name="T88" fmla="*/ 371 w 473"/>
              <a:gd name="T89" fmla="*/ 741 h 909"/>
              <a:gd name="T90" fmla="*/ 320 w 473"/>
              <a:gd name="T91" fmla="*/ 624 h 909"/>
              <a:gd name="T92" fmla="*/ 321 w 473"/>
              <a:gd name="T93" fmla="*/ 456 h 909"/>
              <a:gd name="T94" fmla="*/ 354 w 473"/>
              <a:gd name="T95" fmla="*/ 440 h 909"/>
              <a:gd name="T96" fmla="*/ 382 w 473"/>
              <a:gd name="T97" fmla="*/ 421 h 909"/>
              <a:gd name="T98" fmla="*/ 408 w 473"/>
              <a:gd name="T99" fmla="*/ 397 h 909"/>
              <a:gd name="T100" fmla="*/ 430 w 473"/>
              <a:gd name="T101" fmla="*/ 370 h 909"/>
              <a:gd name="T102" fmla="*/ 448 w 473"/>
              <a:gd name="T103" fmla="*/ 340 h 909"/>
              <a:gd name="T104" fmla="*/ 462 w 473"/>
              <a:gd name="T105" fmla="*/ 308 h 909"/>
              <a:gd name="T106" fmla="*/ 469 w 473"/>
              <a:gd name="T107" fmla="*/ 272 h 909"/>
              <a:gd name="T108" fmla="*/ 473 w 473"/>
              <a:gd name="T109" fmla="*/ 235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3" h="909">
                <a:moveTo>
                  <a:pt x="253" y="269"/>
                </a:moveTo>
                <a:lnTo>
                  <a:pt x="220" y="269"/>
                </a:lnTo>
                <a:lnTo>
                  <a:pt x="220" y="134"/>
                </a:lnTo>
                <a:lnTo>
                  <a:pt x="253" y="134"/>
                </a:lnTo>
                <a:lnTo>
                  <a:pt x="253" y="269"/>
                </a:lnTo>
                <a:close/>
                <a:moveTo>
                  <a:pt x="473" y="235"/>
                </a:moveTo>
                <a:lnTo>
                  <a:pt x="473" y="223"/>
                </a:lnTo>
                <a:lnTo>
                  <a:pt x="471" y="211"/>
                </a:lnTo>
                <a:lnTo>
                  <a:pt x="469" y="200"/>
                </a:lnTo>
                <a:lnTo>
                  <a:pt x="467" y="188"/>
                </a:lnTo>
                <a:lnTo>
                  <a:pt x="465" y="176"/>
                </a:lnTo>
                <a:lnTo>
                  <a:pt x="462" y="165"/>
                </a:lnTo>
                <a:lnTo>
                  <a:pt x="458" y="154"/>
                </a:lnTo>
                <a:lnTo>
                  <a:pt x="454" y="143"/>
                </a:lnTo>
                <a:lnTo>
                  <a:pt x="449" y="133"/>
                </a:lnTo>
                <a:lnTo>
                  <a:pt x="444" y="123"/>
                </a:lnTo>
                <a:lnTo>
                  <a:pt x="438" y="113"/>
                </a:lnTo>
                <a:lnTo>
                  <a:pt x="433" y="103"/>
                </a:lnTo>
                <a:lnTo>
                  <a:pt x="426" y="94"/>
                </a:lnTo>
                <a:lnTo>
                  <a:pt x="419" y="85"/>
                </a:lnTo>
                <a:lnTo>
                  <a:pt x="411" y="76"/>
                </a:lnTo>
                <a:lnTo>
                  <a:pt x="403" y="69"/>
                </a:lnTo>
                <a:lnTo>
                  <a:pt x="395" y="60"/>
                </a:lnTo>
                <a:lnTo>
                  <a:pt x="386" y="53"/>
                </a:lnTo>
                <a:lnTo>
                  <a:pt x="377" y="46"/>
                </a:lnTo>
                <a:lnTo>
                  <a:pt x="369" y="40"/>
                </a:lnTo>
                <a:lnTo>
                  <a:pt x="359" y="33"/>
                </a:lnTo>
                <a:lnTo>
                  <a:pt x="349" y="28"/>
                </a:lnTo>
                <a:lnTo>
                  <a:pt x="339" y="22"/>
                </a:lnTo>
                <a:lnTo>
                  <a:pt x="328" y="18"/>
                </a:lnTo>
                <a:lnTo>
                  <a:pt x="318" y="14"/>
                </a:lnTo>
                <a:lnTo>
                  <a:pt x="306" y="9"/>
                </a:lnTo>
                <a:lnTo>
                  <a:pt x="295" y="6"/>
                </a:lnTo>
                <a:lnTo>
                  <a:pt x="283" y="4"/>
                </a:lnTo>
                <a:lnTo>
                  <a:pt x="273" y="2"/>
                </a:lnTo>
                <a:lnTo>
                  <a:pt x="261" y="1"/>
                </a:lnTo>
                <a:lnTo>
                  <a:pt x="249" y="0"/>
                </a:lnTo>
                <a:lnTo>
                  <a:pt x="236" y="0"/>
                </a:lnTo>
                <a:lnTo>
                  <a:pt x="224" y="0"/>
                </a:lnTo>
                <a:lnTo>
                  <a:pt x="212" y="1"/>
                </a:lnTo>
                <a:lnTo>
                  <a:pt x="200" y="2"/>
                </a:lnTo>
                <a:lnTo>
                  <a:pt x="188" y="4"/>
                </a:lnTo>
                <a:lnTo>
                  <a:pt x="178" y="6"/>
                </a:lnTo>
                <a:lnTo>
                  <a:pt x="166" y="9"/>
                </a:lnTo>
                <a:lnTo>
                  <a:pt x="155" y="14"/>
                </a:lnTo>
                <a:lnTo>
                  <a:pt x="144" y="18"/>
                </a:lnTo>
                <a:lnTo>
                  <a:pt x="134" y="22"/>
                </a:lnTo>
                <a:lnTo>
                  <a:pt x="124" y="28"/>
                </a:lnTo>
                <a:lnTo>
                  <a:pt x="114" y="33"/>
                </a:lnTo>
                <a:lnTo>
                  <a:pt x="104" y="40"/>
                </a:lnTo>
                <a:lnTo>
                  <a:pt x="96" y="46"/>
                </a:lnTo>
                <a:lnTo>
                  <a:pt x="86" y="53"/>
                </a:lnTo>
                <a:lnTo>
                  <a:pt x="77" y="60"/>
                </a:lnTo>
                <a:lnTo>
                  <a:pt x="70" y="69"/>
                </a:lnTo>
                <a:lnTo>
                  <a:pt x="62" y="76"/>
                </a:lnTo>
                <a:lnTo>
                  <a:pt x="54" y="85"/>
                </a:lnTo>
                <a:lnTo>
                  <a:pt x="47" y="94"/>
                </a:lnTo>
                <a:lnTo>
                  <a:pt x="40" y="103"/>
                </a:lnTo>
                <a:lnTo>
                  <a:pt x="34" y="113"/>
                </a:lnTo>
                <a:lnTo>
                  <a:pt x="29" y="123"/>
                </a:lnTo>
                <a:lnTo>
                  <a:pt x="23" y="133"/>
                </a:lnTo>
                <a:lnTo>
                  <a:pt x="19" y="143"/>
                </a:lnTo>
                <a:lnTo>
                  <a:pt x="15" y="154"/>
                </a:lnTo>
                <a:lnTo>
                  <a:pt x="11" y="165"/>
                </a:lnTo>
                <a:lnTo>
                  <a:pt x="8" y="176"/>
                </a:lnTo>
                <a:lnTo>
                  <a:pt x="5" y="188"/>
                </a:lnTo>
                <a:lnTo>
                  <a:pt x="3" y="200"/>
                </a:lnTo>
                <a:lnTo>
                  <a:pt x="2" y="211"/>
                </a:lnTo>
                <a:lnTo>
                  <a:pt x="0" y="223"/>
                </a:lnTo>
                <a:lnTo>
                  <a:pt x="0" y="235"/>
                </a:lnTo>
                <a:lnTo>
                  <a:pt x="0" y="254"/>
                </a:lnTo>
                <a:lnTo>
                  <a:pt x="3" y="272"/>
                </a:lnTo>
                <a:lnTo>
                  <a:pt x="7" y="290"/>
                </a:lnTo>
                <a:lnTo>
                  <a:pt x="11" y="308"/>
                </a:lnTo>
                <a:lnTo>
                  <a:pt x="18" y="324"/>
                </a:lnTo>
                <a:lnTo>
                  <a:pt x="25" y="340"/>
                </a:lnTo>
                <a:lnTo>
                  <a:pt x="33" y="355"/>
                </a:lnTo>
                <a:lnTo>
                  <a:pt x="43" y="370"/>
                </a:lnTo>
                <a:lnTo>
                  <a:pt x="53" y="384"/>
                </a:lnTo>
                <a:lnTo>
                  <a:pt x="65" y="397"/>
                </a:lnTo>
                <a:lnTo>
                  <a:pt x="77" y="409"/>
                </a:lnTo>
                <a:lnTo>
                  <a:pt x="90" y="421"/>
                </a:lnTo>
                <a:lnTo>
                  <a:pt x="105" y="431"/>
                </a:lnTo>
                <a:lnTo>
                  <a:pt x="119" y="440"/>
                </a:lnTo>
                <a:lnTo>
                  <a:pt x="135" y="448"/>
                </a:lnTo>
                <a:lnTo>
                  <a:pt x="152" y="456"/>
                </a:lnTo>
                <a:lnTo>
                  <a:pt x="152" y="909"/>
                </a:lnTo>
                <a:lnTo>
                  <a:pt x="320" y="909"/>
                </a:lnTo>
                <a:lnTo>
                  <a:pt x="320" y="792"/>
                </a:lnTo>
                <a:lnTo>
                  <a:pt x="371" y="741"/>
                </a:lnTo>
                <a:lnTo>
                  <a:pt x="320" y="690"/>
                </a:lnTo>
                <a:lnTo>
                  <a:pt x="320" y="624"/>
                </a:lnTo>
                <a:lnTo>
                  <a:pt x="404" y="539"/>
                </a:lnTo>
                <a:lnTo>
                  <a:pt x="321" y="456"/>
                </a:lnTo>
                <a:lnTo>
                  <a:pt x="337" y="448"/>
                </a:lnTo>
                <a:lnTo>
                  <a:pt x="354" y="440"/>
                </a:lnTo>
                <a:lnTo>
                  <a:pt x="368" y="431"/>
                </a:lnTo>
                <a:lnTo>
                  <a:pt x="382" y="421"/>
                </a:lnTo>
                <a:lnTo>
                  <a:pt x="396" y="409"/>
                </a:lnTo>
                <a:lnTo>
                  <a:pt x="408" y="397"/>
                </a:lnTo>
                <a:lnTo>
                  <a:pt x="420" y="384"/>
                </a:lnTo>
                <a:lnTo>
                  <a:pt x="430" y="370"/>
                </a:lnTo>
                <a:lnTo>
                  <a:pt x="439" y="355"/>
                </a:lnTo>
                <a:lnTo>
                  <a:pt x="448" y="340"/>
                </a:lnTo>
                <a:lnTo>
                  <a:pt x="455" y="324"/>
                </a:lnTo>
                <a:lnTo>
                  <a:pt x="462" y="308"/>
                </a:lnTo>
                <a:lnTo>
                  <a:pt x="466" y="290"/>
                </a:lnTo>
                <a:lnTo>
                  <a:pt x="469" y="272"/>
                </a:lnTo>
                <a:lnTo>
                  <a:pt x="471" y="254"/>
                </a:lnTo>
                <a:lnTo>
                  <a:pt x="473" y="235"/>
                </a:lnTo>
                <a:close/>
              </a:path>
            </a:pathLst>
          </a:custGeom>
          <a:solidFill>
            <a:schemeClr val="bg1"/>
          </a:solidFill>
          <a:ln>
            <a:noFill/>
          </a:ln>
        </p:spPr>
        <p:txBody>
          <a:bodyPr vert="horz" wrap="square" lIns="68580" tIns="34290" rIns="68580" bIns="34290" numCol="1" anchor="t" anchorCtr="0" compatLnSpc="1"/>
          <a:lstStyle/>
          <a:p>
            <a:endParaRPr lang="en-US" sz="1015" dirty="0"/>
          </a:p>
        </p:txBody>
      </p:sp>
      <p:grpSp>
        <p:nvGrpSpPr>
          <p:cNvPr id="69" name="Group 68"/>
          <p:cNvGrpSpPr/>
          <p:nvPr/>
        </p:nvGrpSpPr>
        <p:grpSpPr>
          <a:xfrm>
            <a:off x="2528023" y="2374448"/>
            <a:ext cx="364487" cy="345758"/>
            <a:chOff x="4783364" y="5915025"/>
            <a:chExt cx="401638" cy="381000"/>
          </a:xfrm>
          <a:solidFill>
            <a:schemeClr val="bg1"/>
          </a:solidFill>
        </p:grpSpPr>
        <p:sp>
          <p:nvSpPr>
            <p:cNvPr id="70" name="Freeform 169"/>
            <p:cNvSpPr/>
            <p:nvPr/>
          </p:nvSpPr>
          <p:spPr bwMode="auto">
            <a:xfrm>
              <a:off x="4927827" y="6181725"/>
              <a:ext cx="128588" cy="114300"/>
            </a:xfrm>
            <a:custGeom>
              <a:avLst/>
              <a:gdLst>
                <a:gd name="T0" fmla="*/ 180 w 325"/>
                <a:gd name="T1" fmla="*/ 223 h 288"/>
                <a:gd name="T2" fmla="*/ 180 w 325"/>
                <a:gd name="T3" fmla="*/ 0 h 288"/>
                <a:gd name="T4" fmla="*/ 145 w 325"/>
                <a:gd name="T5" fmla="*/ 0 h 288"/>
                <a:gd name="T6" fmla="*/ 145 w 325"/>
                <a:gd name="T7" fmla="*/ 223 h 288"/>
                <a:gd name="T8" fmla="*/ 24 w 325"/>
                <a:gd name="T9" fmla="*/ 102 h 288"/>
                <a:gd name="T10" fmla="*/ 0 w 325"/>
                <a:gd name="T11" fmla="*/ 126 h 288"/>
                <a:gd name="T12" fmla="*/ 163 w 325"/>
                <a:gd name="T13" fmla="*/ 288 h 288"/>
                <a:gd name="T14" fmla="*/ 325 w 325"/>
                <a:gd name="T15" fmla="*/ 126 h 288"/>
                <a:gd name="T16" fmla="*/ 301 w 325"/>
                <a:gd name="T17" fmla="*/ 102 h 288"/>
                <a:gd name="T18" fmla="*/ 180 w 325"/>
                <a:gd name="T19" fmla="*/ 22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5" h="288">
                  <a:moveTo>
                    <a:pt x="180" y="223"/>
                  </a:moveTo>
                  <a:lnTo>
                    <a:pt x="180" y="0"/>
                  </a:lnTo>
                  <a:lnTo>
                    <a:pt x="145" y="0"/>
                  </a:lnTo>
                  <a:lnTo>
                    <a:pt x="145" y="223"/>
                  </a:lnTo>
                  <a:lnTo>
                    <a:pt x="24" y="102"/>
                  </a:lnTo>
                  <a:lnTo>
                    <a:pt x="0" y="126"/>
                  </a:lnTo>
                  <a:lnTo>
                    <a:pt x="163" y="288"/>
                  </a:lnTo>
                  <a:lnTo>
                    <a:pt x="325" y="126"/>
                  </a:lnTo>
                  <a:lnTo>
                    <a:pt x="301" y="102"/>
                  </a:lnTo>
                  <a:lnTo>
                    <a:pt x="180" y="2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dirty="0"/>
            </a:p>
          </p:txBody>
        </p:sp>
        <p:sp>
          <p:nvSpPr>
            <p:cNvPr id="71" name="Freeform 170"/>
            <p:cNvSpPr/>
            <p:nvPr/>
          </p:nvSpPr>
          <p:spPr bwMode="auto">
            <a:xfrm>
              <a:off x="4783364" y="5915025"/>
              <a:ext cx="401638" cy="254000"/>
            </a:xfrm>
            <a:custGeom>
              <a:avLst/>
              <a:gdLst>
                <a:gd name="T0" fmla="*/ 827 w 1012"/>
                <a:gd name="T1" fmla="*/ 261 h 640"/>
                <a:gd name="T2" fmla="*/ 824 w 1012"/>
                <a:gd name="T3" fmla="*/ 221 h 640"/>
                <a:gd name="T4" fmla="*/ 815 w 1012"/>
                <a:gd name="T5" fmla="*/ 184 h 640"/>
                <a:gd name="T6" fmla="*/ 801 w 1012"/>
                <a:gd name="T7" fmla="*/ 148 h 640"/>
                <a:gd name="T8" fmla="*/ 782 w 1012"/>
                <a:gd name="T9" fmla="*/ 115 h 640"/>
                <a:gd name="T10" fmla="*/ 759 w 1012"/>
                <a:gd name="T11" fmla="*/ 85 h 640"/>
                <a:gd name="T12" fmla="*/ 732 w 1012"/>
                <a:gd name="T13" fmla="*/ 59 h 640"/>
                <a:gd name="T14" fmla="*/ 701 w 1012"/>
                <a:gd name="T15" fmla="*/ 38 h 640"/>
                <a:gd name="T16" fmla="*/ 667 w 1012"/>
                <a:gd name="T17" fmla="*/ 20 h 640"/>
                <a:gd name="T18" fmla="*/ 631 w 1012"/>
                <a:gd name="T19" fmla="*/ 9 h 640"/>
                <a:gd name="T20" fmla="*/ 593 w 1012"/>
                <a:gd name="T21" fmla="*/ 1 h 640"/>
                <a:gd name="T22" fmla="*/ 546 w 1012"/>
                <a:gd name="T23" fmla="*/ 1 h 640"/>
                <a:gd name="T24" fmla="*/ 491 w 1012"/>
                <a:gd name="T25" fmla="*/ 11 h 640"/>
                <a:gd name="T26" fmla="*/ 440 w 1012"/>
                <a:gd name="T27" fmla="*/ 32 h 640"/>
                <a:gd name="T28" fmla="*/ 395 w 1012"/>
                <a:gd name="T29" fmla="*/ 63 h 640"/>
                <a:gd name="T30" fmla="*/ 358 w 1012"/>
                <a:gd name="T31" fmla="*/ 103 h 640"/>
                <a:gd name="T32" fmla="*/ 330 w 1012"/>
                <a:gd name="T33" fmla="*/ 149 h 640"/>
                <a:gd name="T34" fmla="*/ 286 w 1012"/>
                <a:gd name="T35" fmla="*/ 135 h 640"/>
                <a:gd name="T36" fmla="*/ 245 w 1012"/>
                <a:gd name="T37" fmla="*/ 136 h 640"/>
                <a:gd name="T38" fmla="*/ 211 w 1012"/>
                <a:gd name="T39" fmla="*/ 148 h 640"/>
                <a:gd name="T40" fmla="*/ 182 w 1012"/>
                <a:gd name="T41" fmla="*/ 166 h 640"/>
                <a:gd name="T42" fmla="*/ 158 w 1012"/>
                <a:gd name="T43" fmla="*/ 192 h 640"/>
                <a:gd name="T44" fmla="*/ 142 w 1012"/>
                <a:gd name="T45" fmla="*/ 223 h 640"/>
                <a:gd name="T46" fmla="*/ 122 w 1012"/>
                <a:gd name="T47" fmla="*/ 252 h 640"/>
                <a:gd name="T48" fmla="*/ 82 w 1012"/>
                <a:gd name="T49" fmla="*/ 275 h 640"/>
                <a:gd name="T50" fmla="*/ 48 w 1012"/>
                <a:gd name="T51" fmla="*/ 307 h 640"/>
                <a:gd name="T52" fmla="*/ 22 w 1012"/>
                <a:gd name="T53" fmla="*/ 346 h 640"/>
                <a:gd name="T54" fmla="*/ 6 w 1012"/>
                <a:gd name="T55" fmla="*/ 390 h 640"/>
                <a:gd name="T56" fmla="*/ 0 w 1012"/>
                <a:gd name="T57" fmla="*/ 437 h 640"/>
                <a:gd name="T58" fmla="*/ 9 w 1012"/>
                <a:gd name="T59" fmla="*/ 498 h 640"/>
                <a:gd name="T60" fmla="*/ 34 w 1012"/>
                <a:gd name="T61" fmla="*/ 551 h 640"/>
                <a:gd name="T62" fmla="*/ 73 w 1012"/>
                <a:gd name="T63" fmla="*/ 594 h 640"/>
                <a:gd name="T64" fmla="*/ 123 w 1012"/>
                <a:gd name="T65" fmla="*/ 624 h 640"/>
                <a:gd name="T66" fmla="*/ 181 w 1012"/>
                <a:gd name="T67" fmla="*/ 639 h 640"/>
                <a:gd name="T68" fmla="*/ 405 w 1012"/>
                <a:gd name="T69" fmla="*/ 640 h 640"/>
                <a:gd name="T70" fmla="*/ 540 w 1012"/>
                <a:gd name="T71" fmla="*/ 640 h 640"/>
                <a:gd name="T72" fmla="*/ 748 w 1012"/>
                <a:gd name="T73" fmla="*/ 640 h 640"/>
                <a:gd name="T74" fmla="*/ 846 w 1012"/>
                <a:gd name="T75" fmla="*/ 639 h 640"/>
                <a:gd name="T76" fmla="*/ 898 w 1012"/>
                <a:gd name="T77" fmla="*/ 625 h 640"/>
                <a:gd name="T78" fmla="*/ 944 w 1012"/>
                <a:gd name="T79" fmla="*/ 597 h 640"/>
                <a:gd name="T80" fmla="*/ 979 w 1012"/>
                <a:gd name="T81" fmla="*/ 558 h 640"/>
                <a:gd name="T82" fmla="*/ 1003 w 1012"/>
                <a:gd name="T83" fmla="*/ 510 h 640"/>
                <a:gd name="T84" fmla="*/ 1012 w 1012"/>
                <a:gd name="T85" fmla="*/ 455 h 640"/>
                <a:gd name="T86" fmla="*/ 1003 w 1012"/>
                <a:gd name="T87" fmla="*/ 400 h 640"/>
                <a:gd name="T88" fmla="*/ 979 w 1012"/>
                <a:gd name="T89" fmla="*/ 351 h 640"/>
                <a:gd name="T90" fmla="*/ 944 w 1012"/>
                <a:gd name="T91" fmla="*/ 312 h 640"/>
                <a:gd name="T92" fmla="*/ 898 w 1012"/>
                <a:gd name="T93" fmla="*/ 284 h 640"/>
                <a:gd name="T94" fmla="*/ 846 w 1012"/>
                <a:gd name="T95" fmla="*/ 27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12" h="640">
                  <a:moveTo>
                    <a:pt x="826" y="269"/>
                  </a:moveTo>
                  <a:lnTo>
                    <a:pt x="827" y="266"/>
                  </a:lnTo>
                  <a:lnTo>
                    <a:pt x="827" y="261"/>
                  </a:lnTo>
                  <a:lnTo>
                    <a:pt x="826" y="248"/>
                  </a:lnTo>
                  <a:lnTo>
                    <a:pt x="826" y="234"/>
                  </a:lnTo>
                  <a:lnTo>
                    <a:pt x="824" y="221"/>
                  </a:lnTo>
                  <a:lnTo>
                    <a:pt x="822" y="208"/>
                  </a:lnTo>
                  <a:lnTo>
                    <a:pt x="819" y="195"/>
                  </a:lnTo>
                  <a:lnTo>
                    <a:pt x="815" y="184"/>
                  </a:lnTo>
                  <a:lnTo>
                    <a:pt x="811" y="172"/>
                  </a:lnTo>
                  <a:lnTo>
                    <a:pt x="807" y="160"/>
                  </a:lnTo>
                  <a:lnTo>
                    <a:pt x="801" y="148"/>
                  </a:lnTo>
                  <a:lnTo>
                    <a:pt x="796" y="137"/>
                  </a:lnTo>
                  <a:lnTo>
                    <a:pt x="789" y="125"/>
                  </a:lnTo>
                  <a:lnTo>
                    <a:pt x="782" y="115"/>
                  </a:lnTo>
                  <a:lnTo>
                    <a:pt x="775" y="105"/>
                  </a:lnTo>
                  <a:lnTo>
                    <a:pt x="768" y="95"/>
                  </a:lnTo>
                  <a:lnTo>
                    <a:pt x="759" y="85"/>
                  </a:lnTo>
                  <a:lnTo>
                    <a:pt x="750" y="77"/>
                  </a:lnTo>
                  <a:lnTo>
                    <a:pt x="742" y="68"/>
                  </a:lnTo>
                  <a:lnTo>
                    <a:pt x="732" y="59"/>
                  </a:lnTo>
                  <a:lnTo>
                    <a:pt x="722" y="52"/>
                  </a:lnTo>
                  <a:lnTo>
                    <a:pt x="712" y="44"/>
                  </a:lnTo>
                  <a:lnTo>
                    <a:pt x="701" y="38"/>
                  </a:lnTo>
                  <a:lnTo>
                    <a:pt x="690" y="31"/>
                  </a:lnTo>
                  <a:lnTo>
                    <a:pt x="679" y="26"/>
                  </a:lnTo>
                  <a:lnTo>
                    <a:pt x="667" y="20"/>
                  </a:lnTo>
                  <a:lnTo>
                    <a:pt x="655" y="16"/>
                  </a:lnTo>
                  <a:lnTo>
                    <a:pt x="644" y="12"/>
                  </a:lnTo>
                  <a:lnTo>
                    <a:pt x="631" y="9"/>
                  </a:lnTo>
                  <a:lnTo>
                    <a:pt x="619" y="5"/>
                  </a:lnTo>
                  <a:lnTo>
                    <a:pt x="606" y="3"/>
                  </a:lnTo>
                  <a:lnTo>
                    <a:pt x="593" y="1"/>
                  </a:lnTo>
                  <a:lnTo>
                    <a:pt x="579" y="0"/>
                  </a:lnTo>
                  <a:lnTo>
                    <a:pt x="566" y="0"/>
                  </a:lnTo>
                  <a:lnTo>
                    <a:pt x="546" y="1"/>
                  </a:lnTo>
                  <a:lnTo>
                    <a:pt x="527" y="3"/>
                  </a:lnTo>
                  <a:lnTo>
                    <a:pt x="508" y="6"/>
                  </a:lnTo>
                  <a:lnTo>
                    <a:pt x="491" y="11"/>
                  </a:lnTo>
                  <a:lnTo>
                    <a:pt x="473" y="17"/>
                  </a:lnTo>
                  <a:lnTo>
                    <a:pt x="457" y="24"/>
                  </a:lnTo>
                  <a:lnTo>
                    <a:pt x="440" y="32"/>
                  </a:lnTo>
                  <a:lnTo>
                    <a:pt x="424" y="41"/>
                  </a:lnTo>
                  <a:lnTo>
                    <a:pt x="409" y="52"/>
                  </a:lnTo>
                  <a:lnTo>
                    <a:pt x="395" y="63"/>
                  </a:lnTo>
                  <a:lnTo>
                    <a:pt x="382" y="76"/>
                  </a:lnTo>
                  <a:lnTo>
                    <a:pt x="370" y="88"/>
                  </a:lnTo>
                  <a:lnTo>
                    <a:pt x="358" y="103"/>
                  </a:lnTo>
                  <a:lnTo>
                    <a:pt x="348" y="117"/>
                  </a:lnTo>
                  <a:lnTo>
                    <a:pt x="338" y="133"/>
                  </a:lnTo>
                  <a:lnTo>
                    <a:pt x="330" y="149"/>
                  </a:lnTo>
                  <a:lnTo>
                    <a:pt x="316" y="142"/>
                  </a:lnTo>
                  <a:lnTo>
                    <a:pt x="301" y="138"/>
                  </a:lnTo>
                  <a:lnTo>
                    <a:pt x="286" y="135"/>
                  </a:lnTo>
                  <a:lnTo>
                    <a:pt x="270" y="134"/>
                  </a:lnTo>
                  <a:lnTo>
                    <a:pt x="257" y="135"/>
                  </a:lnTo>
                  <a:lnTo>
                    <a:pt x="245" y="136"/>
                  </a:lnTo>
                  <a:lnTo>
                    <a:pt x="233" y="139"/>
                  </a:lnTo>
                  <a:lnTo>
                    <a:pt x="222" y="142"/>
                  </a:lnTo>
                  <a:lnTo>
                    <a:pt x="211" y="148"/>
                  </a:lnTo>
                  <a:lnTo>
                    <a:pt x="201" y="153"/>
                  </a:lnTo>
                  <a:lnTo>
                    <a:pt x="191" y="160"/>
                  </a:lnTo>
                  <a:lnTo>
                    <a:pt x="182" y="166"/>
                  </a:lnTo>
                  <a:lnTo>
                    <a:pt x="174" y="175"/>
                  </a:lnTo>
                  <a:lnTo>
                    <a:pt x="166" y="184"/>
                  </a:lnTo>
                  <a:lnTo>
                    <a:pt x="158" y="192"/>
                  </a:lnTo>
                  <a:lnTo>
                    <a:pt x="152" y="202"/>
                  </a:lnTo>
                  <a:lnTo>
                    <a:pt x="147" y="213"/>
                  </a:lnTo>
                  <a:lnTo>
                    <a:pt x="142" y="223"/>
                  </a:lnTo>
                  <a:lnTo>
                    <a:pt x="139" y="234"/>
                  </a:lnTo>
                  <a:lnTo>
                    <a:pt x="137" y="246"/>
                  </a:lnTo>
                  <a:lnTo>
                    <a:pt x="122" y="252"/>
                  </a:lnTo>
                  <a:lnTo>
                    <a:pt x="108" y="259"/>
                  </a:lnTo>
                  <a:lnTo>
                    <a:pt x="95" y="267"/>
                  </a:lnTo>
                  <a:lnTo>
                    <a:pt x="82" y="275"/>
                  </a:lnTo>
                  <a:lnTo>
                    <a:pt x="70" y="285"/>
                  </a:lnTo>
                  <a:lnTo>
                    <a:pt x="58" y="296"/>
                  </a:lnTo>
                  <a:lnTo>
                    <a:pt x="48" y="307"/>
                  </a:lnTo>
                  <a:lnTo>
                    <a:pt x="39" y="319"/>
                  </a:lnTo>
                  <a:lnTo>
                    <a:pt x="30" y="331"/>
                  </a:lnTo>
                  <a:lnTo>
                    <a:pt x="22" y="346"/>
                  </a:lnTo>
                  <a:lnTo>
                    <a:pt x="16" y="360"/>
                  </a:lnTo>
                  <a:lnTo>
                    <a:pt x="10" y="375"/>
                  </a:lnTo>
                  <a:lnTo>
                    <a:pt x="6" y="390"/>
                  </a:lnTo>
                  <a:lnTo>
                    <a:pt x="3" y="405"/>
                  </a:lnTo>
                  <a:lnTo>
                    <a:pt x="1" y="421"/>
                  </a:lnTo>
                  <a:lnTo>
                    <a:pt x="0" y="437"/>
                  </a:lnTo>
                  <a:lnTo>
                    <a:pt x="1" y="459"/>
                  </a:lnTo>
                  <a:lnTo>
                    <a:pt x="4" y="478"/>
                  </a:lnTo>
                  <a:lnTo>
                    <a:pt x="9" y="498"/>
                  </a:lnTo>
                  <a:lnTo>
                    <a:pt x="16" y="516"/>
                  </a:lnTo>
                  <a:lnTo>
                    <a:pt x="25" y="535"/>
                  </a:lnTo>
                  <a:lnTo>
                    <a:pt x="34" y="551"/>
                  </a:lnTo>
                  <a:lnTo>
                    <a:pt x="46" y="566"/>
                  </a:lnTo>
                  <a:lnTo>
                    <a:pt x="59" y="581"/>
                  </a:lnTo>
                  <a:lnTo>
                    <a:pt x="73" y="594"/>
                  </a:lnTo>
                  <a:lnTo>
                    <a:pt x="89" y="606"/>
                  </a:lnTo>
                  <a:lnTo>
                    <a:pt x="106" y="616"/>
                  </a:lnTo>
                  <a:lnTo>
                    <a:pt x="123" y="624"/>
                  </a:lnTo>
                  <a:lnTo>
                    <a:pt x="142" y="631"/>
                  </a:lnTo>
                  <a:lnTo>
                    <a:pt x="162" y="636"/>
                  </a:lnTo>
                  <a:lnTo>
                    <a:pt x="181" y="639"/>
                  </a:lnTo>
                  <a:lnTo>
                    <a:pt x="202" y="640"/>
                  </a:lnTo>
                  <a:lnTo>
                    <a:pt x="360" y="640"/>
                  </a:lnTo>
                  <a:lnTo>
                    <a:pt x="405" y="640"/>
                  </a:lnTo>
                  <a:lnTo>
                    <a:pt x="424" y="640"/>
                  </a:lnTo>
                  <a:lnTo>
                    <a:pt x="505" y="640"/>
                  </a:lnTo>
                  <a:lnTo>
                    <a:pt x="540" y="640"/>
                  </a:lnTo>
                  <a:lnTo>
                    <a:pt x="579" y="640"/>
                  </a:lnTo>
                  <a:lnTo>
                    <a:pt x="640" y="640"/>
                  </a:lnTo>
                  <a:lnTo>
                    <a:pt x="748" y="640"/>
                  </a:lnTo>
                  <a:lnTo>
                    <a:pt x="827" y="640"/>
                  </a:lnTo>
                  <a:lnTo>
                    <a:pt x="827" y="640"/>
                  </a:lnTo>
                  <a:lnTo>
                    <a:pt x="846" y="639"/>
                  </a:lnTo>
                  <a:lnTo>
                    <a:pt x="864" y="636"/>
                  </a:lnTo>
                  <a:lnTo>
                    <a:pt x="882" y="632"/>
                  </a:lnTo>
                  <a:lnTo>
                    <a:pt x="898" y="625"/>
                  </a:lnTo>
                  <a:lnTo>
                    <a:pt x="915" y="618"/>
                  </a:lnTo>
                  <a:lnTo>
                    <a:pt x="930" y="608"/>
                  </a:lnTo>
                  <a:lnTo>
                    <a:pt x="944" y="597"/>
                  </a:lnTo>
                  <a:lnTo>
                    <a:pt x="958" y="585"/>
                  </a:lnTo>
                  <a:lnTo>
                    <a:pt x="970" y="572"/>
                  </a:lnTo>
                  <a:lnTo>
                    <a:pt x="979" y="558"/>
                  </a:lnTo>
                  <a:lnTo>
                    <a:pt x="989" y="543"/>
                  </a:lnTo>
                  <a:lnTo>
                    <a:pt x="997" y="527"/>
                  </a:lnTo>
                  <a:lnTo>
                    <a:pt x="1003" y="510"/>
                  </a:lnTo>
                  <a:lnTo>
                    <a:pt x="1008" y="491"/>
                  </a:lnTo>
                  <a:lnTo>
                    <a:pt x="1011" y="474"/>
                  </a:lnTo>
                  <a:lnTo>
                    <a:pt x="1012" y="455"/>
                  </a:lnTo>
                  <a:lnTo>
                    <a:pt x="1011" y="435"/>
                  </a:lnTo>
                  <a:lnTo>
                    <a:pt x="1008" y="417"/>
                  </a:lnTo>
                  <a:lnTo>
                    <a:pt x="1003" y="400"/>
                  </a:lnTo>
                  <a:lnTo>
                    <a:pt x="997" y="382"/>
                  </a:lnTo>
                  <a:lnTo>
                    <a:pt x="989" y="366"/>
                  </a:lnTo>
                  <a:lnTo>
                    <a:pt x="979" y="351"/>
                  </a:lnTo>
                  <a:lnTo>
                    <a:pt x="970" y="337"/>
                  </a:lnTo>
                  <a:lnTo>
                    <a:pt x="957" y="324"/>
                  </a:lnTo>
                  <a:lnTo>
                    <a:pt x="944" y="312"/>
                  </a:lnTo>
                  <a:lnTo>
                    <a:pt x="930" y="301"/>
                  </a:lnTo>
                  <a:lnTo>
                    <a:pt x="915" y="292"/>
                  </a:lnTo>
                  <a:lnTo>
                    <a:pt x="898" y="284"/>
                  </a:lnTo>
                  <a:lnTo>
                    <a:pt x="881" y="277"/>
                  </a:lnTo>
                  <a:lnTo>
                    <a:pt x="864" y="273"/>
                  </a:lnTo>
                  <a:lnTo>
                    <a:pt x="846" y="270"/>
                  </a:lnTo>
                  <a:lnTo>
                    <a:pt x="826" y="26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dirty="0"/>
            </a:p>
          </p:txBody>
        </p:sp>
      </p:grpSp>
      <p:grpSp>
        <p:nvGrpSpPr>
          <p:cNvPr id="72" name="Group 71"/>
          <p:cNvGrpSpPr/>
          <p:nvPr/>
        </p:nvGrpSpPr>
        <p:grpSpPr>
          <a:xfrm>
            <a:off x="998710" y="2491762"/>
            <a:ext cx="342877" cy="260759"/>
            <a:chOff x="10066338" y="5245100"/>
            <a:chExt cx="377825" cy="287338"/>
          </a:xfrm>
          <a:solidFill>
            <a:schemeClr val="bg1"/>
          </a:solidFill>
        </p:grpSpPr>
        <p:sp>
          <p:nvSpPr>
            <p:cNvPr id="73" name="Freeform 296"/>
            <p:cNvSpPr/>
            <p:nvPr/>
          </p:nvSpPr>
          <p:spPr bwMode="auto">
            <a:xfrm>
              <a:off x="10198100" y="5419725"/>
              <a:ext cx="112713" cy="112713"/>
            </a:xfrm>
            <a:custGeom>
              <a:avLst/>
              <a:gdLst>
                <a:gd name="T0" fmla="*/ 127 w 282"/>
                <a:gd name="T1" fmla="*/ 0 h 282"/>
                <a:gd name="T2" fmla="*/ 100 w 282"/>
                <a:gd name="T3" fmla="*/ 6 h 282"/>
                <a:gd name="T4" fmla="*/ 74 w 282"/>
                <a:gd name="T5" fmla="*/ 17 h 282"/>
                <a:gd name="T6" fmla="*/ 51 w 282"/>
                <a:gd name="T7" fmla="*/ 32 h 282"/>
                <a:gd name="T8" fmla="*/ 33 w 282"/>
                <a:gd name="T9" fmla="*/ 51 h 282"/>
                <a:gd name="T10" fmla="*/ 18 w 282"/>
                <a:gd name="T11" fmla="*/ 73 h 282"/>
                <a:gd name="T12" fmla="*/ 7 w 282"/>
                <a:gd name="T13" fmla="*/ 99 h 282"/>
                <a:gd name="T14" fmla="*/ 1 w 282"/>
                <a:gd name="T15" fmla="*/ 126 h 282"/>
                <a:gd name="T16" fmla="*/ 1 w 282"/>
                <a:gd name="T17" fmla="*/ 155 h 282"/>
                <a:gd name="T18" fmla="*/ 7 w 282"/>
                <a:gd name="T19" fmla="*/ 182 h 282"/>
                <a:gd name="T20" fmla="*/ 18 w 282"/>
                <a:gd name="T21" fmla="*/ 208 h 282"/>
                <a:gd name="T22" fmla="*/ 33 w 282"/>
                <a:gd name="T23" fmla="*/ 230 h 282"/>
                <a:gd name="T24" fmla="*/ 51 w 282"/>
                <a:gd name="T25" fmla="*/ 249 h 282"/>
                <a:gd name="T26" fmla="*/ 74 w 282"/>
                <a:gd name="T27" fmla="*/ 265 h 282"/>
                <a:gd name="T28" fmla="*/ 100 w 282"/>
                <a:gd name="T29" fmla="*/ 275 h 282"/>
                <a:gd name="T30" fmla="*/ 127 w 282"/>
                <a:gd name="T31" fmla="*/ 281 h 282"/>
                <a:gd name="T32" fmla="*/ 156 w 282"/>
                <a:gd name="T33" fmla="*/ 281 h 282"/>
                <a:gd name="T34" fmla="*/ 183 w 282"/>
                <a:gd name="T35" fmla="*/ 275 h 282"/>
                <a:gd name="T36" fmla="*/ 209 w 282"/>
                <a:gd name="T37" fmla="*/ 265 h 282"/>
                <a:gd name="T38" fmla="*/ 230 w 282"/>
                <a:gd name="T39" fmla="*/ 249 h 282"/>
                <a:gd name="T40" fmla="*/ 250 w 282"/>
                <a:gd name="T41" fmla="*/ 230 h 282"/>
                <a:gd name="T42" fmla="*/ 265 w 282"/>
                <a:gd name="T43" fmla="*/ 208 h 282"/>
                <a:gd name="T44" fmla="*/ 276 w 282"/>
                <a:gd name="T45" fmla="*/ 182 h 282"/>
                <a:gd name="T46" fmla="*/ 281 w 282"/>
                <a:gd name="T47" fmla="*/ 155 h 282"/>
                <a:gd name="T48" fmla="*/ 281 w 282"/>
                <a:gd name="T49" fmla="*/ 126 h 282"/>
                <a:gd name="T50" fmla="*/ 276 w 282"/>
                <a:gd name="T51" fmla="*/ 99 h 282"/>
                <a:gd name="T52" fmla="*/ 265 w 282"/>
                <a:gd name="T53" fmla="*/ 73 h 282"/>
                <a:gd name="T54" fmla="*/ 250 w 282"/>
                <a:gd name="T55" fmla="*/ 51 h 282"/>
                <a:gd name="T56" fmla="*/ 230 w 282"/>
                <a:gd name="T57" fmla="*/ 32 h 282"/>
                <a:gd name="T58" fmla="*/ 209 w 282"/>
                <a:gd name="T59" fmla="*/ 17 h 282"/>
                <a:gd name="T60" fmla="*/ 183 w 282"/>
                <a:gd name="T61" fmla="*/ 6 h 282"/>
                <a:gd name="T62" fmla="*/ 156 w 282"/>
                <a:gd name="T63"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2" h="282">
                  <a:moveTo>
                    <a:pt x="141" y="0"/>
                  </a:moveTo>
                  <a:lnTo>
                    <a:pt x="127" y="0"/>
                  </a:lnTo>
                  <a:lnTo>
                    <a:pt x="113" y="2"/>
                  </a:lnTo>
                  <a:lnTo>
                    <a:pt x="100" y="6"/>
                  </a:lnTo>
                  <a:lnTo>
                    <a:pt x="87" y="11"/>
                  </a:lnTo>
                  <a:lnTo>
                    <a:pt x="74" y="17"/>
                  </a:lnTo>
                  <a:lnTo>
                    <a:pt x="62" y="24"/>
                  </a:lnTo>
                  <a:lnTo>
                    <a:pt x="51" y="32"/>
                  </a:lnTo>
                  <a:lnTo>
                    <a:pt x="41" y="41"/>
                  </a:lnTo>
                  <a:lnTo>
                    <a:pt x="33" y="51"/>
                  </a:lnTo>
                  <a:lnTo>
                    <a:pt x="24" y="62"/>
                  </a:lnTo>
                  <a:lnTo>
                    <a:pt x="18" y="73"/>
                  </a:lnTo>
                  <a:lnTo>
                    <a:pt x="11" y="86"/>
                  </a:lnTo>
                  <a:lnTo>
                    <a:pt x="7" y="99"/>
                  </a:lnTo>
                  <a:lnTo>
                    <a:pt x="3" y="112"/>
                  </a:lnTo>
                  <a:lnTo>
                    <a:pt x="1" y="126"/>
                  </a:lnTo>
                  <a:lnTo>
                    <a:pt x="0" y="140"/>
                  </a:lnTo>
                  <a:lnTo>
                    <a:pt x="1" y="155"/>
                  </a:lnTo>
                  <a:lnTo>
                    <a:pt x="3" y="170"/>
                  </a:lnTo>
                  <a:lnTo>
                    <a:pt x="7" y="182"/>
                  </a:lnTo>
                  <a:lnTo>
                    <a:pt x="11" y="195"/>
                  </a:lnTo>
                  <a:lnTo>
                    <a:pt x="18" y="208"/>
                  </a:lnTo>
                  <a:lnTo>
                    <a:pt x="24" y="219"/>
                  </a:lnTo>
                  <a:lnTo>
                    <a:pt x="33" y="230"/>
                  </a:lnTo>
                  <a:lnTo>
                    <a:pt x="41" y="241"/>
                  </a:lnTo>
                  <a:lnTo>
                    <a:pt x="51" y="249"/>
                  </a:lnTo>
                  <a:lnTo>
                    <a:pt x="62" y="258"/>
                  </a:lnTo>
                  <a:lnTo>
                    <a:pt x="74" y="265"/>
                  </a:lnTo>
                  <a:lnTo>
                    <a:pt x="87" y="271"/>
                  </a:lnTo>
                  <a:lnTo>
                    <a:pt x="100" y="275"/>
                  </a:lnTo>
                  <a:lnTo>
                    <a:pt x="113" y="279"/>
                  </a:lnTo>
                  <a:lnTo>
                    <a:pt x="127" y="281"/>
                  </a:lnTo>
                  <a:lnTo>
                    <a:pt x="141" y="282"/>
                  </a:lnTo>
                  <a:lnTo>
                    <a:pt x="156" y="281"/>
                  </a:lnTo>
                  <a:lnTo>
                    <a:pt x="170" y="279"/>
                  </a:lnTo>
                  <a:lnTo>
                    <a:pt x="183" y="275"/>
                  </a:lnTo>
                  <a:lnTo>
                    <a:pt x="196" y="271"/>
                  </a:lnTo>
                  <a:lnTo>
                    <a:pt x="209" y="265"/>
                  </a:lnTo>
                  <a:lnTo>
                    <a:pt x="220" y="258"/>
                  </a:lnTo>
                  <a:lnTo>
                    <a:pt x="230" y="249"/>
                  </a:lnTo>
                  <a:lnTo>
                    <a:pt x="241" y="241"/>
                  </a:lnTo>
                  <a:lnTo>
                    <a:pt x="250" y="230"/>
                  </a:lnTo>
                  <a:lnTo>
                    <a:pt x="259" y="219"/>
                  </a:lnTo>
                  <a:lnTo>
                    <a:pt x="265" y="208"/>
                  </a:lnTo>
                  <a:lnTo>
                    <a:pt x="271" y="195"/>
                  </a:lnTo>
                  <a:lnTo>
                    <a:pt x="276" y="182"/>
                  </a:lnTo>
                  <a:lnTo>
                    <a:pt x="279" y="170"/>
                  </a:lnTo>
                  <a:lnTo>
                    <a:pt x="281" y="155"/>
                  </a:lnTo>
                  <a:lnTo>
                    <a:pt x="282" y="140"/>
                  </a:lnTo>
                  <a:lnTo>
                    <a:pt x="281" y="126"/>
                  </a:lnTo>
                  <a:lnTo>
                    <a:pt x="279" y="112"/>
                  </a:lnTo>
                  <a:lnTo>
                    <a:pt x="276" y="99"/>
                  </a:lnTo>
                  <a:lnTo>
                    <a:pt x="271" y="86"/>
                  </a:lnTo>
                  <a:lnTo>
                    <a:pt x="265" y="73"/>
                  </a:lnTo>
                  <a:lnTo>
                    <a:pt x="259" y="62"/>
                  </a:lnTo>
                  <a:lnTo>
                    <a:pt x="250" y="51"/>
                  </a:lnTo>
                  <a:lnTo>
                    <a:pt x="241" y="41"/>
                  </a:lnTo>
                  <a:lnTo>
                    <a:pt x="230" y="32"/>
                  </a:lnTo>
                  <a:lnTo>
                    <a:pt x="220" y="24"/>
                  </a:lnTo>
                  <a:lnTo>
                    <a:pt x="209" y="17"/>
                  </a:lnTo>
                  <a:lnTo>
                    <a:pt x="196" y="11"/>
                  </a:lnTo>
                  <a:lnTo>
                    <a:pt x="183" y="6"/>
                  </a:lnTo>
                  <a:lnTo>
                    <a:pt x="170" y="2"/>
                  </a:lnTo>
                  <a:lnTo>
                    <a:pt x="156" y="0"/>
                  </a:lnTo>
                  <a:lnTo>
                    <a:pt x="141" y="0"/>
                  </a:lnTo>
                  <a:close/>
                </a:path>
              </a:pathLst>
            </a:custGeom>
            <a:grp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dirty="0"/>
            </a:p>
          </p:txBody>
        </p:sp>
        <p:sp>
          <p:nvSpPr>
            <p:cNvPr id="74" name="Freeform 297"/>
            <p:cNvSpPr/>
            <p:nvPr/>
          </p:nvSpPr>
          <p:spPr bwMode="auto">
            <a:xfrm>
              <a:off x="10147300" y="5357813"/>
              <a:ext cx="214313" cy="77788"/>
            </a:xfrm>
            <a:custGeom>
              <a:avLst/>
              <a:gdLst>
                <a:gd name="T0" fmla="*/ 248 w 541"/>
                <a:gd name="T1" fmla="*/ 1 h 197"/>
                <a:gd name="T2" fmla="*/ 205 w 541"/>
                <a:gd name="T3" fmla="*/ 7 h 197"/>
                <a:gd name="T4" fmla="*/ 165 w 541"/>
                <a:gd name="T5" fmla="*/ 20 h 197"/>
                <a:gd name="T6" fmla="*/ 126 w 541"/>
                <a:gd name="T7" fmla="*/ 37 h 197"/>
                <a:gd name="T8" fmla="*/ 92 w 541"/>
                <a:gd name="T9" fmla="*/ 60 h 197"/>
                <a:gd name="T10" fmla="*/ 60 w 541"/>
                <a:gd name="T11" fmla="*/ 87 h 197"/>
                <a:gd name="T12" fmla="*/ 33 w 541"/>
                <a:gd name="T13" fmla="*/ 118 h 197"/>
                <a:gd name="T14" fmla="*/ 10 w 541"/>
                <a:gd name="T15" fmla="*/ 152 h 197"/>
                <a:gd name="T16" fmla="*/ 27 w 541"/>
                <a:gd name="T17" fmla="*/ 197 h 197"/>
                <a:gd name="T18" fmla="*/ 44 w 541"/>
                <a:gd name="T19" fmla="*/ 163 h 197"/>
                <a:gd name="T20" fmla="*/ 66 w 541"/>
                <a:gd name="T21" fmla="*/ 132 h 197"/>
                <a:gd name="T22" fmla="*/ 93 w 541"/>
                <a:gd name="T23" fmla="*/ 104 h 197"/>
                <a:gd name="T24" fmla="*/ 123 w 541"/>
                <a:gd name="T25" fmla="*/ 80 h 197"/>
                <a:gd name="T26" fmla="*/ 155 w 541"/>
                <a:gd name="T27" fmla="*/ 62 h 197"/>
                <a:gd name="T28" fmla="*/ 192 w 541"/>
                <a:gd name="T29" fmla="*/ 48 h 197"/>
                <a:gd name="T30" fmla="*/ 230 w 541"/>
                <a:gd name="T31" fmla="*/ 38 h 197"/>
                <a:gd name="T32" fmla="*/ 270 w 541"/>
                <a:gd name="T33" fmla="*/ 35 h 197"/>
                <a:gd name="T34" fmla="*/ 311 w 541"/>
                <a:gd name="T35" fmla="*/ 38 h 197"/>
                <a:gd name="T36" fmla="*/ 349 w 541"/>
                <a:gd name="T37" fmla="*/ 48 h 197"/>
                <a:gd name="T38" fmla="*/ 385 w 541"/>
                <a:gd name="T39" fmla="*/ 62 h 197"/>
                <a:gd name="T40" fmla="*/ 418 w 541"/>
                <a:gd name="T41" fmla="*/ 80 h 197"/>
                <a:gd name="T42" fmla="*/ 448 w 541"/>
                <a:gd name="T43" fmla="*/ 104 h 197"/>
                <a:gd name="T44" fmla="*/ 474 w 541"/>
                <a:gd name="T45" fmla="*/ 132 h 197"/>
                <a:gd name="T46" fmla="*/ 497 w 541"/>
                <a:gd name="T47" fmla="*/ 163 h 197"/>
                <a:gd name="T48" fmla="*/ 514 w 541"/>
                <a:gd name="T49" fmla="*/ 197 h 197"/>
                <a:gd name="T50" fmla="*/ 531 w 541"/>
                <a:gd name="T51" fmla="*/ 152 h 197"/>
                <a:gd name="T52" fmla="*/ 507 w 541"/>
                <a:gd name="T53" fmla="*/ 118 h 197"/>
                <a:gd name="T54" fmla="*/ 480 w 541"/>
                <a:gd name="T55" fmla="*/ 87 h 197"/>
                <a:gd name="T56" fmla="*/ 449 w 541"/>
                <a:gd name="T57" fmla="*/ 60 h 197"/>
                <a:gd name="T58" fmla="*/ 413 w 541"/>
                <a:gd name="T59" fmla="*/ 37 h 197"/>
                <a:gd name="T60" fmla="*/ 376 w 541"/>
                <a:gd name="T61" fmla="*/ 20 h 197"/>
                <a:gd name="T62" fmla="*/ 336 w 541"/>
                <a:gd name="T63" fmla="*/ 7 h 197"/>
                <a:gd name="T64" fmla="*/ 292 w 541"/>
                <a:gd name="T65" fmla="*/ 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1" h="197">
                  <a:moveTo>
                    <a:pt x="270" y="0"/>
                  </a:moveTo>
                  <a:lnTo>
                    <a:pt x="248" y="1"/>
                  </a:lnTo>
                  <a:lnTo>
                    <a:pt x="227" y="3"/>
                  </a:lnTo>
                  <a:lnTo>
                    <a:pt x="205" y="7"/>
                  </a:lnTo>
                  <a:lnTo>
                    <a:pt x="184" y="12"/>
                  </a:lnTo>
                  <a:lnTo>
                    <a:pt x="165" y="20"/>
                  </a:lnTo>
                  <a:lnTo>
                    <a:pt x="146" y="27"/>
                  </a:lnTo>
                  <a:lnTo>
                    <a:pt x="126" y="37"/>
                  </a:lnTo>
                  <a:lnTo>
                    <a:pt x="109" y="48"/>
                  </a:lnTo>
                  <a:lnTo>
                    <a:pt x="92" y="60"/>
                  </a:lnTo>
                  <a:lnTo>
                    <a:pt x="75" y="73"/>
                  </a:lnTo>
                  <a:lnTo>
                    <a:pt x="60" y="87"/>
                  </a:lnTo>
                  <a:lnTo>
                    <a:pt x="46" y="102"/>
                  </a:lnTo>
                  <a:lnTo>
                    <a:pt x="33" y="118"/>
                  </a:lnTo>
                  <a:lnTo>
                    <a:pt x="20" y="134"/>
                  </a:lnTo>
                  <a:lnTo>
                    <a:pt x="10" y="152"/>
                  </a:lnTo>
                  <a:lnTo>
                    <a:pt x="0" y="171"/>
                  </a:lnTo>
                  <a:lnTo>
                    <a:pt x="27" y="197"/>
                  </a:lnTo>
                  <a:lnTo>
                    <a:pt x="34" y="179"/>
                  </a:lnTo>
                  <a:lnTo>
                    <a:pt x="44" y="163"/>
                  </a:lnTo>
                  <a:lnTo>
                    <a:pt x="55" y="147"/>
                  </a:lnTo>
                  <a:lnTo>
                    <a:pt x="66" y="132"/>
                  </a:lnTo>
                  <a:lnTo>
                    <a:pt x="79" y="118"/>
                  </a:lnTo>
                  <a:lnTo>
                    <a:pt x="93" y="104"/>
                  </a:lnTo>
                  <a:lnTo>
                    <a:pt x="107" y="92"/>
                  </a:lnTo>
                  <a:lnTo>
                    <a:pt x="123" y="80"/>
                  </a:lnTo>
                  <a:lnTo>
                    <a:pt x="139" y="70"/>
                  </a:lnTo>
                  <a:lnTo>
                    <a:pt x="155" y="62"/>
                  </a:lnTo>
                  <a:lnTo>
                    <a:pt x="174" y="54"/>
                  </a:lnTo>
                  <a:lnTo>
                    <a:pt x="192" y="48"/>
                  </a:lnTo>
                  <a:lnTo>
                    <a:pt x="210" y="42"/>
                  </a:lnTo>
                  <a:lnTo>
                    <a:pt x="230" y="38"/>
                  </a:lnTo>
                  <a:lnTo>
                    <a:pt x="250" y="36"/>
                  </a:lnTo>
                  <a:lnTo>
                    <a:pt x="270" y="35"/>
                  </a:lnTo>
                  <a:lnTo>
                    <a:pt x="290" y="36"/>
                  </a:lnTo>
                  <a:lnTo>
                    <a:pt x="311" y="38"/>
                  </a:lnTo>
                  <a:lnTo>
                    <a:pt x="330" y="42"/>
                  </a:lnTo>
                  <a:lnTo>
                    <a:pt x="349" y="48"/>
                  </a:lnTo>
                  <a:lnTo>
                    <a:pt x="367" y="54"/>
                  </a:lnTo>
                  <a:lnTo>
                    <a:pt x="385" y="62"/>
                  </a:lnTo>
                  <a:lnTo>
                    <a:pt x="402" y="70"/>
                  </a:lnTo>
                  <a:lnTo>
                    <a:pt x="418" y="80"/>
                  </a:lnTo>
                  <a:lnTo>
                    <a:pt x="434" y="92"/>
                  </a:lnTo>
                  <a:lnTo>
                    <a:pt x="448" y="104"/>
                  </a:lnTo>
                  <a:lnTo>
                    <a:pt x="462" y="118"/>
                  </a:lnTo>
                  <a:lnTo>
                    <a:pt x="474" y="132"/>
                  </a:lnTo>
                  <a:lnTo>
                    <a:pt x="486" y="147"/>
                  </a:lnTo>
                  <a:lnTo>
                    <a:pt x="497" y="163"/>
                  </a:lnTo>
                  <a:lnTo>
                    <a:pt x="506" y="179"/>
                  </a:lnTo>
                  <a:lnTo>
                    <a:pt x="514" y="197"/>
                  </a:lnTo>
                  <a:lnTo>
                    <a:pt x="541" y="171"/>
                  </a:lnTo>
                  <a:lnTo>
                    <a:pt x="531" y="152"/>
                  </a:lnTo>
                  <a:lnTo>
                    <a:pt x="519" y="134"/>
                  </a:lnTo>
                  <a:lnTo>
                    <a:pt x="507" y="118"/>
                  </a:lnTo>
                  <a:lnTo>
                    <a:pt x="494" y="102"/>
                  </a:lnTo>
                  <a:lnTo>
                    <a:pt x="480" y="87"/>
                  </a:lnTo>
                  <a:lnTo>
                    <a:pt x="465" y="73"/>
                  </a:lnTo>
                  <a:lnTo>
                    <a:pt x="449" y="60"/>
                  </a:lnTo>
                  <a:lnTo>
                    <a:pt x="432" y="48"/>
                  </a:lnTo>
                  <a:lnTo>
                    <a:pt x="413" y="37"/>
                  </a:lnTo>
                  <a:lnTo>
                    <a:pt x="395" y="27"/>
                  </a:lnTo>
                  <a:lnTo>
                    <a:pt x="376" y="20"/>
                  </a:lnTo>
                  <a:lnTo>
                    <a:pt x="356" y="12"/>
                  </a:lnTo>
                  <a:lnTo>
                    <a:pt x="336" y="7"/>
                  </a:lnTo>
                  <a:lnTo>
                    <a:pt x="314" y="3"/>
                  </a:lnTo>
                  <a:lnTo>
                    <a:pt x="292" y="1"/>
                  </a:lnTo>
                  <a:lnTo>
                    <a:pt x="270" y="0"/>
                  </a:lnTo>
                  <a:close/>
                </a:path>
              </a:pathLst>
            </a:custGeom>
            <a:grp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dirty="0"/>
            </a:p>
          </p:txBody>
        </p:sp>
        <p:sp>
          <p:nvSpPr>
            <p:cNvPr id="75" name="Freeform 298"/>
            <p:cNvSpPr/>
            <p:nvPr/>
          </p:nvSpPr>
          <p:spPr bwMode="auto">
            <a:xfrm>
              <a:off x="10066338" y="5245100"/>
              <a:ext cx="377825" cy="109538"/>
            </a:xfrm>
            <a:custGeom>
              <a:avLst/>
              <a:gdLst>
                <a:gd name="T0" fmla="*/ 458 w 951"/>
                <a:gd name="T1" fmla="*/ 0 h 274"/>
                <a:gd name="T2" fmla="*/ 421 w 951"/>
                <a:gd name="T3" fmla="*/ 2 h 274"/>
                <a:gd name="T4" fmla="*/ 385 w 951"/>
                <a:gd name="T5" fmla="*/ 7 h 274"/>
                <a:gd name="T6" fmla="*/ 351 w 951"/>
                <a:gd name="T7" fmla="*/ 13 h 274"/>
                <a:gd name="T8" fmla="*/ 300 w 951"/>
                <a:gd name="T9" fmla="*/ 27 h 274"/>
                <a:gd name="T10" fmla="*/ 234 w 951"/>
                <a:gd name="T11" fmla="*/ 52 h 274"/>
                <a:gd name="T12" fmla="*/ 174 w 951"/>
                <a:gd name="T13" fmla="*/ 85 h 274"/>
                <a:gd name="T14" fmla="*/ 117 w 951"/>
                <a:gd name="T15" fmla="*/ 125 h 274"/>
                <a:gd name="T16" fmla="*/ 66 w 951"/>
                <a:gd name="T17" fmla="*/ 170 h 274"/>
                <a:gd name="T18" fmla="*/ 20 w 951"/>
                <a:gd name="T19" fmla="*/ 221 h 274"/>
                <a:gd name="T20" fmla="*/ 25 w 951"/>
                <a:gd name="T21" fmla="*/ 274 h 274"/>
                <a:gd name="T22" fmla="*/ 64 w 951"/>
                <a:gd name="T23" fmla="*/ 222 h 274"/>
                <a:gd name="T24" fmla="*/ 111 w 951"/>
                <a:gd name="T25" fmla="*/ 175 h 274"/>
                <a:gd name="T26" fmla="*/ 162 w 951"/>
                <a:gd name="T27" fmla="*/ 135 h 274"/>
                <a:gd name="T28" fmla="*/ 217 w 951"/>
                <a:gd name="T29" fmla="*/ 101 h 274"/>
                <a:gd name="T30" fmla="*/ 277 w 951"/>
                <a:gd name="T31" fmla="*/ 73 h 274"/>
                <a:gd name="T32" fmla="*/ 341 w 951"/>
                <a:gd name="T33" fmla="*/ 52 h 274"/>
                <a:gd name="T34" fmla="*/ 407 w 951"/>
                <a:gd name="T35" fmla="*/ 39 h 274"/>
                <a:gd name="T36" fmla="*/ 441 w 951"/>
                <a:gd name="T37" fmla="*/ 36 h 274"/>
                <a:gd name="T38" fmla="*/ 476 w 951"/>
                <a:gd name="T39" fmla="*/ 35 h 274"/>
                <a:gd name="T40" fmla="*/ 511 w 951"/>
                <a:gd name="T41" fmla="*/ 36 h 274"/>
                <a:gd name="T42" fmla="*/ 545 w 951"/>
                <a:gd name="T43" fmla="*/ 39 h 274"/>
                <a:gd name="T44" fmla="*/ 611 w 951"/>
                <a:gd name="T45" fmla="*/ 52 h 274"/>
                <a:gd name="T46" fmla="*/ 674 w 951"/>
                <a:gd name="T47" fmla="*/ 73 h 274"/>
                <a:gd name="T48" fmla="*/ 734 w 951"/>
                <a:gd name="T49" fmla="*/ 100 h 274"/>
                <a:gd name="T50" fmla="*/ 789 w 951"/>
                <a:gd name="T51" fmla="*/ 134 h 274"/>
                <a:gd name="T52" fmla="*/ 840 w 951"/>
                <a:gd name="T53" fmla="*/ 174 h 274"/>
                <a:gd name="T54" fmla="*/ 885 w 951"/>
                <a:gd name="T55" fmla="*/ 221 h 274"/>
                <a:gd name="T56" fmla="*/ 925 w 951"/>
                <a:gd name="T57" fmla="*/ 271 h 274"/>
                <a:gd name="T58" fmla="*/ 931 w 951"/>
                <a:gd name="T59" fmla="*/ 218 h 274"/>
                <a:gd name="T60" fmla="*/ 884 w 951"/>
                <a:gd name="T61" fmla="*/ 168 h 274"/>
                <a:gd name="T62" fmla="*/ 833 w 951"/>
                <a:gd name="T63" fmla="*/ 123 h 274"/>
                <a:gd name="T64" fmla="*/ 777 w 951"/>
                <a:gd name="T65" fmla="*/ 85 h 274"/>
                <a:gd name="T66" fmla="*/ 717 w 951"/>
                <a:gd name="T67" fmla="*/ 52 h 274"/>
                <a:gd name="T68" fmla="*/ 652 w 951"/>
                <a:gd name="T69" fmla="*/ 27 h 274"/>
                <a:gd name="T70" fmla="*/ 601 w 951"/>
                <a:gd name="T71" fmla="*/ 13 h 274"/>
                <a:gd name="T72" fmla="*/ 566 w 951"/>
                <a:gd name="T73" fmla="*/ 7 h 274"/>
                <a:gd name="T74" fmla="*/ 530 w 951"/>
                <a:gd name="T75" fmla="*/ 2 h 274"/>
                <a:gd name="T76" fmla="*/ 494 w 951"/>
                <a:gd name="T77"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51" h="274">
                  <a:moveTo>
                    <a:pt x="476" y="0"/>
                  </a:moveTo>
                  <a:lnTo>
                    <a:pt x="458" y="0"/>
                  </a:lnTo>
                  <a:lnTo>
                    <a:pt x="439" y="1"/>
                  </a:lnTo>
                  <a:lnTo>
                    <a:pt x="421" y="2"/>
                  </a:lnTo>
                  <a:lnTo>
                    <a:pt x="404" y="5"/>
                  </a:lnTo>
                  <a:lnTo>
                    <a:pt x="385" y="7"/>
                  </a:lnTo>
                  <a:lnTo>
                    <a:pt x="368" y="10"/>
                  </a:lnTo>
                  <a:lnTo>
                    <a:pt x="351" y="13"/>
                  </a:lnTo>
                  <a:lnTo>
                    <a:pt x="333" y="18"/>
                  </a:lnTo>
                  <a:lnTo>
                    <a:pt x="300" y="27"/>
                  </a:lnTo>
                  <a:lnTo>
                    <a:pt x="266" y="39"/>
                  </a:lnTo>
                  <a:lnTo>
                    <a:pt x="234" y="52"/>
                  </a:lnTo>
                  <a:lnTo>
                    <a:pt x="204" y="67"/>
                  </a:lnTo>
                  <a:lnTo>
                    <a:pt x="174" y="85"/>
                  </a:lnTo>
                  <a:lnTo>
                    <a:pt x="144" y="104"/>
                  </a:lnTo>
                  <a:lnTo>
                    <a:pt x="117" y="125"/>
                  </a:lnTo>
                  <a:lnTo>
                    <a:pt x="90" y="146"/>
                  </a:lnTo>
                  <a:lnTo>
                    <a:pt x="66" y="170"/>
                  </a:lnTo>
                  <a:lnTo>
                    <a:pt x="42" y="195"/>
                  </a:lnTo>
                  <a:lnTo>
                    <a:pt x="20" y="221"/>
                  </a:lnTo>
                  <a:lnTo>
                    <a:pt x="0" y="248"/>
                  </a:lnTo>
                  <a:lnTo>
                    <a:pt x="25" y="274"/>
                  </a:lnTo>
                  <a:lnTo>
                    <a:pt x="44" y="247"/>
                  </a:lnTo>
                  <a:lnTo>
                    <a:pt x="64" y="222"/>
                  </a:lnTo>
                  <a:lnTo>
                    <a:pt x="87" y="198"/>
                  </a:lnTo>
                  <a:lnTo>
                    <a:pt x="111" y="175"/>
                  </a:lnTo>
                  <a:lnTo>
                    <a:pt x="136" y="155"/>
                  </a:lnTo>
                  <a:lnTo>
                    <a:pt x="162" y="135"/>
                  </a:lnTo>
                  <a:lnTo>
                    <a:pt x="189" y="117"/>
                  </a:lnTo>
                  <a:lnTo>
                    <a:pt x="217" y="101"/>
                  </a:lnTo>
                  <a:lnTo>
                    <a:pt x="247" y="86"/>
                  </a:lnTo>
                  <a:lnTo>
                    <a:pt x="277" y="73"/>
                  </a:lnTo>
                  <a:lnTo>
                    <a:pt x="309" y="62"/>
                  </a:lnTo>
                  <a:lnTo>
                    <a:pt x="341" y="52"/>
                  </a:lnTo>
                  <a:lnTo>
                    <a:pt x="373" y="45"/>
                  </a:lnTo>
                  <a:lnTo>
                    <a:pt x="407" y="39"/>
                  </a:lnTo>
                  <a:lnTo>
                    <a:pt x="424" y="38"/>
                  </a:lnTo>
                  <a:lnTo>
                    <a:pt x="441" y="36"/>
                  </a:lnTo>
                  <a:lnTo>
                    <a:pt x="459" y="35"/>
                  </a:lnTo>
                  <a:lnTo>
                    <a:pt x="476" y="35"/>
                  </a:lnTo>
                  <a:lnTo>
                    <a:pt x="493" y="35"/>
                  </a:lnTo>
                  <a:lnTo>
                    <a:pt x="511" y="36"/>
                  </a:lnTo>
                  <a:lnTo>
                    <a:pt x="528" y="37"/>
                  </a:lnTo>
                  <a:lnTo>
                    <a:pt x="545" y="39"/>
                  </a:lnTo>
                  <a:lnTo>
                    <a:pt x="579" y="45"/>
                  </a:lnTo>
                  <a:lnTo>
                    <a:pt x="611" y="52"/>
                  </a:lnTo>
                  <a:lnTo>
                    <a:pt x="643" y="61"/>
                  </a:lnTo>
                  <a:lnTo>
                    <a:pt x="674" y="73"/>
                  </a:lnTo>
                  <a:lnTo>
                    <a:pt x="704" y="86"/>
                  </a:lnTo>
                  <a:lnTo>
                    <a:pt x="734" y="100"/>
                  </a:lnTo>
                  <a:lnTo>
                    <a:pt x="762" y="116"/>
                  </a:lnTo>
                  <a:lnTo>
                    <a:pt x="789" y="134"/>
                  </a:lnTo>
                  <a:lnTo>
                    <a:pt x="815" y="154"/>
                  </a:lnTo>
                  <a:lnTo>
                    <a:pt x="840" y="174"/>
                  </a:lnTo>
                  <a:lnTo>
                    <a:pt x="864" y="197"/>
                  </a:lnTo>
                  <a:lnTo>
                    <a:pt x="885" y="221"/>
                  </a:lnTo>
                  <a:lnTo>
                    <a:pt x="907" y="245"/>
                  </a:lnTo>
                  <a:lnTo>
                    <a:pt x="925" y="271"/>
                  </a:lnTo>
                  <a:lnTo>
                    <a:pt x="951" y="247"/>
                  </a:lnTo>
                  <a:lnTo>
                    <a:pt x="931" y="218"/>
                  </a:lnTo>
                  <a:lnTo>
                    <a:pt x="908" y="193"/>
                  </a:lnTo>
                  <a:lnTo>
                    <a:pt x="884" y="168"/>
                  </a:lnTo>
                  <a:lnTo>
                    <a:pt x="859" y="145"/>
                  </a:lnTo>
                  <a:lnTo>
                    <a:pt x="833" y="123"/>
                  </a:lnTo>
                  <a:lnTo>
                    <a:pt x="806" y="103"/>
                  </a:lnTo>
                  <a:lnTo>
                    <a:pt x="777" y="85"/>
                  </a:lnTo>
                  <a:lnTo>
                    <a:pt x="747" y="67"/>
                  </a:lnTo>
                  <a:lnTo>
                    <a:pt x="717" y="52"/>
                  </a:lnTo>
                  <a:lnTo>
                    <a:pt x="684" y="38"/>
                  </a:lnTo>
                  <a:lnTo>
                    <a:pt x="652" y="27"/>
                  </a:lnTo>
                  <a:lnTo>
                    <a:pt x="619" y="18"/>
                  </a:lnTo>
                  <a:lnTo>
                    <a:pt x="601" y="13"/>
                  </a:lnTo>
                  <a:lnTo>
                    <a:pt x="584" y="10"/>
                  </a:lnTo>
                  <a:lnTo>
                    <a:pt x="566" y="7"/>
                  </a:lnTo>
                  <a:lnTo>
                    <a:pt x="548" y="5"/>
                  </a:lnTo>
                  <a:lnTo>
                    <a:pt x="530" y="2"/>
                  </a:lnTo>
                  <a:lnTo>
                    <a:pt x="513" y="1"/>
                  </a:lnTo>
                  <a:lnTo>
                    <a:pt x="494" y="0"/>
                  </a:lnTo>
                  <a:lnTo>
                    <a:pt x="476" y="0"/>
                  </a:lnTo>
                  <a:close/>
                </a:path>
              </a:pathLst>
            </a:custGeom>
            <a:grp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dirty="0"/>
            </a:p>
          </p:txBody>
        </p:sp>
        <p:sp>
          <p:nvSpPr>
            <p:cNvPr id="76" name="Freeform 299"/>
            <p:cNvSpPr/>
            <p:nvPr/>
          </p:nvSpPr>
          <p:spPr bwMode="auto">
            <a:xfrm>
              <a:off x="10106025" y="5300663"/>
              <a:ext cx="296863" cy="93663"/>
            </a:xfrm>
            <a:custGeom>
              <a:avLst/>
              <a:gdLst>
                <a:gd name="T0" fmla="*/ 346 w 749"/>
                <a:gd name="T1" fmla="*/ 1 h 234"/>
                <a:gd name="T2" fmla="*/ 289 w 749"/>
                <a:gd name="T3" fmla="*/ 8 h 234"/>
                <a:gd name="T4" fmla="*/ 233 w 749"/>
                <a:gd name="T5" fmla="*/ 23 h 234"/>
                <a:gd name="T6" fmla="*/ 182 w 749"/>
                <a:gd name="T7" fmla="*/ 44 h 234"/>
                <a:gd name="T8" fmla="*/ 134 w 749"/>
                <a:gd name="T9" fmla="*/ 72 h 234"/>
                <a:gd name="T10" fmla="*/ 90 w 749"/>
                <a:gd name="T11" fmla="*/ 104 h 234"/>
                <a:gd name="T12" fmla="*/ 50 w 749"/>
                <a:gd name="T13" fmla="*/ 143 h 234"/>
                <a:gd name="T14" fmla="*/ 15 w 749"/>
                <a:gd name="T15" fmla="*/ 185 h 234"/>
                <a:gd name="T16" fmla="*/ 26 w 749"/>
                <a:gd name="T17" fmla="*/ 234 h 234"/>
                <a:gd name="T18" fmla="*/ 55 w 749"/>
                <a:gd name="T19" fmla="*/ 192 h 234"/>
                <a:gd name="T20" fmla="*/ 90 w 749"/>
                <a:gd name="T21" fmla="*/ 153 h 234"/>
                <a:gd name="T22" fmla="*/ 129 w 749"/>
                <a:gd name="T23" fmla="*/ 119 h 234"/>
                <a:gd name="T24" fmla="*/ 171 w 749"/>
                <a:gd name="T25" fmla="*/ 90 h 234"/>
                <a:gd name="T26" fmla="*/ 218 w 749"/>
                <a:gd name="T27" fmla="*/ 67 h 234"/>
                <a:gd name="T28" fmla="*/ 268 w 749"/>
                <a:gd name="T29" fmla="*/ 49 h 234"/>
                <a:gd name="T30" fmla="*/ 320 w 749"/>
                <a:gd name="T31" fmla="*/ 39 h 234"/>
                <a:gd name="T32" fmla="*/ 375 w 749"/>
                <a:gd name="T33" fmla="*/ 35 h 234"/>
                <a:gd name="T34" fmla="*/ 429 w 749"/>
                <a:gd name="T35" fmla="*/ 39 h 234"/>
                <a:gd name="T36" fmla="*/ 482 w 749"/>
                <a:gd name="T37" fmla="*/ 49 h 234"/>
                <a:gd name="T38" fmla="*/ 532 w 749"/>
                <a:gd name="T39" fmla="*/ 67 h 234"/>
                <a:gd name="T40" fmla="*/ 578 w 749"/>
                <a:gd name="T41" fmla="*/ 89 h 234"/>
                <a:gd name="T42" fmla="*/ 620 w 749"/>
                <a:gd name="T43" fmla="*/ 119 h 234"/>
                <a:gd name="T44" fmla="*/ 659 w 749"/>
                <a:gd name="T45" fmla="*/ 152 h 234"/>
                <a:gd name="T46" fmla="*/ 694 w 749"/>
                <a:gd name="T47" fmla="*/ 190 h 234"/>
                <a:gd name="T48" fmla="*/ 723 w 749"/>
                <a:gd name="T49" fmla="*/ 232 h 234"/>
                <a:gd name="T50" fmla="*/ 734 w 749"/>
                <a:gd name="T51" fmla="*/ 184 h 234"/>
                <a:gd name="T52" fmla="*/ 698 w 749"/>
                <a:gd name="T53" fmla="*/ 141 h 234"/>
                <a:gd name="T54" fmla="*/ 659 w 749"/>
                <a:gd name="T55" fmla="*/ 103 h 234"/>
                <a:gd name="T56" fmla="*/ 615 w 749"/>
                <a:gd name="T57" fmla="*/ 71 h 234"/>
                <a:gd name="T58" fmla="*/ 567 w 749"/>
                <a:gd name="T59" fmla="*/ 44 h 234"/>
                <a:gd name="T60" fmla="*/ 515 w 749"/>
                <a:gd name="T61" fmla="*/ 22 h 234"/>
                <a:gd name="T62" fmla="*/ 461 w 749"/>
                <a:gd name="T63" fmla="*/ 8 h 234"/>
                <a:gd name="T64" fmla="*/ 404 w 749"/>
                <a:gd name="T65" fmla="*/ 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9" h="234">
                  <a:moveTo>
                    <a:pt x="375" y="0"/>
                  </a:moveTo>
                  <a:lnTo>
                    <a:pt x="346" y="1"/>
                  </a:lnTo>
                  <a:lnTo>
                    <a:pt x="317" y="4"/>
                  </a:lnTo>
                  <a:lnTo>
                    <a:pt x="289" y="8"/>
                  </a:lnTo>
                  <a:lnTo>
                    <a:pt x="260" y="15"/>
                  </a:lnTo>
                  <a:lnTo>
                    <a:pt x="233" y="23"/>
                  </a:lnTo>
                  <a:lnTo>
                    <a:pt x="208" y="33"/>
                  </a:lnTo>
                  <a:lnTo>
                    <a:pt x="182" y="44"/>
                  </a:lnTo>
                  <a:lnTo>
                    <a:pt x="158" y="57"/>
                  </a:lnTo>
                  <a:lnTo>
                    <a:pt x="134" y="72"/>
                  </a:lnTo>
                  <a:lnTo>
                    <a:pt x="111" y="87"/>
                  </a:lnTo>
                  <a:lnTo>
                    <a:pt x="90" y="104"/>
                  </a:lnTo>
                  <a:lnTo>
                    <a:pt x="69" y="123"/>
                  </a:lnTo>
                  <a:lnTo>
                    <a:pt x="50" y="143"/>
                  </a:lnTo>
                  <a:lnTo>
                    <a:pt x="33" y="164"/>
                  </a:lnTo>
                  <a:lnTo>
                    <a:pt x="15" y="185"/>
                  </a:lnTo>
                  <a:lnTo>
                    <a:pt x="0" y="209"/>
                  </a:lnTo>
                  <a:lnTo>
                    <a:pt x="26" y="234"/>
                  </a:lnTo>
                  <a:lnTo>
                    <a:pt x="40" y="212"/>
                  </a:lnTo>
                  <a:lnTo>
                    <a:pt x="55" y="192"/>
                  </a:lnTo>
                  <a:lnTo>
                    <a:pt x="71" y="171"/>
                  </a:lnTo>
                  <a:lnTo>
                    <a:pt x="90" y="153"/>
                  </a:lnTo>
                  <a:lnTo>
                    <a:pt x="108" y="136"/>
                  </a:lnTo>
                  <a:lnTo>
                    <a:pt x="129" y="119"/>
                  </a:lnTo>
                  <a:lnTo>
                    <a:pt x="149" y="103"/>
                  </a:lnTo>
                  <a:lnTo>
                    <a:pt x="171" y="90"/>
                  </a:lnTo>
                  <a:lnTo>
                    <a:pt x="195" y="77"/>
                  </a:lnTo>
                  <a:lnTo>
                    <a:pt x="218" y="67"/>
                  </a:lnTo>
                  <a:lnTo>
                    <a:pt x="242" y="57"/>
                  </a:lnTo>
                  <a:lnTo>
                    <a:pt x="268" y="49"/>
                  </a:lnTo>
                  <a:lnTo>
                    <a:pt x="294" y="43"/>
                  </a:lnTo>
                  <a:lnTo>
                    <a:pt x="320" y="39"/>
                  </a:lnTo>
                  <a:lnTo>
                    <a:pt x="347" y="36"/>
                  </a:lnTo>
                  <a:lnTo>
                    <a:pt x="375" y="35"/>
                  </a:lnTo>
                  <a:lnTo>
                    <a:pt x="402" y="36"/>
                  </a:lnTo>
                  <a:lnTo>
                    <a:pt x="429" y="39"/>
                  </a:lnTo>
                  <a:lnTo>
                    <a:pt x="456" y="43"/>
                  </a:lnTo>
                  <a:lnTo>
                    <a:pt x="482" y="49"/>
                  </a:lnTo>
                  <a:lnTo>
                    <a:pt x="507" y="57"/>
                  </a:lnTo>
                  <a:lnTo>
                    <a:pt x="532" y="67"/>
                  </a:lnTo>
                  <a:lnTo>
                    <a:pt x="554" y="77"/>
                  </a:lnTo>
                  <a:lnTo>
                    <a:pt x="578" y="89"/>
                  </a:lnTo>
                  <a:lnTo>
                    <a:pt x="600" y="103"/>
                  </a:lnTo>
                  <a:lnTo>
                    <a:pt x="620" y="119"/>
                  </a:lnTo>
                  <a:lnTo>
                    <a:pt x="641" y="135"/>
                  </a:lnTo>
                  <a:lnTo>
                    <a:pt x="659" y="152"/>
                  </a:lnTo>
                  <a:lnTo>
                    <a:pt x="677" y="170"/>
                  </a:lnTo>
                  <a:lnTo>
                    <a:pt x="694" y="190"/>
                  </a:lnTo>
                  <a:lnTo>
                    <a:pt x="709" y="210"/>
                  </a:lnTo>
                  <a:lnTo>
                    <a:pt x="723" y="232"/>
                  </a:lnTo>
                  <a:lnTo>
                    <a:pt x="749" y="207"/>
                  </a:lnTo>
                  <a:lnTo>
                    <a:pt x="734" y="184"/>
                  </a:lnTo>
                  <a:lnTo>
                    <a:pt x="716" y="162"/>
                  </a:lnTo>
                  <a:lnTo>
                    <a:pt x="698" y="141"/>
                  </a:lnTo>
                  <a:lnTo>
                    <a:pt x="680" y="122"/>
                  </a:lnTo>
                  <a:lnTo>
                    <a:pt x="659" y="103"/>
                  </a:lnTo>
                  <a:lnTo>
                    <a:pt x="637" y="87"/>
                  </a:lnTo>
                  <a:lnTo>
                    <a:pt x="615" y="71"/>
                  </a:lnTo>
                  <a:lnTo>
                    <a:pt x="591" y="57"/>
                  </a:lnTo>
                  <a:lnTo>
                    <a:pt x="567" y="44"/>
                  </a:lnTo>
                  <a:lnTo>
                    <a:pt x="541" y="32"/>
                  </a:lnTo>
                  <a:lnTo>
                    <a:pt x="515" y="22"/>
                  </a:lnTo>
                  <a:lnTo>
                    <a:pt x="488" y="15"/>
                  </a:lnTo>
                  <a:lnTo>
                    <a:pt x="461" y="8"/>
                  </a:lnTo>
                  <a:lnTo>
                    <a:pt x="433" y="4"/>
                  </a:lnTo>
                  <a:lnTo>
                    <a:pt x="404" y="1"/>
                  </a:lnTo>
                  <a:lnTo>
                    <a:pt x="375" y="0"/>
                  </a:lnTo>
                  <a:close/>
                </a:path>
              </a:pathLst>
            </a:custGeom>
            <a:grp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dirty="0"/>
            </a:p>
          </p:txBody>
        </p:sp>
      </p:grpSp>
      <p:grpSp>
        <p:nvGrpSpPr>
          <p:cNvPr id="77" name="Group 76"/>
          <p:cNvGrpSpPr/>
          <p:nvPr/>
        </p:nvGrpSpPr>
        <p:grpSpPr>
          <a:xfrm>
            <a:off x="4165445" y="1838968"/>
            <a:ext cx="597194" cy="380852"/>
            <a:chOff x="6892925" y="3929063"/>
            <a:chExt cx="420688" cy="268288"/>
          </a:xfrm>
          <a:solidFill>
            <a:schemeClr val="bg1"/>
          </a:solidFill>
        </p:grpSpPr>
        <p:sp>
          <p:nvSpPr>
            <p:cNvPr id="78" name="Freeform 312"/>
            <p:cNvSpPr/>
            <p:nvPr/>
          </p:nvSpPr>
          <p:spPr bwMode="auto">
            <a:xfrm>
              <a:off x="7242175" y="3941763"/>
              <a:ext cx="71438" cy="242888"/>
            </a:xfrm>
            <a:custGeom>
              <a:avLst/>
              <a:gdLst>
                <a:gd name="T0" fmla="*/ 6 w 177"/>
                <a:gd name="T1" fmla="*/ 26 h 611"/>
                <a:gd name="T2" fmla="*/ 35 w 177"/>
                <a:gd name="T3" fmla="*/ 51 h 611"/>
                <a:gd name="T4" fmla="*/ 62 w 177"/>
                <a:gd name="T5" fmla="*/ 80 h 611"/>
                <a:gd name="T6" fmla="*/ 85 w 177"/>
                <a:gd name="T7" fmla="*/ 112 h 611"/>
                <a:gd name="T8" fmla="*/ 104 w 177"/>
                <a:gd name="T9" fmla="*/ 146 h 611"/>
                <a:gd name="T10" fmla="*/ 121 w 177"/>
                <a:gd name="T11" fmla="*/ 183 h 611"/>
                <a:gd name="T12" fmla="*/ 132 w 177"/>
                <a:gd name="T13" fmla="*/ 221 h 611"/>
                <a:gd name="T14" fmla="*/ 139 w 177"/>
                <a:gd name="T15" fmla="*/ 261 h 611"/>
                <a:gd name="T16" fmla="*/ 142 w 177"/>
                <a:gd name="T17" fmla="*/ 304 h 611"/>
                <a:gd name="T18" fmla="*/ 139 w 177"/>
                <a:gd name="T19" fmla="*/ 346 h 611"/>
                <a:gd name="T20" fmla="*/ 131 w 177"/>
                <a:gd name="T21" fmla="*/ 387 h 611"/>
                <a:gd name="T22" fmla="*/ 119 w 177"/>
                <a:gd name="T23" fmla="*/ 427 h 611"/>
                <a:gd name="T24" fmla="*/ 103 w 177"/>
                <a:gd name="T25" fmla="*/ 463 h 611"/>
                <a:gd name="T26" fmla="*/ 83 w 177"/>
                <a:gd name="T27" fmla="*/ 499 h 611"/>
                <a:gd name="T28" fmla="*/ 58 w 177"/>
                <a:gd name="T29" fmla="*/ 530 h 611"/>
                <a:gd name="T30" fmla="*/ 30 w 177"/>
                <a:gd name="T31" fmla="*/ 559 h 611"/>
                <a:gd name="T32" fmla="*/ 0 w 177"/>
                <a:gd name="T33" fmla="*/ 585 h 611"/>
                <a:gd name="T34" fmla="*/ 42 w 177"/>
                <a:gd name="T35" fmla="*/ 597 h 611"/>
                <a:gd name="T36" fmla="*/ 73 w 177"/>
                <a:gd name="T37" fmla="*/ 567 h 611"/>
                <a:gd name="T38" fmla="*/ 101 w 177"/>
                <a:gd name="T39" fmla="*/ 534 h 611"/>
                <a:gd name="T40" fmla="*/ 125 w 177"/>
                <a:gd name="T41" fmla="*/ 497 h 611"/>
                <a:gd name="T42" fmla="*/ 145 w 177"/>
                <a:gd name="T43" fmla="*/ 458 h 611"/>
                <a:gd name="T44" fmla="*/ 160 w 177"/>
                <a:gd name="T45" fmla="*/ 416 h 611"/>
                <a:gd name="T46" fmla="*/ 171 w 177"/>
                <a:gd name="T47" fmla="*/ 372 h 611"/>
                <a:gd name="T48" fmla="*/ 177 w 177"/>
                <a:gd name="T49" fmla="*/ 326 h 611"/>
                <a:gd name="T50" fmla="*/ 177 w 177"/>
                <a:gd name="T51" fmla="*/ 280 h 611"/>
                <a:gd name="T52" fmla="*/ 171 w 177"/>
                <a:gd name="T53" fmla="*/ 235 h 611"/>
                <a:gd name="T54" fmla="*/ 162 w 177"/>
                <a:gd name="T55" fmla="*/ 192 h 611"/>
                <a:gd name="T56" fmla="*/ 146 w 177"/>
                <a:gd name="T57" fmla="*/ 152 h 611"/>
                <a:gd name="T58" fmla="*/ 127 w 177"/>
                <a:gd name="T59" fmla="*/ 113 h 611"/>
                <a:gd name="T60" fmla="*/ 104 w 177"/>
                <a:gd name="T61" fmla="*/ 77 h 611"/>
                <a:gd name="T62" fmla="*/ 77 w 177"/>
                <a:gd name="T63" fmla="*/ 44 h 611"/>
                <a:gd name="T64" fmla="*/ 47 w 177"/>
                <a:gd name="T65" fmla="*/ 1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7" h="611">
                  <a:moveTo>
                    <a:pt x="31" y="0"/>
                  </a:moveTo>
                  <a:lnTo>
                    <a:pt x="6" y="26"/>
                  </a:lnTo>
                  <a:lnTo>
                    <a:pt x="21" y="38"/>
                  </a:lnTo>
                  <a:lnTo>
                    <a:pt x="35" y="51"/>
                  </a:lnTo>
                  <a:lnTo>
                    <a:pt x="49" y="66"/>
                  </a:lnTo>
                  <a:lnTo>
                    <a:pt x="62" y="80"/>
                  </a:lnTo>
                  <a:lnTo>
                    <a:pt x="74" y="96"/>
                  </a:lnTo>
                  <a:lnTo>
                    <a:pt x="85" y="112"/>
                  </a:lnTo>
                  <a:lnTo>
                    <a:pt x="96" y="129"/>
                  </a:lnTo>
                  <a:lnTo>
                    <a:pt x="104" y="146"/>
                  </a:lnTo>
                  <a:lnTo>
                    <a:pt x="113" y="164"/>
                  </a:lnTo>
                  <a:lnTo>
                    <a:pt x="121" y="183"/>
                  </a:lnTo>
                  <a:lnTo>
                    <a:pt x="127" y="202"/>
                  </a:lnTo>
                  <a:lnTo>
                    <a:pt x="132" y="221"/>
                  </a:lnTo>
                  <a:lnTo>
                    <a:pt x="137" y="241"/>
                  </a:lnTo>
                  <a:lnTo>
                    <a:pt x="139" y="261"/>
                  </a:lnTo>
                  <a:lnTo>
                    <a:pt x="141" y="282"/>
                  </a:lnTo>
                  <a:lnTo>
                    <a:pt x="142" y="304"/>
                  </a:lnTo>
                  <a:lnTo>
                    <a:pt x="141" y="324"/>
                  </a:lnTo>
                  <a:lnTo>
                    <a:pt x="139" y="346"/>
                  </a:lnTo>
                  <a:lnTo>
                    <a:pt x="136" y="366"/>
                  </a:lnTo>
                  <a:lnTo>
                    <a:pt x="131" y="387"/>
                  </a:lnTo>
                  <a:lnTo>
                    <a:pt x="126" y="407"/>
                  </a:lnTo>
                  <a:lnTo>
                    <a:pt x="119" y="427"/>
                  </a:lnTo>
                  <a:lnTo>
                    <a:pt x="112" y="445"/>
                  </a:lnTo>
                  <a:lnTo>
                    <a:pt x="103" y="463"/>
                  </a:lnTo>
                  <a:lnTo>
                    <a:pt x="94" y="482"/>
                  </a:lnTo>
                  <a:lnTo>
                    <a:pt x="83" y="499"/>
                  </a:lnTo>
                  <a:lnTo>
                    <a:pt x="71" y="515"/>
                  </a:lnTo>
                  <a:lnTo>
                    <a:pt x="58" y="530"/>
                  </a:lnTo>
                  <a:lnTo>
                    <a:pt x="45" y="545"/>
                  </a:lnTo>
                  <a:lnTo>
                    <a:pt x="30" y="559"/>
                  </a:lnTo>
                  <a:lnTo>
                    <a:pt x="15" y="574"/>
                  </a:lnTo>
                  <a:lnTo>
                    <a:pt x="0" y="585"/>
                  </a:lnTo>
                  <a:lnTo>
                    <a:pt x="24" y="611"/>
                  </a:lnTo>
                  <a:lnTo>
                    <a:pt x="42" y="597"/>
                  </a:lnTo>
                  <a:lnTo>
                    <a:pt x="58" y="583"/>
                  </a:lnTo>
                  <a:lnTo>
                    <a:pt x="73" y="567"/>
                  </a:lnTo>
                  <a:lnTo>
                    <a:pt x="87" y="551"/>
                  </a:lnTo>
                  <a:lnTo>
                    <a:pt x="101" y="534"/>
                  </a:lnTo>
                  <a:lnTo>
                    <a:pt x="114" y="515"/>
                  </a:lnTo>
                  <a:lnTo>
                    <a:pt x="125" y="497"/>
                  </a:lnTo>
                  <a:lnTo>
                    <a:pt x="136" y="477"/>
                  </a:lnTo>
                  <a:lnTo>
                    <a:pt x="145" y="458"/>
                  </a:lnTo>
                  <a:lnTo>
                    <a:pt x="153" y="437"/>
                  </a:lnTo>
                  <a:lnTo>
                    <a:pt x="160" y="416"/>
                  </a:lnTo>
                  <a:lnTo>
                    <a:pt x="166" y="394"/>
                  </a:lnTo>
                  <a:lnTo>
                    <a:pt x="171" y="372"/>
                  </a:lnTo>
                  <a:lnTo>
                    <a:pt x="175" y="350"/>
                  </a:lnTo>
                  <a:lnTo>
                    <a:pt x="177" y="326"/>
                  </a:lnTo>
                  <a:lnTo>
                    <a:pt x="177" y="304"/>
                  </a:lnTo>
                  <a:lnTo>
                    <a:pt x="177" y="280"/>
                  </a:lnTo>
                  <a:lnTo>
                    <a:pt x="175" y="258"/>
                  </a:lnTo>
                  <a:lnTo>
                    <a:pt x="171" y="235"/>
                  </a:lnTo>
                  <a:lnTo>
                    <a:pt x="167" y="214"/>
                  </a:lnTo>
                  <a:lnTo>
                    <a:pt x="162" y="192"/>
                  </a:lnTo>
                  <a:lnTo>
                    <a:pt x="154" y="172"/>
                  </a:lnTo>
                  <a:lnTo>
                    <a:pt x="146" y="152"/>
                  </a:lnTo>
                  <a:lnTo>
                    <a:pt x="138" y="132"/>
                  </a:lnTo>
                  <a:lnTo>
                    <a:pt x="127" y="113"/>
                  </a:lnTo>
                  <a:lnTo>
                    <a:pt x="116" y="95"/>
                  </a:lnTo>
                  <a:lnTo>
                    <a:pt x="104" y="77"/>
                  </a:lnTo>
                  <a:lnTo>
                    <a:pt x="91" y="61"/>
                  </a:lnTo>
                  <a:lnTo>
                    <a:pt x="77" y="44"/>
                  </a:lnTo>
                  <a:lnTo>
                    <a:pt x="63" y="28"/>
                  </a:lnTo>
                  <a:lnTo>
                    <a:pt x="47" y="14"/>
                  </a:lnTo>
                  <a:lnTo>
                    <a:pt x="3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dirty="0"/>
            </a:p>
          </p:txBody>
        </p:sp>
        <p:sp>
          <p:nvSpPr>
            <p:cNvPr id="79" name="Freeform 313"/>
            <p:cNvSpPr/>
            <p:nvPr/>
          </p:nvSpPr>
          <p:spPr bwMode="auto">
            <a:xfrm>
              <a:off x="7197725" y="3987800"/>
              <a:ext cx="52388" cy="150813"/>
            </a:xfrm>
            <a:custGeom>
              <a:avLst/>
              <a:gdLst>
                <a:gd name="T0" fmla="*/ 8 w 133"/>
                <a:gd name="T1" fmla="*/ 26 h 384"/>
                <a:gd name="T2" fmla="*/ 27 w 133"/>
                <a:gd name="T3" fmla="*/ 40 h 384"/>
                <a:gd name="T4" fmla="*/ 44 w 133"/>
                <a:gd name="T5" fmla="*/ 57 h 384"/>
                <a:gd name="T6" fmla="*/ 59 w 133"/>
                <a:gd name="T7" fmla="*/ 75 h 384"/>
                <a:gd name="T8" fmla="*/ 73 w 133"/>
                <a:gd name="T9" fmla="*/ 95 h 384"/>
                <a:gd name="T10" fmla="*/ 83 w 133"/>
                <a:gd name="T11" fmla="*/ 117 h 384"/>
                <a:gd name="T12" fmla="*/ 92 w 133"/>
                <a:gd name="T13" fmla="*/ 140 h 384"/>
                <a:gd name="T14" fmla="*/ 96 w 133"/>
                <a:gd name="T15" fmla="*/ 165 h 384"/>
                <a:gd name="T16" fmla="*/ 98 w 133"/>
                <a:gd name="T17" fmla="*/ 191 h 384"/>
                <a:gd name="T18" fmla="*/ 96 w 133"/>
                <a:gd name="T19" fmla="*/ 216 h 384"/>
                <a:gd name="T20" fmla="*/ 91 w 133"/>
                <a:gd name="T21" fmla="*/ 242 h 384"/>
                <a:gd name="T22" fmla="*/ 82 w 133"/>
                <a:gd name="T23" fmla="*/ 266 h 384"/>
                <a:gd name="T24" fmla="*/ 71 w 133"/>
                <a:gd name="T25" fmla="*/ 289 h 384"/>
                <a:gd name="T26" fmla="*/ 56 w 133"/>
                <a:gd name="T27" fmla="*/ 309 h 384"/>
                <a:gd name="T28" fmla="*/ 40 w 133"/>
                <a:gd name="T29" fmla="*/ 328 h 384"/>
                <a:gd name="T30" fmla="*/ 21 w 133"/>
                <a:gd name="T31" fmla="*/ 345 h 384"/>
                <a:gd name="T32" fmla="*/ 0 w 133"/>
                <a:gd name="T33" fmla="*/ 358 h 384"/>
                <a:gd name="T34" fmla="*/ 38 w 133"/>
                <a:gd name="T35" fmla="*/ 376 h 384"/>
                <a:gd name="T36" fmla="*/ 59 w 133"/>
                <a:gd name="T37" fmla="*/ 358 h 384"/>
                <a:gd name="T38" fmla="*/ 79 w 133"/>
                <a:gd name="T39" fmla="*/ 337 h 384"/>
                <a:gd name="T40" fmla="*/ 96 w 133"/>
                <a:gd name="T41" fmla="*/ 315 h 384"/>
                <a:gd name="T42" fmla="*/ 110 w 133"/>
                <a:gd name="T43" fmla="*/ 290 h 384"/>
                <a:gd name="T44" fmla="*/ 121 w 133"/>
                <a:gd name="T45" fmla="*/ 263 h 384"/>
                <a:gd name="T46" fmla="*/ 129 w 133"/>
                <a:gd name="T47" fmla="*/ 235 h 384"/>
                <a:gd name="T48" fmla="*/ 133 w 133"/>
                <a:gd name="T49" fmla="*/ 206 h 384"/>
                <a:gd name="T50" fmla="*/ 133 w 133"/>
                <a:gd name="T51" fmla="*/ 175 h 384"/>
                <a:gd name="T52" fmla="*/ 130 w 133"/>
                <a:gd name="T53" fmla="*/ 147 h 384"/>
                <a:gd name="T54" fmla="*/ 122 w 133"/>
                <a:gd name="T55" fmla="*/ 119 h 384"/>
                <a:gd name="T56" fmla="*/ 112 w 133"/>
                <a:gd name="T57" fmla="*/ 93 h 384"/>
                <a:gd name="T58" fmla="*/ 99 w 133"/>
                <a:gd name="T59" fmla="*/ 70 h 384"/>
                <a:gd name="T60" fmla="*/ 83 w 133"/>
                <a:gd name="T61" fmla="*/ 47 h 384"/>
                <a:gd name="T62" fmla="*/ 65 w 133"/>
                <a:gd name="T63" fmla="*/ 26 h 384"/>
                <a:gd name="T64" fmla="*/ 44 w 133"/>
                <a:gd name="T65" fmla="*/ 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384">
                  <a:moveTo>
                    <a:pt x="32" y="0"/>
                  </a:moveTo>
                  <a:lnTo>
                    <a:pt x="8" y="26"/>
                  </a:lnTo>
                  <a:lnTo>
                    <a:pt x="17" y="33"/>
                  </a:lnTo>
                  <a:lnTo>
                    <a:pt x="27" y="40"/>
                  </a:lnTo>
                  <a:lnTo>
                    <a:pt x="36" y="48"/>
                  </a:lnTo>
                  <a:lnTo>
                    <a:pt x="44" y="57"/>
                  </a:lnTo>
                  <a:lnTo>
                    <a:pt x="53" y="65"/>
                  </a:lnTo>
                  <a:lnTo>
                    <a:pt x="59" y="75"/>
                  </a:lnTo>
                  <a:lnTo>
                    <a:pt x="67" y="85"/>
                  </a:lnTo>
                  <a:lnTo>
                    <a:pt x="73" y="95"/>
                  </a:lnTo>
                  <a:lnTo>
                    <a:pt x="79" y="106"/>
                  </a:lnTo>
                  <a:lnTo>
                    <a:pt x="83" y="117"/>
                  </a:lnTo>
                  <a:lnTo>
                    <a:pt x="88" y="128"/>
                  </a:lnTo>
                  <a:lnTo>
                    <a:pt x="92" y="140"/>
                  </a:lnTo>
                  <a:lnTo>
                    <a:pt x="94" y="153"/>
                  </a:lnTo>
                  <a:lnTo>
                    <a:pt x="96" y="165"/>
                  </a:lnTo>
                  <a:lnTo>
                    <a:pt x="97" y="178"/>
                  </a:lnTo>
                  <a:lnTo>
                    <a:pt x="98" y="191"/>
                  </a:lnTo>
                  <a:lnTo>
                    <a:pt x="97" y="203"/>
                  </a:lnTo>
                  <a:lnTo>
                    <a:pt x="96" y="216"/>
                  </a:lnTo>
                  <a:lnTo>
                    <a:pt x="94" y="229"/>
                  </a:lnTo>
                  <a:lnTo>
                    <a:pt x="91" y="242"/>
                  </a:lnTo>
                  <a:lnTo>
                    <a:pt x="88" y="254"/>
                  </a:lnTo>
                  <a:lnTo>
                    <a:pt x="82" y="266"/>
                  </a:lnTo>
                  <a:lnTo>
                    <a:pt x="77" y="278"/>
                  </a:lnTo>
                  <a:lnTo>
                    <a:pt x="71" y="289"/>
                  </a:lnTo>
                  <a:lnTo>
                    <a:pt x="64" y="300"/>
                  </a:lnTo>
                  <a:lnTo>
                    <a:pt x="56" y="309"/>
                  </a:lnTo>
                  <a:lnTo>
                    <a:pt x="49" y="319"/>
                  </a:lnTo>
                  <a:lnTo>
                    <a:pt x="40" y="328"/>
                  </a:lnTo>
                  <a:lnTo>
                    <a:pt x="30" y="336"/>
                  </a:lnTo>
                  <a:lnTo>
                    <a:pt x="21" y="345"/>
                  </a:lnTo>
                  <a:lnTo>
                    <a:pt x="11" y="351"/>
                  </a:lnTo>
                  <a:lnTo>
                    <a:pt x="0" y="358"/>
                  </a:lnTo>
                  <a:lnTo>
                    <a:pt x="26" y="384"/>
                  </a:lnTo>
                  <a:lnTo>
                    <a:pt x="38" y="376"/>
                  </a:lnTo>
                  <a:lnTo>
                    <a:pt x="49" y="368"/>
                  </a:lnTo>
                  <a:lnTo>
                    <a:pt x="59" y="358"/>
                  </a:lnTo>
                  <a:lnTo>
                    <a:pt x="70" y="348"/>
                  </a:lnTo>
                  <a:lnTo>
                    <a:pt x="79" y="337"/>
                  </a:lnTo>
                  <a:lnTo>
                    <a:pt x="89" y="327"/>
                  </a:lnTo>
                  <a:lnTo>
                    <a:pt x="96" y="315"/>
                  </a:lnTo>
                  <a:lnTo>
                    <a:pt x="104" y="303"/>
                  </a:lnTo>
                  <a:lnTo>
                    <a:pt x="110" y="290"/>
                  </a:lnTo>
                  <a:lnTo>
                    <a:pt x="117" y="277"/>
                  </a:lnTo>
                  <a:lnTo>
                    <a:pt x="121" y="263"/>
                  </a:lnTo>
                  <a:lnTo>
                    <a:pt x="125" y="249"/>
                  </a:lnTo>
                  <a:lnTo>
                    <a:pt x="129" y="235"/>
                  </a:lnTo>
                  <a:lnTo>
                    <a:pt x="132" y="221"/>
                  </a:lnTo>
                  <a:lnTo>
                    <a:pt x="133" y="206"/>
                  </a:lnTo>
                  <a:lnTo>
                    <a:pt x="133" y="191"/>
                  </a:lnTo>
                  <a:lnTo>
                    <a:pt x="133" y="175"/>
                  </a:lnTo>
                  <a:lnTo>
                    <a:pt x="132" y="161"/>
                  </a:lnTo>
                  <a:lnTo>
                    <a:pt x="130" y="147"/>
                  </a:lnTo>
                  <a:lnTo>
                    <a:pt x="126" y="133"/>
                  </a:lnTo>
                  <a:lnTo>
                    <a:pt x="122" y="119"/>
                  </a:lnTo>
                  <a:lnTo>
                    <a:pt x="118" y="106"/>
                  </a:lnTo>
                  <a:lnTo>
                    <a:pt x="112" y="93"/>
                  </a:lnTo>
                  <a:lnTo>
                    <a:pt x="106" y="81"/>
                  </a:lnTo>
                  <a:lnTo>
                    <a:pt x="99" y="70"/>
                  </a:lnTo>
                  <a:lnTo>
                    <a:pt x="91" y="58"/>
                  </a:lnTo>
                  <a:lnTo>
                    <a:pt x="83" y="47"/>
                  </a:lnTo>
                  <a:lnTo>
                    <a:pt x="75" y="36"/>
                  </a:lnTo>
                  <a:lnTo>
                    <a:pt x="65" y="26"/>
                  </a:lnTo>
                  <a:lnTo>
                    <a:pt x="55" y="18"/>
                  </a:lnTo>
                  <a:lnTo>
                    <a:pt x="44" y="8"/>
                  </a:lnTo>
                  <a:lnTo>
                    <a:pt x="3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dirty="0"/>
            </a:p>
          </p:txBody>
        </p:sp>
        <p:sp>
          <p:nvSpPr>
            <p:cNvPr id="80" name="Freeform 314"/>
            <p:cNvSpPr/>
            <p:nvPr/>
          </p:nvSpPr>
          <p:spPr bwMode="auto">
            <a:xfrm>
              <a:off x="6892925" y="4014788"/>
              <a:ext cx="69850" cy="182563"/>
            </a:xfrm>
            <a:custGeom>
              <a:avLst/>
              <a:gdLst>
                <a:gd name="T0" fmla="*/ 0 w 176"/>
                <a:gd name="T1" fmla="*/ 247 h 459"/>
                <a:gd name="T2" fmla="*/ 106 w 176"/>
                <a:gd name="T3" fmla="*/ 247 h 459"/>
                <a:gd name="T4" fmla="*/ 106 w 176"/>
                <a:gd name="T5" fmla="*/ 459 h 459"/>
                <a:gd name="T6" fmla="*/ 142 w 176"/>
                <a:gd name="T7" fmla="*/ 459 h 459"/>
                <a:gd name="T8" fmla="*/ 142 w 176"/>
                <a:gd name="T9" fmla="*/ 247 h 459"/>
                <a:gd name="T10" fmla="*/ 176 w 176"/>
                <a:gd name="T11" fmla="*/ 247 h 459"/>
                <a:gd name="T12" fmla="*/ 176 w 176"/>
                <a:gd name="T13" fmla="*/ 0 h 459"/>
                <a:gd name="T14" fmla="*/ 0 w 176"/>
                <a:gd name="T15" fmla="*/ 0 h 459"/>
                <a:gd name="T16" fmla="*/ 0 w 176"/>
                <a:gd name="T17" fmla="*/ 24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459">
                  <a:moveTo>
                    <a:pt x="0" y="247"/>
                  </a:moveTo>
                  <a:lnTo>
                    <a:pt x="106" y="247"/>
                  </a:lnTo>
                  <a:lnTo>
                    <a:pt x="106" y="459"/>
                  </a:lnTo>
                  <a:lnTo>
                    <a:pt x="142" y="459"/>
                  </a:lnTo>
                  <a:lnTo>
                    <a:pt x="142" y="247"/>
                  </a:lnTo>
                  <a:lnTo>
                    <a:pt x="176" y="247"/>
                  </a:lnTo>
                  <a:lnTo>
                    <a:pt x="176" y="0"/>
                  </a:lnTo>
                  <a:lnTo>
                    <a:pt x="0" y="0"/>
                  </a:lnTo>
                  <a:lnTo>
                    <a:pt x="0" y="2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dirty="0"/>
            </a:p>
          </p:txBody>
        </p:sp>
        <p:sp>
          <p:nvSpPr>
            <p:cNvPr id="81" name="Freeform 315"/>
            <p:cNvSpPr/>
            <p:nvPr/>
          </p:nvSpPr>
          <p:spPr bwMode="auto">
            <a:xfrm>
              <a:off x="6977063" y="3929063"/>
              <a:ext cx="180975" cy="266700"/>
            </a:xfrm>
            <a:custGeom>
              <a:avLst/>
              <a:gdLst>
                <a:gd name="T0" fmla="*/ 0 w 458"/>
                <a:gd name="T1" fmla="*/ 215 h 670"/>
                <a:gd name="T2" fmla="*/ 0 w 458"/>
                <a:gd name="T3" fmla="*/ 462 h 670"/>
                <a:gd name="T4" fmla="*/ 201 w 458"/>
                <a:gd name="T5" fmla="*/ 462 h 670"/>
                <a:gd name="T6" fmla="*/ 458 w 458"/>
                <a:gd name="T7" fmla="*/ 670 h 670"/>
                <a:gd name="T8" fmla="*/ 458 w 458"/>
                <a:gd name="T9" fmla="*/ 0 h 670"/>
                <a:gd name="T10" fmla="*/ 199 w 458"/>
                <a:gd name="T11" fmla="*/ 215 h 670"/>
                <a:gd name="T12" fmla="*/ 0 w 458"/>
                <a:gd name="T13" fmla="*/ 215 h 670"/>
              </a:gdLst>
              <a:ahLst/>
              <a:cxnLst>
                <a:cxn ang="0">
                  <a:pos x="T0" y="T1"/>
                </a:cxn>
                <a:cxn ang="0">
                  <a:pos x="T2" y="T3"/>
                </a:cxn>
                <a:cxn ang="0">
                  <a:pos x="T4" y="T5"/>
                </a:cxn>
                <a:cxn ang="0">
                  <a:pos x="T6" y="T7"/>
                </a:cxn>
                <a:cxn ang="0">
                  <a:pos x="T8" y="T9"/>
                </a:cxn>
                <a:cxn ang="0">
                  <a:pos x="T10" y="T11"/>
                </a:cxn>
                <a:cxn ang="0">
                  <a:pos x="T12" y="T13"/>
                </a:cxn>
              </a:cxnLst>
              <a:rect l="0" t="0" r="r" b="b"/>
              <a:pathLst>
                <a:path w="458" h="670">
                  <a:moveTo>
                    <a:pt x="0" y="215"/>
                  </a:moveTo>
                  <a:lnTo>
                    <a:pt x="0" y="462"/>
                  </a:lnTo>
                  <a:lnTo>
                    <a:pt x="201" y="462"/>
                  </a:lnTo>
                  <a:lnTo>
                    <a:pt x="458" y="670"/>
                  </a:lnTo>
                  <a:lnTo>
                    <a:pt x="458" y="0"/>
                  </a:lnTo>
                  <a:lnTo>
                    <a:pt x="199" y="215"/>
                  </a:lnTo>
                  <a:lnTo>
                    <a:pt x="0" y="2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dirty="0"/>
            </a:p>
          </p:txBody>
        </p:sp>
      </p:grpSp>
      <p:grpSp>
        <p:nvGrpSpPr>
          <p:cNvPr id="82" name="Group 81"/>
          <p:cNvGrpSpPr/>
          <p:nvPr/>
        </p:nvGrpSpPr>
        <p:grpSpPr bwMode="auto">
          <a:xfrm>
            <a:off x="7377512" y="2205225"/>
            <a:ext cx="459398" cy="398004"/>
            <a:chOff x="11028363" y="5368925"/>
            <a:chExt cx="285750" cy="247650"/>
          </a:xfrm>
          <a:solidFill>
            <a:schemeClr val="bg1"/>
          </a:solidFill>
        </p:grpSpPr>
        <p:sp>
          <p:nvSpPr>
            <p:cNvPr id="83" name="Freeform 3577"/>
            <p:cNvSpPr/>
            <p:nvPr/>
          </p:nvSpPr>
          <p:spPr bwMode="auto">
            <a:xfrm>
              <a:off x="11028363" y="5454650"/>
              <a:ext cx="66675" cy="114300"/>
            </a:xfrm>
            <a:custGeom>
              <a:avLst/>
              <a:gdLst>
                <a:gd name="T0" fmla="*/ 0 w 169"/>
                <a:gd name="T1" fmla="*/ 98 h 288"/>
                <a:gd name="T2" fmla="*/ 0 w 169"/>
                <a:gd name="T3" fmla="*/ 114 h 288"/>
                <a:gd name="T4" fmla="*/ 2 w 169"/>
                <a:gd name="T5" fmla="*/ 131 h 288"/>
                <a:gd name="T6" fmla="*/ 3 w 169"/>
                <a:gd name="T7" fmla="*/ 139 h 288"/>
                <a:gd name="T8" fmla="*/ 5 w 169"/>
                <a:gd name="T9" fmla="*/ 146 h 288"/>
                <a:gd name="T10" fmla="*/ 9 w 169"/>
                <a:gd name="T11" fmla="*/ 153 h 288"/>
                <a:gd name="T12" fmla="*/ 13 w 169"/>
                <a:gd name="T13" fmla="*/ 159 h 288"/>
                <a:gd name="T14" fmla="*/ 18 w 169"/>
                <a:gd name="T15" fmla="*/ 163 h 288"/>
                <a:gd name="T16" fmla="*/ 23 w 169"/>
                <a:gd name="T17" fmla="*/ 166 h 288"/>
                <a:gd name="T18" fmla="*/ 23 w 169"/>
                <a:gd name="T19" fmla="*/ 288 h 288"/>
                <a:gd name="T20" fmla="*/ 144 w 169"/>
                <a:gd name="T21" fmla="*/ 288 h 288"/>
                <a:gd name="T22" fmla="*/ 144 w 169"/>
                <a:gd name="T23" fmla="*/ 166 h 288"/>
                <a:gd name="T24" fmla="*/ 151 w 169"/>
                <a:gd name="T25" fmla="*/ 162 h 288"/>
                <a:gd name="T26" fmla="*/ 156 w 169"/>
                <a:gd name="T27" fmla="*/ 157 h 288"/>
                <a:gd name="T28" fmla="*/ 161 w 169"/>
                <a:gd name="T29" fmla="*/ 150 h 288"/>
                <a:gd name="T30" fmla="*/ 165 w 169"/>
                <a:gd name="T31" fmla="*/ 140 h 288"/>
                <a:gd name="T32" fmla="*/ 166 w 169"/>
                <a:gd name="T33" fmla="*/ 130 h 288"/>
                <a:gd name="T34" fmla="*/ 167 w 169"/>
                <a:gd name="T35" fmla="*/ 119 h 288"/>
                <a:gd name="T36" fmla="*/ 169 w 169"/>
                <a:gd name="T37" fmla="*/ 109 h 288"/>
                <a:gd name="T38" fmla="*/ 169 w 169"/>
                <a:gd name="T39" fmla="*/ 99 h 288"/>
                <a:gd name="T40" fmla="*/ 169 w 169"/>
                <a:gd name="T41" fmla="*/ 0 h 288"/>
                <a:gd name="T42" fmla="*/ 0 w 169"/>
                <a:gd name="T43" fmla="*/ 0 h 288"/>
                <a:gd name="T44" fmla="*/ 0 w 169"/>
                <a:gd name="T45" fmla="*/ 9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288">
                  <a:moveTo>
                    <a:pt x="0" y="98"/>
                  </a:moveTo>
                  <a:lnTo>
                    <a:pt x="0" y="114"/>
                  </a:lnTo>
                  <a:lnTo>
                    <a:pt x="2" y="131"/>
                  </a:lnTo>
                  <a:lnTo>
                    <a:pt x="3" y="139"/>
                  </a:lnTo>
                  <a:lnTo>
                    <a:pt x="5" y="146"/>
                  </a:lnTo>
                  <a:lnTo>
                    <a:pt x="9" y="153"/>
                  </a:lnTo>
                  <a:lnTo>
                    <a:pt x="13" y="159"/>
                  </a:lnTo>
                  <a:lnTo>
                    <a:pt x="18" y="163"/>
                  </a:lnTo>
                  <a:lnTo>
                    <a:pt x="23" y="166"/>
                  </a:lnTo>
                  <a:lnTo>
                    <a:pt x="23" y="288"/>
                  </a:lnTo>
                  <a:lnTo>
                    <a:pt x="144" y="288"/>
                  </a:lnTo>
                  <a:lnTo>
                    <a:pt x="144" y="166"/>
                  </a:lnTo>
                  <a:lnTo>
                    <a:pt x="151" y="162"/>
                  </a:lnTo>
                  <a:lnTo>
                    <a:pt x="156" y="157"/>
                  </a:lnTo>
                  <a:lnTo>
                    <a:pt x="161" y="150"/>
                  </a:lnTo>
                  <a:lnTo>
                    <a:pt x="165" y="140"/>
                  </a:lnTo>
                  <a:lnTo>
                    <a:pt x="166" y="130"/>
                  </a:lnTo>
                  <a:lnTo>
                    <a:pt x="167" y="119"/>
                  </a:lnTo>
                  <a:lnTo>
                    <a:pt x="169" y="109"/>
                  </a:lnTo>
                  <a:lnTo>
                    <a:pt x="169" y="99"/>
                  </a:lnTo>
                  <a:lnTo>
                    <a:pt x="169" y="0"/>
                  </a:lnTo>
                  <a:lnTo>
                    <a:pt x="0" y="0"/>
                  </a:lnTo>
                  <a:lnTo>
                    <a:pt x="0" y="9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sz="1015" dirty="0"/>
            </a:p>
          </p:txBody>
        </p:sp>
        <p:sp>
          <p:nvSpPr>
            <p:cNvPr id="84" name="Freeform 3578"/>
            <p:cNvSpPr/>
            <p:nvPr/>
          </p:nvSpPr>
          <p:spPr bwMode="auto">
            <a:xfrm>
              <a:off x="11247438" y="5454650"/>
              <a:ext cx="66675" cy="114300"/>
            </a:xfrm>
            <a:custGeom>
              <a:avLst/>
              <a:gdLst>
                <a:gd name="T0" fmla="*/ 0 w 168"/>
                <a:gd name="T1" fmla="*/ 0 h 288"/>
                <a:gd name="T2" fmla="*/ 0 w 168"/>
                <a:gd name="T3" fmla="*/ 95 h 288"/>
                <a:gd name="T4" fmla="*/ 0 w 168"/>
                <a:gd name="T5" fmla="*/ 105 h 288"/>
                <a:gd name="T6" fmla="*/ 1 w 168"/>
                <a:gd name="T7" fmla="*/ 116 h 288"/>
                <a:gd name="T8" fmla="*/ 3 w 168"/>
                <a:gd name="T9" fmla="*/ 123 h 288"/>
                <a:gd name="T10" fmla="*/ 6 w 168"/>
                <a:gd name="T11" fmla="*/ 131 h 288"/>
                <a:gd name="T12" fmla="*/ 10 w 168"/>
                <a:gd name="T13" fmla="*/ 139 h 288"/>
                <a:gd name="T14" fmla="*/ 14 w 168"/>
                <a:gd name="T15" fmla="*/ 144 h 288"/>
                <a:gd name="T16" fmla="*/ 19 w 168"/>
                <a:gd name="T17" fmla="*/ 149 h 288"/>
                <a:gd name="T18" fmla="*/ 24 w 168"/>
                <a:gd name="T19" fmla="*/ 153 h 288"/>
                <a:gd name="T20" fmla="*/ 24 w 168"/>
                <a:gd name="T21" fmla="*/ 288 h 288"/>
                <a:gd name="T22" fmla="*/ 143 w 168"/>
                <a:gd name="T23" fmla="*/ 288 h 288"/>
                <a:gd name="T24" fmla="*/ 143 w 168"/>
                <a:gd name="T25" fmla="*/ 153 h 288"/>
                <a:gd name="T26" fmla="*/ 150 w 168"/>
                <a:gd name="T27" fmla="*/ 149 h 288"/>
                <a:gd name="T28" fmla="*/ 154 w 168"/>
                <a:gd name="T29" fmla="*/ 144 h 288"/>
                <a:gd name="T30" fmla="*/ 158 w 168"/>
                <a:gd name="T31" fmla="*/ 137 h 288"/>
                <a:gd name="T32" fmla="*/ 161 w 168"/>
                <a:gd name="T33" fmla="*/ 130 h 288"/>
                <a:gd name="T34" fmla="*/ 164 w 168"/>
                <a:gd name="T35" fmla="*/ 122 h 288"/>
                <a:gd name="T36" fmla="*/ 167 w 168"/>
                <a:gd name="T37" fmla="*/ 113 h 288"/>
                <a:gd name="T38" fmla="*/ 168 w 168"/>
                <a:gd name="T39" fmla="*/ 104 h 288"/>
                <a:gd name="T40" fmla="*/ 168 w 168"/>
                <a:gd name="T41" fmla="*/ 95 h 288"/>
                <a:gd name="T42" fmla="*/ 168 w 168"/>
                <a:gd name="T43" fmla="*/ 0 h 288"/>
                <a:gd name="T44" fmla="*/ 0 w 168"/>
                <a:gd name="T4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88">
                  <a:moveTo>
                    <a:pt x="0" y="0"/>
                  </a:moveTo>
                  <a:lnTo>
                    <a:pt x="0" y="95"/>
                  </a:lnTo>
                  <a:lnTo>
                    <a:pt x="0" y="105"/>
                  </a:lnTo>
                  <a:lnTo>
                    <a:pt x="1" y="116"/>
                  </a:lnTo>
                  <a:lnTo>
                    <a:pt x="3" y="123"/>
                  </a:lnTo>
                  <a:lnTo>
                    <a:pt x="6" y="131"/>
                  </a:lnTo>
                  <a:lnTo>
                    <a:pt x="10" y="139"/>
                  </a:lnTo>
                  <a:lnTo>
                    <a:pt x="14" y="144"/>
                  </a:lnTo>
                  <a:lnTo>
                    <a:pt x="19" y="149"/>
                  </a:lnTo>
                  <a:lnTo>
                    <a:pt x="24" y="153"/>
                  </a:lnTo>
                  <a:lnTo>
                    <a:pt x="24" y="288"/>
                  </a:lnTo>
                  <a:lnTo>
                    <a:pt x="143" y="288"/>
                  </a:lnTo>
                  <a:lnTo>
                    <a:pt x="143" y="153"/>
                  </a:lnTo>
                  <a:lnTo>
                    <a:pt x="150" y="149"/>
                  </a:lnTo>
                  <a:lnTo>
                    <a:pt x="154" y="144"/>
                  </a:lnTo>
                  <a:lnTo>
                    <a:pt x="158" y="137"/>
                  </a:lnTo>
                  <a:lnTo>
                    <a:pt x="161" y="130"/>
                  </a:lnTo>
                  <a:lnTo>
                    <a:pt x="164" y="122"/>
                  </a:lnTo>
                  <a:lnTo>
                    <a:pt x="167" y="113"/>
                  </a:lnTo>
                  <a:lnTo>
                    <a:pt x="168" y="104"/>
                  </a:lnTo>
                  <a:lnTo>
                    <a:pt x="168" y="95"/>
                  </a:lnTo>
                  <a:lnTo>
                    <a:pt x="168"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sz="1015" dirty="0"/>
            </a:p>
          </p:txBody>
        </p:sp>
        <p:sp>
          <p:nvSpPr>
            <p:cNvPr id="85" name="Freeform 3579"/>
            <p:cNvSpPr/>
            <p:nvPr/>
          </p:nvSpPr>
          <p:spPr bwMode="auto">
            <a:xfrm>
              <a:off x="11123613" y="5454650"/>
              <a:ext cx="95250" cy="161925"/>
            </a:xfrm>
            <a:custGeom>
              <a:avLst/>
              <a:gdLst>
                <a:gd name="T0" fmla="*/ 0 w 241"/>
                <a:gd name="T1" fmla="*/ 168 h 408"/>
                <a:gd name="T2" fmla="*/ 0 w 241"/>
                <a:gd name="T3" fmla="*/ 182 h 408"/>
                <a:gd name="T4" fmla="*/ 3 w 241"/>
                <a:gd name="T5" fmla="*/ 195 h 408"/>
                <a:gd name="T6" fmla="*/ 7 w 241"/>
                <a:gd name="T7" fmla="*/ 206 h 408"/>
                <a:gd name="T8" fmla="*/ 13 w 241"/>
                <a:gd name="T9" fmla="*/ 216 h 408"/>
                <a:gd name="T10" fmla="*/ 20 w 241"/>
                <a:gd name="T11" fmla="*/ 225 h 408"/>
                <a:gd name="T12" fmla="*/ 27 w 241"/>
                <a:gd name="T13" fmla="*/ 231 h 408"/>
                <a:gd name="T14" fmla="*/ 38 w 241"/>
                <a:gd name="T15" fmla="*/ 236 h 408"/>
                <a:gd name="T16" fmla="*/ 48 w 241"/>
                <a:gd name="T17" fmla="*/ 239 h 408"/>
                <a:gd name="T18" fmla="*/ 48 w 241"/>
                <a:gd name="T19" fmla="*/ 408 h 408"/>
                <a:gd name="T20" fmla="*/ 192 w 241"/>
                <a:gd name="T21" fmla="*/ 408 h 408"/>
                <a:gd name="T22" fmla="*/ 192 w 241"/>
                <a:gd name="T23" fmla="*/ 239 h 408"/>
                <a:gd name="T24" fmla="*/ 203 w 241"/>
                <a:gd name="T25" fmla="*/ 236 h 408"/>
                <a:gd name="T26" fmla="*/ 212 w 241"/>
                <a:gd name="T27" fmla="*/ 231 h 408"/>
                <a:gd name="T28" fmla="*/ 221 w 241"/>
                <a:gd name="T29" fmla="*/ 225 h 408"/>
                <a:gd name="T30" fmla="*/ 228 w 241"/>
                <a:gd name="T31" fmla="*/ 216 h 408"/>
                <a:gd name="T32" fmla="*/ 233 w 241"/>
                <a:gd name="T33" fmla="*/ 206 h 408"/>
                <a:gd name="T34" fmla="*/ 237 w 241"/>
                <a:gd name="T35" fmla="*/ 195 h 408"/>
                <a:gd name="T36" fmla="*/ 239 w 241"/>
                <a:gd name="T37" fmla="*/ 182 h 408"/>
                <a:gd name="T38" fmla="*/ 241 w 241"/>
                <a:gd name="T39" fmla="*/ 168 h 408"/>
                <a:gd name="T40" fmla="*/ 241 w 241"/>
                <a:gd name="T41" fmla="*/ 0 h 408"/>
                <a:gd name="T42" fmla="*/ 0 w 241"/>
                <a:gd name="T43" fmla="*/ 0 h 408"/>
                <a:gd name="T44" fmla="*/ 0 w 241"/>
                <a:gd name="T45" fmla="*/ 16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1" h="408">
                  <a:moveTo>
                    <a:pt x="0" y="168"/>
                  </a:moveTo>
                  <a:lnTo>
                    <a:pt x="0" y="182"/>
                  </a:lnTo>
                  <a:lnTo>
                    <a:pt x="3" y="195"/>
                  </a:lnTo>
                  <a:lnTo>
                    <a:pt x="7" y="206"/>
                  </a:lnTo>
                  <a:lnTo>
                    <a:pt x="13" y="216"/>
                  </a:lnTo>
                  <a:lnTo>
                    <a:pt x="20" y="225"/>
                  </a:lnTo>
                  <a:lnTo>
                    <a:pt x="27" y="231"/>
                  </a:lnTo>
                  <a:lnTo>
                    <a:pt x="38" y="236"/>
                  </a:lnTo>
                  <a:lnTo>
                    <a:pt x="48" y="239"/>
                  </a:lnTo>
                  <a:lnTo>
                    <a:pt x="48" y="408"/>
                  </a:lnTo>
                  <a:lnTo>
                    <a:pt x="192" y="408"/>
                  </a:lnTo>
                  <a:lnTo>
                    <a:pt x="192" y="239"/>
                  </a:lnTo>
                  <a:lnTo>
                    <a:pt x="203" y="236"/>
                  </a:lnTo>
                  <a:lnTo>
                    <a:pt x="212" y="231"/>
                  </a:lnTo>
                  <a:lnTo>
                    <a:pt x="221" y="225"/>
                  </a:lnTo>
                  <a:lnTo>
                    <a:pt x="228" y="216"/>
                  </a:lnTo>
                  <a:lnTo>
                    <a:pt x="233" y="206"/>
                  </a:lnTo>
                  <a:lnTo>
                    <a:pt x="237" y="195"/>
                  </a:lnTo>
                  <a:lnTo>
                    <a:pt x="239" y="182"/>
                  </a:lnTo>
                  <a:lnTo>
                    <a:pt x="241" y="168"/>
                  </a:lnTo>
                  <a:lnTo>
                    <a:pt x="241" y="0"/>
                  </a:lnTo>
                  <a:lnTo>
                    <a:pt x="0" y="0"/>
                  </a:lnTo>
                  <a:lnTo>
                    <a:pt x="0" y="16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sz="1015" dirty="0"/>
            </a:p>
          </p:txBody>
        </p:sp>
        <p:sp>
          <p:nvSpPr>
            <p:cNvPr id="86" name="Freeform 3581"/>
            <p:cNvSpPr/>
            <p:nvPr/>
          </p:nvSpPr>
          <p:spPr bwMode="auto">
            <a:xfrm>
              <a:off x="11256963" y="5397500"/>
              <a:ext cx="47625" cy="47625"/>
            </a:xfrm>
            <a:custGeom>
              <a:avLst/>
              <a:gdLst>
                <a:gd name="T0" fmla="*/ 60 w 119"/>
                <a:gd name="T1" fmla="*/ 121 h 121"/>
                <a:gd name="T2" fmla="*/ 72 w 119"/>
                <a:gd name="T3" fmla="*/ 119 h 121"/>
                <a:gd name="T4" fmla="*/ 83 w 119"/>
                <a:gd name="T5" fmla="*/ 115 h 121"/>
                <a:gd name="T6" fmla="*/ 94 w 119"/>
                <a:gd name="T7" fmla="*/ 110 h 121"/>
                <a:gd name="T8" fmla="*/ 103 w 119"/>
                <a:gd name="T9" fmla="*/ 103 h 121"/>
                <a:gd name="T10" fmla="*/ 109 w 119"/>
                <a:gd name="T11" fmla="*/ 94 h 121"/>
                <a:gd name="T12" fmla="*/ 116 w 119"/>
                <a:gd name="T13" fmla="*/ 83 h 121"/>
                <a:gd name="T14" fmla="*/ 118 w 119"/>
                <a:gd name="T15" fmla="*/ 72 h 121"/>
                <a:gd name="T16" fmla="*/ 119 w 119"/>
                <a:gd name="T17" fmla="*/ 60 h 121"/>
                <a:gd name="T18" fmla="*/ 118 w 119"/>
                <a:gd name="T19" fmla="*/ 49 h 121"/>
                <a:gd name="T20" fmla="*/ 116 w 119"/>
                <a:gd name="T21" fmla="*/ 37 h 121"/>
                <a:gd name="T22" fmla="*/ 109 w 119"/>
                <a:gd name="T23" fmla="*/ 27 h 121"/>
                <a:gd name="T24" fmla="*/ 103 w 119"/>
                <a:gd name="T25" fmla="*/ 18 h 121"/>
                <a:gd name="T26" fmla="*/ 94 w 119"/>
                <a:gd name="T27" fmla="*/ 10 h 121"/>
                <a:gd name="T28" fmla="*/ 83 w 119"/>
                <a:gd name="T29" fmla="*/ 5 h 121"/>
                <a:gd name="T30" fmla="*/ 72 w 119"/>
                <a:gd name="T31" fmla="*/ 1 h 121"/>
                <a:gd name="T32" fmla="*/ 60 w 119"/>
                <a:gd name="T33" fmla="*/ 0 h 121"/>
                <a:gd name="T34" fmla="*/ 47 w 119"/>
                <a:gd name="T35" fmla="*/ 1 h 121"/>
                <a:gd name="T36" fmla="*/ 36 w 119"/>
                <a:gd name="T37" fmla="*/ 5 h 121"/>
                <a:gd name="T38" fmla="*/ 26 w 119"/>
                <a:gd name="T39" fmla="*/ 10 h 121"/>
                <a:gd name="T40" fmla="*/ 17 w 119"/>
                <a:gd name="T41" fmla="*/ 18 h 121"/>
                <a:gd name="T42" fmla="*/ 10 w 119"/>
                <a:gd name="T43" fmla="*/ 27 h 121"/>
                <a:gd name="T44" fmla="*/ 4 w 119"/>
                <a:gd name="T45" fmla="*/ 37 h 121"/>
                <a:gd name="T46" fmla="*/ 1 w 119"/>
                <a:gd name="T47" fmla="*/ 49 h 121"/>
                <a:gd name="T48" fmla="*/ 0 w 119"/>
                <a:gd name="T49" fmla="*/ 60 h 121"/>
                <a:gd name="T50" fmla="*/ 1 w 119"/>
                <a:gd name="T51" fmla="*/ 72 h 121"/>
                <a:gd name="T52" fmla="*/ 4 w 119"/>
                <a:gd name="T53" fmla="*/ 83 h 121"/>
                <a:gd name="T54" fmla="*/ 10 w 119"/>
                <a:gd name="T55" fmla="*/ 94 h 121"/>
                <a:gd name="T56" fmla="*/ 17 w 119"/>
                <a:gd name="T57" fmla="*/ 103 h 121"/>
                <a:gd name="T58" fmla="*/ 26 w 119"/>
                <a:gd name="T59" fmla="*/ 110 h 121"/>
                <a:gd name="T60" fmla="*/ 36 w 119"/>
                <a:gd name="T61" fmla="*/ 115 h 121"/>
                <a:gd name="T62" fmla="*/ 47 w 119"/>
                <a:gd name="T63" fmla="*/ 119 h 121"/>
                <a:gd name="T64" fmla="*/ 60 w 119"/>
                <a:gd name="T6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121">
                  <a:moveTo>
                    <a:pt x="60" y="121"/>
                  </a:moveTo>
                  <a:lnTo>
                    <a:pt x="72" y="119"/>
                  </a:lnTo>
                  <a:lnTo>
                    <a:pt x="83" y="115"/>
                  </a:lnTo>
                  <a:lnTo>
                    <a:pt x="94" y="110"/>
                  </a:lnTo>
                  <a:lnTo>
                    <a:pt x="103" y="103"/>
                  </a:lnTo>
                  <a:lnTo>
                    <a:pt x="109" y="94"/>
                  </a:lnTo>
                  <a:lnTo>
                    <a:pt x="116" y="83"/>
                  </a:lnTo>
                  <a:lnTo>
                    <a:pt x="118" y="72"/>
                  </a:lnTo>
                  <a:lnTo>
                    <a:pt x="119" y="60"/>
                  </a:lnTo>
                  <a:lnTo>
                    <a:pt x="118" y="49"/>
                  </a:lnTo>
                  <a:lnTo>
                    <a:pt x="116" y="37"/>
                  </a:lnTo>
                  <a:lnTo>
                    <a:pt x="109" y="27"/>
                  </a:lnTo>
                  <a:lnTo>
                    <a:pt x="103" y="18"/>
                  </a:lnTo>
                  <a:lnTo>
                    <a:pt x="94" y="10"/>
                  </a:lnTo>
                  <a:lnTo>
                    <a:pt x="83" y="5"/>
                  </a:lnTo>
                  <a:lnTo>
                    <a:pt x="72" y="1"/>
                  </a:lnTo>
                  <a:lnTo>
                    <a:pt x="60" y="0"/>
                  </a:lnTo>
                  <a:lnTo>
                    <a:pt x="47" y="1"/>
                  </a:lnTo>
                  <a:lnTo>
                    <a:pt x="36" y="5"/>
                  </a:lnTo>
                  <a:lnTo>
                    <a:pt x="26" y="10"/>
                  </a:lnTo>
                  <a:lnTo>
                    <a:pt x="17" y="18"/>
                  </a:lnTo>
                  <a:lnTo>
                    <a:pt x="10" y="27"/>
                  </a:lnTo>
                  <a:lnTo>
                    <a:pt x="4" y="37"/>
                  </a:lnTo>
                  <a:lnTo>
                    <a:pt x="1" y="49"/>
                  </a:lnTo>
                  <a:lnTo>
                    <a:pt x="0" y="60"/>
                  </a:lnTo>
                  <a:lnTo>
                    <a:pt x="1" y="72"/>
                  </a:lnTo>
                  <a:lnTo>
                    <a:pt x="4" y="83"/>
                  </a:lnTo>
                  <a:lnTo>
                    <a:pt x="10" y="94"/>
                  </a:lnTo>
                  <a:lnTo>
                    <a:pt x="17" y="103"/>
                  </a:lnTo>
                  <a:lnTo>
                    <a:pt x="26" y="110"/>
                  </a:lnTo>
                  <a:lnTo>
                    <a:pt x="36" y="115"/>
                  </a:lnTo>
                  <a:lnTo>
                    <a:pt x="47" y="119"/>
                  </a:lnTo>
                  <a:lnTo>
                    <a:pt x="60" y="1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sz="1015" dirty="0"/>
            </a:p>
          </p:txBody>
        </p:sp>
        <p:sp>
          <p:nvSpPr>
            <p:cNvPr id="87" name="Freeform 3582"/>
            <p:cNvSpPr/>
            <p:nvPr/>
          </p:nvSpPr>
          <p:spPr bwMode="auto">
            <a:xfrm>
              <a:off x="11037888" y="5397500"/>
              <a:ext cx="47625" cy="47625"/>
            </a:xfrm>
            <a:custGeom>
              <a:avLst/>
              <a:gdLst>
                <a:gd name="T0" fmla="*/ 61 w 121"/>
                <a:gd name="T1" fmla="*/ 121 h 121"/>
                <a:gd name="T2" fmla="*/ 72 w 121"/>
                <a:gd name="T3" fmla="*/ 119 h 121"/>
                <a:gd name="T4" fmla="*/ 84 w 121"/>
                <a:gd name="T5" fmla="*/ 115 h 121"/>
                <a:gd name="T6" fmla="*/ 94 w 121"/>
                <a:gd name="T7" fmla="*/ 110 h 121"/>
                <a:gd name="T8" fmla="*/ 103 w 121"/>
                <a:gd name="T9" fmla="*/ 103 h 121"/>
                <a:gd name="T10" fmla="*/ 111 w 121"/>
                <a:gd name="T11" fmla="*/ 94 h 121"/>
                <a:gd name="T12" fmla="*/ 116 w 121"/>
                <a:gd name="T13" fmla="*/ 83 h 121"/>
                <a:gd name="T14" fmla="*/ 120 w 121"/>
                <a:gd name="T15" fmla="*/ 72 h 121"/>
                <a:gd name="T16" fmla="*/ 121 w 121"/>
                <a:gd name="T17" fmla="*/ 60 h 121"/>
                <a:gd name="T18" fmla="*/ 120 w 121"/>
                <a:gd name="T19" fmla="*/ 49 h 121"/>
                <a:gd name="T20" fmla="*/ 116 w 121"/>
                <a:gd name="T21" fmla="*/ 37 h 121"/>
                <a:gd name="T22" fmla="*/ 111 w 121"/>
                <a:gd name="T23" fmla="*/ 27 h 121"/>
                <a:gd name="T24" fmla="*/ 103 w 121"/>
                <a:gd name="T25" fmla="*/ 18 h 121"/>
                <a:gd name="T26" fmla="*/ 94 w 121"/>
                <a:gd name="T27" fmla="*/ 10 h 121"/>
                <a:gd name="T28" fmla="*/ 84 w 121"/>
                <a:gd name="T29" fmla="*/ 5 h 121"/>
                <a:gd name="T30" fmla="*/ 72 w 121"/>
                <a:gd name="T31" fmla="*/ 1 h 121"/>
                <a:gd name="T32" fmla="*/ 61 w 121"/>
                <a:gd name="T33" fmla="*/ 0 h 121"/>
                <a:gd name="T34" fmla="*/ 49 w 121"/>
                <a:gd name="T35" fmla="*/ 1 h 121"/>
                <a:gd name="T36" fmla="*/ 38 w 121"/>
                <a:gd name="T37" fmla="*/ 5 h 121"/>
                <a:gd name="T38" fmla="*/ 27 w 121"/>
                <a:gd name="T39" fmla="*/ 10 h 121"/>
                <a:gd name="T40" fmla="*/ 18 w 121"/>
                <a:gd name="T41" fmla="*/ 18 h 121"/>
                <a:gd name="T42" fmla="*/ 11 w 121"/>
                <a:gd name="T43" fmla="*/ 27 h 121"/>
                <a:gd name="T44" fmla="*/ 6 w 121"/>
                <a:gd name="T45" fmla="*/ 37 h 121"/>
                <a:gd name="T46" fmla="*/ 2 w 121"/>
                <a:gd name="T47" fmla="*/ 49 h 121"/>
                <a:gd name="T48" fmla="*/ 0 w 121"/>
                <a:gd name="T49" fmla="*/ 60 h 121"/>
                <a:gd name="T50" fmla="*/ 2 w 121"/>
                <a:gd name="T51" fmla="*/ 72 h 121"/>
                <a:gd name="T52" fmla="*/ 6 w 121"/>
                <a:gd name="T53" fmla="*/ 83 h 121"/>
                <a:gd name="T54" fmla="*/ 11 w 121"/>
                <a:gd name="T55" fmla="*/ 94 h 121"/>
                <a:gd name="T56" fmla="*/ 18 w 121"/>
                <a:gd name="T57" fmla="*/ 103 h 121"/>
                <a:gd name="T58" fmla="*/ 27 w 121"/>
                <a:gd name="T59" fmla="*/ 110 h 121"/>
                <a:gd name="T60" fmla="*/ 38 w 121"/>
                <a:gd name="T61" fmla="*/ 115 h 121"/>
                <a:gd name="T62" fmla="*/ 49 w 121"/>
                <a:gd name="T63" fmla="*/ 119 h 121"/>
                <a:gd name="T64" fmla="*/ 61 w 121"/>
                <a:gd name="T6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21">
                  <a:moveTo>
                    <a:pt x="61" y="121"/>
                  </a:moveTo>
                  <a:lnTo>
                    <a:pt x="72" y="119"/>
                  </a:lnTo>
                  <a:lnTo>
                    <a:pt x="84" y="115"/>
                  </a:lnTo>
                  <a:lnTo>
                    <a:pt x="94" y="110"/>
                  </a:lnTo>
                  <a:lnTo>
                    <a:pt x="103" y="103"/>
                  </a:lnTo>
                  <a:lnTo>
                    <a:pt x="111" y="94"/>
                  </a:lnTo>
                  <a:lnTo>
                    <a:pt x="116" y="83"/>
                  </a:lnTo>
                  <a:lnTo>
                    <a:pt x="120" y="72"/>
                  </a:lnTo>
                  <a:lnTo>
                    <a:pt x="121" y="60"/>
                  </a:lnTo>
                  <a:lnTo>
                    <a:pt x="120" y="49"/>
                  </a:lnTo>
                  <a:lnTo>
                    <a:pt x="116" y="37"/>
                  </a:lnTo>
                  <a:lnTo>
                    <a:pt x="111" y="27"/>
                  </a:lnTo>
                  <a:lnTo>
                    <a:pt x="103" y="18"/>
                  </a:lnTo>
                  <a:lnTo>
                    <a:pt x="94" y="10"/>
                  </a:lnTo>
                  <a:lnTo>
                    <a:pt x="84" y="5"/>
                  </a:lnTo>
                  <a:lnTo>
                    <a:pt x="72" y="1"/>
                  </a:lnTo>
                  <a:lnTo>
                    <a:pt x="61" y="0"/>
                  </a:lnTo>
                  <a:lnTo>
                    <a:pt x="49" y="1"/>
                  </a:lnTo>
                  <a:lnTo>
                    <a:pt x="38" y="5"/>
                  </a:lnTo>
                  <a:lnTo>
                    <a:pt x="27" y="10"/>
                  </a:lnTo>
                  <a:lnTo>
                    <a:pt x="18" y="18"/>
                  </a:lnTo>
                  <a:lnTo>
                    <a:pt x="11" y="27"/>
                  </a:lnTo>
                  <a:lnTo>
                    <a:pt x="6" y="37"/>
                  </a:lnTo>
                  <a:lnTo>
                    <a:pt x="2" y="49"/>
                  </a:lnTo>
                  <a:lnTo>
                    <a:pt x="0" y="60"/>
                  </a:lnTo>
                  <a:lnTo>
                    <a:pt x="2" y="72"/>
                  </a:lnTo>
                  <a:lnTo>
                    <a:pt x="6" y="83"/>
                  </a:lnTo>
                  <a:lnTo>
                    <a:pt x="11" y="94"/>
                  </a:lnTo>
                  <a:lnTo>
                    <a:pt x="18" y="103"/>
                  </a:lnTo>
                  <a:lnTo>
                    <a:pt x="27" y="110"/>
                  </a:lnTo>
                  <a:lnTo>
                    <a:pt x="38" y="115"/>
                  </a:lnTo>
                  <a:lnTo>
                    <a:pt x="49" y="119"/>
                  </a:lnTo>
                  <a:lnTo>
                    <a:pt x="61" y="1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sz="1015" dirty="0"/>
            </a:p>
          </p:txBody>
        </p:sp>
        <p:sp>
          <p:nvSpPr>
            <p:cNvPr id="88" name="Freeform 3583"/>
            <p:cNvSpPr/>
            <p:nvPr/>
          </p:nvSpPr>
          <p:spPr bwMode="auto">
            <a:xfrm>
              <a:off x="11133138" y="5368925"/>
              <a:ext cx="76200" cy="76200"/>
            </a:xfrm>
            <a:custGeom>
              <a:avLst/>
              <a:gdLst>
                <a:gd name="T0" fmla="*/ 106 w 192"/>
                <a:gd name="T1" fmla="*/ 191 h 193"/>
                <a:gd name="T2" fmla="*/ 125 w 192"/>
                <a:gd name="T3" fmla="*/ 187 h 193"/>
                <a:gd name="T4" fmla="*/ 142 w 192"/>
                <a:gd name="T5" fmla="*/ 181 h 193"/>
                <a:gd name="T6" fmla="*/ 158 w 192"/>
                <a:gd name="T7" fmla="*/ 171 h 193"/>
                <a:gd name="T8" fmla="*/ 170 w 192"/>
                <a:gd name="T9" fmla="*/ 158 h 193"/>
                <a:gd name="T10" fmla="*/ 181 w 192"/>
                <a:gd name="T11" fmla="*/ 143 h 193"/>
                <a:gd name="T12" fmla="*/ 188 w 192"/>
                <a:gd name="T13" fmla="*/ 125 h 193"/>
                <a:gd name="T14" fmla="*/ 192 w 192"/>
                <a:gd name="T15" fmla="*/ 107 h 193"/>
                <a:gd name="T16" fmla="*/ 192 w 192"/>
                <a:gd name="T17" fmla="*/ 86 h 193"/>
                <a:gd name="T18" fmla="*/ 188 w 192"/>
                <a:gd name="T19" fmla="*/ 68 h 193"/>
                <a:gd name="T20" fmla="*/ 181 w 192"/>
                <a:gd name="T21" fmla="*/ 50 h 193"/>
                <a:gd name="T22" fmla="*/ 170 w 192"/>
                <a:gd name="T23" fmla="*/ 35 h 193"/>
                <a:gd name="T24" fmla="*/ 158 w 192"/>
                <a:gd name="T25" fmla="*/ 22 h 193"/>
                <a:gd name="T26" fmla="*/ 142 w 192"/>
                <a:gd name="T27" fmla="*/ 12 h 193"/>
                <a:gd name="T28" fmla="*/ 125 w 192"/>
                <a:gd name="T29" fmla="*/ 5 h 193"/>
                <a:gd name="T30" fmla="*/ 106 w 192"/>
                <a:gd name="T31" fmla="*/ 1 h 193"/>
                <a:gd name="T32" fmla="*/ 87 w 192"/>
                <a:gd name="T33" fmla="*/ 1 h 193"/>
                <a:gd name="T34" fmla="*/ 68 w 192"/>
                <a:gd name="T35" fmla="*/ 5 h 193"/>
                <a:gd name="T36" fmla="*/ 51 w 192"/>
                <a:gd name="T37" fmla="*/ 12 h 193"/>
                <a:gd name="T38" fmla="*/ 36 w 192"/>
                <a:gd name="T39" fmla="*/ 22 h 193"/>
                <a:gd name="T40" fmla="*/ 23 w 192"/>
                <a:gd name="T41" fmla="*/ 35 h 193"/>
                <a:gd name="T42" fmla="*/ 11 w 192"/>
                <a:gd name="T43" fmla="*/ 50 h 193"/>
                <a:gd name="T44" fmla="*/ 5 w 192"/>
                <a:gd name="T45" fmla="*/ 68 h 193"/>
                <a:gd name="T46" fmla="*/ 1 w 192"/>
                <a:gd name="T47" fmla="*/ 86 h 193"/>
                <a:gd name="T48" fmla="*/ 1 w 192"/>
                <a:gd name="T49" fmla="*/ 107 h 193"/>
                <a:gd name="T50" fmla="*/ 5 w 192"/>
                <a:gd name="T51" fmla="*/ 125 h 193"/>
                <a:gd name="T52" fmla="*/ 11 w 192"/>
                <a:gd name="T53" fmla="*/ 143 h 193"/>
                <a:gd name="T54" fmla="*/ 23 w 192"/>
                <a:gd name="T55" fmla="*/ 158 h 193"/>
                <a:gd name="T56" fmla="*/ 36 w 192"/>
                <a:gd name="T57" fmla="*/ 171 h 193"/>
                <a:gd name="T58" fmla="*/ 51 w 192"/>
                <a:gd name="T59" fmla="*/ 181 h 193"/>
                <a:gd name="T60" fmla="*/ 68 w 192"/>
                <a:gd name="T61" fmla="*/ 187 h 193"/>
                <a:gd name="T62" fmla="*/ 87 w 192"/>
                <a:gd name="T63" fmla="*/ 19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2" h="193">
                  <a:moveTo>
                    <a:pt x="96" y="193"/>
                  </a:moveTo>
                  <a:lnTo>
                    <a:pt x="106" y="191"/>
                  </a:lnTo>
                  <a:lnTo>
                    <a:pt x="115" y="190"/>
                  </a:lnTo>
                  <a:lnTo>
                    <a:pt x="125" y="187"/>
                  </a:lnTo>
                  <a:lnTo>
                    <a:pt x="133" y="185"/>
                  </a:lnTo>
                  <a:lnTo>
                    <a:pt x="142" y="181"/>
                  </a:lnTo>
                  <a:lnTo>
                    <a:pt x="150" y="176"/>
                  </a:lnTo>
                  <a:lnTo>
                    <a:pt x="158" y="171"/>
                  </a:lnTo>
                  <a:lnTo>
                    <a:pt x="164" y="164"/>
                  </a:lnTo>
                  <a:lnTo>
                    <a:pt x="170" y="158"/>
                  </a:lnTo>
                  <a:lnTo>
                    <a:pt x="176" y="150"/>
                  </a:lnTo>
                  <a:lnTo>
                    <a:pt x="181" y="143"/>
                  </a:lnTo>
                  <a:lnTo>
                    <a:pt x="185" y="134"/>
                  </a:lnTo>
                  <a:lnTo>
                    <a:pt x="188" y="125"/>
                  </a:lnTo>
                  <a:lnTo>
                    <a:pt x="191" y="116"/>
                  </a:lnTo>
                  <a:lnTo>
                    <a:pt x="192" y="107"/>
                  </a:lnTo>
                  <a:lnTo>
                    <a:pt x="192" y="96"/>
                  </a:lnTo>
                  <a:lnTo>
                    <a:pt x="192" y="86"/>
                  </a:lnTo>
                  <a:lnTo>
                    <a:pt x="191" y="77"/>
                  </a:lnTo>
                  <a:lnTo>
                    <a:pt x="188" y="68"/>
                  </a:lnTo>
                  <a:lnTo>
                    <a:pt x="185" y="59"/>
                  </a:lnTo>
                  <a:lnTo>
                    <a:pt x="181" y="50"/>
                  </a:lnTo>
                  <a:lnTo>
                    <a:pt x="176" y="42"/>
                  </a:lnTo>
                  <a:lnTo>
                    <a:pt x="170" y="35"/>
                  </a:lnTo>
                  <a:lnTo>
                    <a:pt x="164" y="28"/>
                  </a:lnTo>
                  <a:lnTo>
                    <a:pt x="158" y="22"/>
                  </a:lnTo>
                  <a:lnTo>
                    <a:pt x="150" y="17"/>
                  </a:lnTo>
                  <a:lnTo>
                    <a:pt x="142" y="12"/>
                  </a:lnTo>
                  <a:lnTo>
                    <a:pt x="133" y="8"/>
                  </a:lnTo>
                  <a:lnTo>
                    <a:pt x="125" y="5"/>
                  </a:lnTo>
                  <a:lnTo>
                    <a:pt x="115" y="3"/>
                  </a:lnTo>
                  <a:lnTo>
                    <a:pt x="106" y="1"/>
                  </a:lnTo>
                  <a:lnTo>
                    <a:pt x="96" y="0"/>
                  </a:lnTo>
                  <a:lnTo>
                    <a:pt x="87" y="1"/>
                  </a:lnTo>
                  <a:lnTo>
                    <a:pt x="77" y="3"/>
                  </a:lnTo>
                  <a:lnTo>
                    <a:pt x="68" y="5"/>
                  </a:lnTo>
                  <a:lnTo>
                    <a:pt x="59" y="8"/>
                  </a:lnTo>
                  <a:lnTo>
                    <a:pt x="51" y="12"/>
                  </a:lnTo>
                  <a:lnTo>
                    <a:pt x="42" y="17"/>
                  </a:lnTo>
                  <a:lnTo>
                    <a:pt x="36" y="22"/>
                  </a:lnTo>
                  <a:lnTo>
                    <a:pt x="28" y="28"/>
                  </a:lnTo>
                  <a:lnTo>
                    <a:pt x="23" y="35"/>
                  </a:lnTo>
                  <a:lnTo>
                    <a:pt x="16" y="42"/>
                  </a:lnTo>
                  <a:lnTo>
                    <a:pt x="11" y="50"/>
                  </a:lnTo>
                  <a:lnTo>
                    <a:pt x="7" y="59"/>
                  </a:lnTo>
                  <a:lnTo>
                    <a:pt x="5" y="68"/>
                  </a:lnTo>
                  <a:lnTo>
                    <a:pt x="2" y="77"/>
                  </a:lnTo>
                  <a:lnTo>
                    <a:pt x="1" y="86"/>
                  </a:lnTo>
                  <a:lnTo>
                    <a:pt x="0" y="96"/>
                  </a:lnTo>
                  <a:lnTo>
                    <a:pt x="1" y="107"/>
                  </a:lnTo>
                  <a:lnTo>
                    <a:pt x="2" y="116"/>
                  </a:lnTo>
                  <a:lnTo>
                    <a:pt x="5" y="125"/>
                  </a:lnTo>
                  <a:lnTo>
                    <a:pt x="7" y="134"/>
                  </a:lnTo>
                  <a:lnTo>
                    <a:pt x="11" y="143"/>
                  </a:lnTo>
                  <a:lnTo>
                    <a:pt x="16" y="150"/>
                  </a:lnTo>
                  <a:lnTo>
                    <a:pt x="23" y="158"/>
                  </a:lnTo>
                  <a:lnTo>
                    <a:pt x="28" y="164"/>
                  </a:lnTo>
                  <a:lnTo>
                    <a:pt x="36" y="171"/>
                  </a:lnTo>
                  <a:lnTo>
                    <a:pt x="42" y="176"/>
                  </a:lnTo>
                  <a:lnTo>
                    <a:pt x="51" y="181"/>
                  </a:lnTo>
                  <a:lnTo>
                    <a:pt x="59" y="185"/>
                  </a:lnTo>
                  <a:lnTo>
                    <a:pt x="68" y="187"/>
                  </a:lnTo>
                  <a:lnTo>
                    <a:pt x="77" y="190"/>
                  </a:lnTo>
                  <a:lnTo>
                    <a:pt x="87" y="191"/>
                  </a:lnTo>
                  <a:lnTo>
                    <a:pt x="96" y="19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sz="1015" dirty="0"/>
            </a:p>
          </p:txBody>
        </p:sp>
      </p:grpSp>
      <p:sp>
        <p:nvSpPr>
          <p:cNvPr id="62" name="Shape 22757"/>
          <p:cNvSpPr/>
          <p:nvPr/>
        </p:nvSpPr>
        <p:spPr>
          <a:xfrm>
            <a:off x="2352716" y="1246791"/>
            <a:ext cx="548778" cy="282961"/>
          </a:xfrm>
          <a:prstGeom prst="rect">
            <a:avLst/>
          </a:prstGeom>
          <a:ln w="12700">
            <a:miter lim="400000"/>
          </a:ln>
        </p:spPr>
        <p:txBody>
          <a:bodyPr lIns="19050" tIns="19050" rIns="19050" bIns="19050"/>
          <a:lstStyle>
            <a:lvl1pPr>
              <a:lnSpc>
                <a:spcPct val="110000"/>
              </a:lnSpc>
              <a:defRPr sz="4500" b="1">
                <a:solidFill>
                  <a:srgbClr val="0085AD"/>
                </a:solidFill>
                <a:latin typeface="Helvetica"/>
                <a:ea typeface="Helvetica"/>
                <a:cs typeface="Helvetica"/>
                <a:sym typeface="Helvetica"/>
              </a:defRPr>
            </a:lvl1pPr>
          </a:lstStyle>
          <a:p>
            <a:pPr algn="r"/>
            <a:r>
              <a:rPr sz="1690" dirty="0">
                <a:solidFill>
                  <a:schemeClr val="tx1">
                    <a:lumMod val="75000"/>
                    <a:lumOff val="25000"/>
                  </a:schemeClr>
                </a:solidFill>
                <a:latin typeface="Lato" panose="020F0502020204030203" pitchFamily="34" charset="0"/>
                <a:cs typeface="Lato" panose="020F0502020204030203" pitchFamily="34" charset="0"/>
              </a:rPr>
              <a:t>365k</a:t>
            </a:r>
            <a:endParaRPr sz="1690" dirty="0">
              <a:solidFill>
                <a:schemeClr val="tx1">
                  <a:lumMod val="75000"/>
                  <a:lumOff val="25000"/>
                </a:schemeClr>
              </a:solidFill>
              <a:latin typeface="Lato" panose="020F0502020204030203" pitchFamily="34" charset="0"/>
              <a:cs typeface="Lato" panose="020F0502020204030203" pitchFamily="34" charset="0"/>
            </a:endParaRPr>
          </a:p>
        </p:txBody>
      </p:sp>
      <p:sp>
        <p:nvSpPr>
          <p:cNvPr id="89" name="Shape 22758"/>
          <p:cNvSpPr/>
          <p:nvPr/>
        </p:nvSpPr>
        <p:spPr>
          <a:xfrm>
            <a:off x="1736685" y="1543062"/>
            <a:ext cx="1164809" cy="384721"/>
          </a:xfrm>
          <a:prstGeom prst="rect">
            <a:avLst/>
          </a:prstGeom>
          <a:ln w="12700">
            <a:miter lim="400000"/>
          </a:ln>
        </p:spPr>
        <p:txBody>
          <a:bodyPr lIns="19050" tIns="19050" rIns="19050" bIns="19050">
            <a:spAutoFit/>
          </a:bodyPr>
          <a:lstStyle>
            <a:lvl1pPr>
              <a:lnSpc>
                <a:spcPct val="120000"/>
              </a:lnSpc>
              <a:defRPr sz="2000">
                <a:solidFill>
                  <a:srgbClr val="FFFFFF"/>
                </a:solidFill>
                <a:latin typeface="Helvetica"/>
                <a:ea typeface="Helvetica"/>
                <a:cs typeface="Helvetica"/>
                <a:sym typeface="Helvetica"/>
              </a:defRPr>
            </a:lvl1pPr>
          </a:lstStyle>
          <a:p>
            <a:pPr algn="r">
              <a:lnSpc>
                <a:spcPct val="100000"/>
              </a:lnSpc>
            </a:pPr>
            <a:r>
              <a:rPr sz="750" dirty="0">
                <a:solidFill>
                  <a:schemeClr val="tx1">
                    <a:lumMod val="75000"/>
                    <a:lumOff val="25000"/>
                  </a:schemeClr>
                </a:solidFill>
                <a:latin typeface="+mj-lt"/>
              </a:rPr>
              <a:t>Lorem Ipsum is simply dummy text of the printing and typesetting industry.</a:t>
            </a:r>
            <a:endParaRPr sz="750" dirty="0">
              <a:solidFill>
                <a:schemeClr val="tx1">
                  <a:lumMod val="75000"/>
                  <a:lumOff val="25000"/>
                </a:schemeClr>
              </a:solidFill>
              <a:latin typeface="+mj-lt"/>
            </a:endParaRPr>
          </a:p>
        </p:txBody>
      </p:sp>
      <p:sp>
        <p:nvSpPr>
          <p:cNvPr id="92" name="Shape 22757"/>
          <p:cNvSpPr/>
          <p:nvPr/>
        </p:nvSpPr>
        <p:spPr>
          <a:xfrm>
            <a:off x="4188690" y="3750515"/>
            <a:ext cx="548778" cy="282961"/>
          </a:xfrm>
          <a:prstGeom prst="rect">
            <a:avLst/>
          </a:prstGeom>
          <a:ln w="12700">
            <a:miter lim="400000"/>
          </a:ln>
        </p:spPr>
        <p:txBody>
          <a:bodyPr lIns="19050" tIns="19050" rIns="19050" bIns="19050"/>
          <a:lstStyle>
            <a:lvl1pPr>
              <a:lnSpc>
                <a:spcPct val="110000"/>
              </a:lnSpc>
              <a:defRPr sz="4500" b="1">
                <a:solidFill>
                  <a:srgbClr val="0085AD"/>
                </a:solidFill>
                <a:latin typeface="Helvetica"/>
                <a:ea typeface="Helvetica"/>
                <a:cs typeface="Helvetica"/>
                <a:sym typeface="Helvetica"/>
              </a:defRPr>
            </a:lvl1pPr>
          </a:lstStyle>
          <a:p>
            <a:r>
              <a:rPr sz="1690" dirty="0">
                <a:solidFill>
                  <a:schemeClr val="bg1"/>
                </a:solidFill>
                <a:latin typeface="Lato" panose="020F0502020204030203" pitchFamily="34" charset="0"/>
                <a:cs typeface="Lato" panose="020F0502020204030203" pitchFamily="34" charset="0"/>
              </a:rPr>
              <a:t>365k</a:t>
            </a:r>
            <a:endParaRPr sz="1690" dirty="0">
              <a:solidFill>
                <a:schemeClr val="bg1"/>
              </a:solidFill>
              <a:latin typeface="Lato" panose="020F0502020204030203" pitchFamily="34" charset="0"/>
              <a:cs typeface="Lato" panose="020F0502020204030203" pitchFamily="34" charset="0"/>
            </a:endParaRPr>
          </a:p>
        </p:txBody>
      </p:sp>
      <p:sp>
        <p:nvSpPr>
          <p:cNvPr id="93" name="Shape 22758"/>
          <p:cNvSpPr/>
          <p:nvPr/>
        </p:nvSpPr>
        <p:spPr>
          <a:xfrm>
            <a:off x="4188690" y="4046785"/>
            <a:ext cx="1164809" cy="384721"/>
          </a:xfrm>
          <a:prstGeom prst="rect">
            <a:avLst/>
          </a:prstGeom>
          <a:ln w="12700">
            <a:miter lim="400000"/>
          </a:ln>
        </p:spPr>
        <p:txBody>
          <a:bodyPr lIns="19050" tIns="19050" rIns="19050" bIns="19050">
            <a:spAutoFit/>
          </a:bodyPr>
          <a:lstStyle>
            <a:lvl1pPr>
              <a:lnSpc>
                <a:spcPct val="120000"/>
              </a:lnSpc>
              <a:defRPr sz="2000">
                <a:solidFill>
                  <a:srgbClr val="FFFFFF"/>
                </a:solidFill>
                <a:latin typeface="Helvetica"/>
                <a:ea typeface="Helvetica"/>
                <a:cs typeface="Helvetica"/>
                <a:sym typeface="Helvetica"/>
              </a:defRPr>
            </a:lvl1pPr>
          </a:lstStyle>
          <a:p>
            <a:pPr>
              <a:lnSpc>
                <a:spcPct val="100000"/>
              </a:lnSpc>
            </a:pPr>
            <a:r>
              <a:rPr sz="750" dirty="0">
                <a:solidFill>
                  <a:schemeClr val="bg1"/>
                </a:solidFill>
                <a:latin typeface="+mj-lt"/>
              </a:rPr>
              <a:t>Lorem Ipsum is simply dummy text of the printing and typesetting industry.</a:t>
            </a:r>
            <a:endParaRPr sz="750" dirty="0">
              <a:solidFill>
                <a:schemeClr val="bg1"/>
              </a:solidFill>
              <a:latin typeface="+mj-lt"/>
            </a:endParaRPr>
          </a:p>
        </p:txBody>
      </p:sp>
      <p:sp>
        <p:nvSpPr>
          <p:cNvPr id="94" name="Shape 22757"/>
          <p:cNvSpPr/>
          <p:nvPr/>
        </p:nvSpPr>
        <p:spPr>
          <a:xfrm>
            <a:off x="5699927" y="1405229"/>
            <a:ext cx="548778" cy="282961"/>
          </a:xfrm>
          <a:prstGeom prst="rect">
            <a:avLst/>
          </a:prstGeom>
          <a:ln w="12700">
            <a:miter lim="400000"/>
          </a:ln>
        </p:spPr>
        <p:txBody>
          <a:bodyPr lIns="19050" tIns="19050" rIns="19050" bIns="19050"/>
          <a:lstStyle>
            <a:lvl1pPr>
              <a:lnSpc>
                <a:spcPct val="110000"/>
              </a:lnSpc>
              <a:defRPr sz="4500" b="1">
                <a:solidFill>
                  <a:srgbClr val="0085AD"/>
                </a:solidFill>
                <a:latin typeface="Helvetica"/>
                <a:ea typeface="Helvetica"/>
                <a:cs typeface="Helvetica"/>
                <a:sym typeface="Helvetica"/>
              </a:defRPr>
            </a:lvl1pPr>
          </a:lstStyle>
          <a:p>
            <a:r>
              <a:rPr sz="1690" dirty="0">
                <a:solidFill>
                  <a:schemeClr val="tx1">
                    <a:lumMod val="75000"/>
                    <a:lumOff val="25000"/>
                  </a:schemeClr>
                </a:solidFill>
                <a:latin typeface="Lato" panose="020F0502020204030203" pitchFamily="34" charset="0"/>
                <a:cs typeface="Lato" panose="020F0502020204030203" pitchFamily="34" charset="0"/>
              </a:rPr>
              <a:t>365k</a:t>
            </a:r>
            <a:endParaRPr sz="1690" dirty="0">
              <a:solidFill>
                <a:schemeClr val="tx1">
                  <a:lumMod val="75000"/>
                  <a:lumOff val="25000"/>
                </a:schemeClr>
              </a:solidFill>
              <a:latin typeface="Lato" panose="020F0502020204030203" pitchFamily="34" charset="0"/>
              <a:cs typeface="Lato" panose="020F0502020204030203" pitchFamily="34" charset="0"/>
            </a:endParaRPr>
          </a:p>
        </p:txBody>
      </p:sp>
      <p:sp>
        <p:nvSpPr>
          <p:cNvPr id="95" name="Shape 22758"/>
          <p:cNvSpPr/>
          <p:nvPr/>
        </p:nvSpPr>
        <p:spPr>
          <a:xfrm>
            <a:off x="5699927" y="1701499"/>
            <a:ext cx="1164809" cy="384721"/>
          </a:xfrm>
          <a:prstGeom prst="rect">
            <a:avLst/>
          </a:prstGeom>
          <a:ln w="12700">
            <a:miter lim="400000"/>
          </a:ln>
        </p:spPr>
        <p:txBody>
          <a:bodyPr lIns="19050" tIns="19050" rIns="19050" bIns="19050">
            <a:spAutoFit/>
          </a:bodyPr>
          <a:lstStyle>
            <a:lvl1pPr>
              <a:lnSpc>
                <a:spcPct val="120000"/>
              </a:lnSpc>
              <a:defRPr sz="2000">
                <a:solidFill>
                  <a:srgbClr val="FFFFFF"/>
                </a:solidFill>
                <a:latin typeface="Helvetica"/>
                <a:ea typeface="Helvetica"/>
                <a:cs typeface="Helvetica"/>
                <a:sym typeface="Helvetica"/>
              </a:defRPr>
            </a:lvl1pPr>
          </a:lstStyle>
          <a:p>
            <a:pPr>
              <a:lnSpc>
                <a:spcPct val="100000"/>
              </a:lnSpc>
            </a:pPr>
            <a:r>
              <a:rPr sz="750" dirty="0">
                <a:solidFill>
                  <a:schemeClr val="tx1">
                    <a:lumMod val="75000"/>
                    <a:lumOff val="25000"/>
                  </a:schemeClr>
                </a:solidFill>
                <a:latin typeface="+mj-lt"/>
              </a:rPr>
              <a:t>Lorem Ipsum is simply dummy text of the printing and typesetting industry.</a:t>
            </a:r>
            <a:endParaRPr sz="750" dirty="0">
              <a:solidFill>
                <a:schemeClr val="tx1">
                  <a:lumMod val="75000"/>
                  <a:lumOff val="25000"/>
                </a:schemeClr>
              </a:solidFill>
              <a:latin typeface="+mj-lt"/>
            </a:endParaRPr>
          </a:p>
        </p:txBody>
      </p:sp>
      <p:sp>
        <p:nvSpPr>
          <p:cNvPr id="96" name="Shape 22757"/>
          <p:cNvSpPr/>
          <p:nvPr/>
        </p:nvSpPr>
        <p:spPr>
          <a:xfrm>
            <a:off x="7515270" y="3381024"/>
            <a:ext cx="548778" cy="282961"/>
          </a:xfrm>
          <a:prstGeom prst="rect">
            <a:avLst/>
          </a:prstGeom>
          <a:ln w="12700">
            <a:miter lim="400000"/>
          </a:ln>
        </p:spPr>
        <p:txBody>
          <a:bodyPr lIns="19050" tIns="19050" rIns="19050" bIns="19050"/>
          <a:lstStyle>
            <a:lvl1pPr>
              <a:lnSpc>
                <a:spcPct val="110000"/>
              </a:lnSpc>
              <a:defRPr sz="4500" b="1">
                <a:solidFill>
                  <a:srgbClr val="0085AD"/>
                </a:solidFill>
                <a:latin typeface="Helvetica"/>
                <a:ea typeface="Helvetica"/>
                <a:cs typeface="Helvetica"/>
                <a:sym typeface="Helvetica"/>
              </a:defRPr>
            </a:lvl1pPr>
          </a:lstStyle>
          <a:p>
            <a:r>
              <a:rPr sz="1690" dirty="0">
                <a:solidFill>
                  <a:schemeClr val="bg1"/>
                </a:solidFill>
                <a:latin typeface="Lato" panose="020F0502020204030203" pitchFamily="34" charset="0"/>
                <a:cs typeface="Lato" panose="020F0502020204030203" pitchFamily="34" charset="0"/>
              </a:rPr>
              <a:t>365k</a:t>
            </a:r>
            <a:endParaRPr sz="1690" dirty="0">
              <a:solidFill>
                <a:schemeClr val="bg1"/>
              </a:solidFill>
              <a:latin typeface="Lato" panose="020F0502020204030203" pitchFamily="34" charset="0"/>
              <a:cs typeface="Lato" panose="020F0502020204030203" pitchFamily="34" charset="0"/>
            </a:endParaRPr>
          </a:p>
        </p:txBody>
      </p:sp>
      <p:sp>
        <p:nvSpPr>
          <p:cNvPr id="97" name="Shape 22758"/>
          <p:cNvSpPr/>
          <p:nvPr/>
        </p:nvSpPr>
        <p:spPr>
          <a:xfrm>
            <a:off x="7515270" y="3677294"/>
            <a:ext cx="1164809" cy="384721"/>
          </a:xfrm>
          <a:prstGeom prst="rect">
            <a:avLst/>
          </a:prstGeom>
          <a:ln w="12700">
            <a:miter lim="400000"/>
          </a:ln>
        </p:spPr>
        <p:txBody>
          <a:bodyPr lIns="19050" tIns="19050" rIns="19050" bIns="19050">
            <a:spAutoFit/>
          </a:bodyPr>
          <a:lstStyle>
            <a:lvl1pPr>
              <a:lnSpc>
                <a:spcPct val="120000"/>
              </a:lnSpc>
              <a:defRPr sz="2000">
                <a:solidFill>
                  <a:srgbClr val="FFFFFF"/>
                </a:solidFill>
                <a:latin typeface="Helvetica"/>
                <a:ea typeface="Helvetica"/>
                <a:cs typeface="Helvetica"/>
                <a:sym typeface="Helvetica"/>
              </a:defRPr>
            </a:lvl1pPr>
          </a:lstStyle>
          <a:p>
            <a:pPr>
              <a:lnSpc>
                <a:spcPct val="100000"/>
              </a:lnSpc>
            </a:pPr>
            <a:r>
              <a:rPr sz="750" dirty="0">
                <a:solidFill>
                  <a:schemeClr val="bg1"/>
                </a:solidFill>
                <a:latin typeface="+mj-lt"/>
              </a:rPr>
              <a:t>Lorem Ipsum is simply dummy text of the printing and typesetting industry.</a:t>
            </a:r>
            <a:endParaRPr sz="750" dirty="0">
              <a:solidFill>
                <a:schemeClr val="bg1"/>
              </a:solidFill>
              <a:latin typeface="+mj-lt"/>
            </a:endParaRPr>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p:nvPr/>
        </p:nvSpPr>
        <p:spPr>
          <a:xfrm>
            <a:off x="2939663" y="483253"/>
            <a:ext cx="3264674" cy="48474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2700" b="1" spc="-113" dirty="0" smtClean="0">
                <a:solidFill>
                  <a:srgbClr val="548235"/>
                </a:solidFill>
                <a:latin typeface="Lato" panose="020F0502020204030203" pitchFamily="34" charset="0"/>
                <a:ea typeface="Open Sans" panose="020B0606030504020204" pitchFamily="34" charset="0"/>
                <a:cs typeface="Lato" panose="020F0502020204030203" pitchFamily="34" charset="0"/>
              </a:rPr>
              <a:t>Process</a:t>
            </a:r>
            <a:r>
              <a:rPr lang="en-US" sz="2700" b="1" spc="-113" dirty="0" smtClean="0">
                <a:solidFill>
                  <a:schemeClr val="accent1"/>
                </a:solidFill>
                <a:latin typeface="Lato" panose="020F0502020204030203" pitchFamily="34" charset="0"/>
                <a:ea typeface="Open Sans" panose="020B0606030504020204" pitchFamily="34" charset="0"/>
                <a:cs typeface="Lato" panose="020F0502020204030203" pitchFamily="34" charset="0"/>
              </a:rPr>
              <a:t> </a:t>
            </a:r>
            <a:r>
              <a:rPr lang="en-US" sz="2700" spc="-113" dirty="0">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rPr>
              <a:t>Infographic </a:t>
            </a:r>
            <a:endParaRPr lang="en-US" sz="2700" spc="-113" dirty="0">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endParaRPr>
          </a:p>
        </p:txBody>
      </p:sp>
      <p:sp>
        <p:nvSpPr>
          <p:cNvPr id="4" name="Rectangle 3"/>
          <p:cNvSpPr/>
          <p:nvPr/>
        </p:nvSpPr>
        <p:spPr>
          <a:xfrm>
            <a:off x="3763496" y="968001"/>
            <a:ext cx="1617008" cy="219291"/>
          </a:xfrm>
          <a:prstGeom prst="rect">
            <a:avLst/>
          </a:prstGeom>
        </p:spPr>
        <p:txBody>
          <a:bodyPr wrap="square">
            <a:spAutoFit/>
          </a:bodyPr>
          <a:lstStyle/>
          <a:p>
            <a:pPr algn="ct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32" name="Title 1"/>
          <p:cNvSpPr txBox="1"/>
          <p:nvPr/>
        </p:nvSpPr>
        <p:spPr>
          <a:xfrm>
            <a:off x="1190625" y="3779812"/>
            <a:ext cx="6762750" cy="320234"/>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1050" dirty="0">
                <a:solidFill>
                  <a:schemeClr val="tx1"/>
                </a:solidFill>
                <a:latin typeface="Playfair Display" panose="00000500000000000000" pitchFamily="50" charset="0"/>
                <a:ea typeface="Open Sans" panose="020B0606030504020204" pitchFamily="34" charset="0"/>
                <a:cs typeface="Open Sans" panose="020B0606030504020204" pitchFamily="34" charset="0"/>
              </a:rPr>
              <a:t>We Are </a:t>
            </a:r>
            <a:r>
              <a:rPr lang="en-US" sz="1050" b="1" dirty="0">
                <a:solidFill>
                  <a:schemeClr val="tx1"/>
                </a:solidFill>
                <a:latin typeface="Playfair Display" panose="00000500000000000000" pitchFamily="50" charset="0"/>
                <a:ea typeface="Open Sans" panose="020B0606030504020204" pitchFamily="34" charset="0"/>
                <a:cs typeface="Open Sans" panose="020B0606030504020204" pitchFamily="34" charset="0"/>
              </a:rPr>
              <a:t>Tahes.co ,</a:t>
            </a:r>
            <a:r>
              <a:rPr lang="en-US" sz="1050" dirty="0">
                <a:solidFill>
                  <a:schemeClr val="tx1"/>
                </a:solidFill>
                <a:latin typeface="Playfair Display" panose="00000500000000000000" pitchFamily="50" charset="0"/>
                <a:ea typeface="Open Sans" panose="020B0606030504020204" pitchFamily="34" charset="0"/>
                <a:cs typeface="Open Sans" panose="020B0606030504020204" pitchFamily="34" charset="0"/>
              </a:rPr>
              <a:t>  </a:t>
            </a:r>
            <a:r>
              <a:rPr lang="en-US" sz="1050" dirty="0">
                <a:solidFill>
                  <a:srgbClr val="548235"/>
                </a:solidFill>
                <a:latin typeface="Playfair Display" panose="00000500000000000000" pitchFamily="50" charset="0"/>
                <a:ea typeface="Open Sans" panose="020B0606030504020204" pitchFamily="34" charset="0"/>
                <a:cs typeface="Open Sans" panose="020B0606030504020204" pitchFamily="34" charset="0"/>
              </a:rPr>
              <a:t>We Learn From The Best </a:t>
            </a:r>
            <a:endParaRPr lang="en-US" sz="1050" dirty="0">
              <a:solidFill>
                <a:srgbClr val="548235"/>
              </a:solidFill>
              <a:latin typeface="Playfair Display" panose="00000500000000000000" pitchFamily="50" charset="0"/>
              <a:ea typeface="Open Sans" panose="020B0606030504020204" pitchFamily="34" charset="0"/>
              <a:cs typeface="Open Sans" panose="020B0606030504020204" pitchFamily="34" charset="0"/>
            </a:endParaRPr>
          </a:p>
        </p:txBody>
      </p:sp>
      <p:sp>
        <p:nvSpPr>
          <p:cNvPr id="33" name="Rectangle 32"/>
          <p:cNvSpPr/>
          <p:nvPr/>
        </p:nvSpPr>
        <p:spPr>
          <a:xfrm>
            <a:off x="1102373" y="4077040"/>
            <a:ext cx="6939255" cy="334835"/>
          </a:xfrm>
          <a:prstGeom prst="rect">
            <a:avLst/>
          </a:prstGeom>
        </p:spPr>
        <p:txBody>
          <a:bodyPr wrap="square">
            <a:spAutoFit/>
          </a:bodyPr>
          <a:lstStyle/>
          <a:p>
            <a:pPr algn="ctr">
              <a:buClr>
                <a:srgbClr val="E24848"/>
              </a:buClr>
              <a:defRPr/>
            </a:pPr>
            <a:r>
              <a:rPr lang="en-US" sz="790" noProof="1">
                <a:solidFill>
                  <a:schemeClr val="tx2">
                    <a:lumMod val="50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a:t>
            </a:r>
            <a:endParaRPr lang="en-US" sz="790" noProof="1">
              <a:solidFill>
                <a:schemeClr val="tx2">
                  <a:lumMod val="50000"/>
                </a:schemeClr>
              </a:solidFill>
              <a:latin typeface="+mj-lt"/>
              <a:ea typeface="Open Sans Light" panose="020B0306030504020204" pitchFamily="34" charset="0"/>
              <a:cs typeface="Open Sans Light" panose="020B0306030504020204" pitchFamily="34" charset="0"/>
            </a:endParaRPr>
          </a:p>
        </p:txBody>
      </p:sp>
      <p:sp>
        <p:nvSpPr>
          <p:cNvPr id="122" name="Oval 121"/>
          <p:cNvSpPr/>
          <p:nvPr/>
        </p:nvSpPr>
        <p:spPr>
          <a:xfrm>
            <a:off x="1386911" y="1924051"/>
            <a:ext cx="990615" cy="990614"/>
          </a:xfrm>
          <a:prstGeom prst="ellipse">
            <a:avLst/>
          </a:prstGeom>
          <a:blipFill>
            <a:blip r:embed="rId1"/>
            <a:stretch>
              <a:fillRect/>
            </a:stretch>
          </a:blip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sp>
      <p:sp>
        <p:nvSpPr>
          <p:cNvPr id="123" name="Chord 122"/>
          <p:cNvSpPr/>
          <p:nvPr/>
        </p:nvSpPr>
        <p:spPr>
          <a:xfrm>
            <a:off x="1521995" y="2059135"/>
            <a:ext cx="720446" cy="720445"/>
          </a:xfrm>
          <a:prstGeom prst="chord">
            <a:avLst>
              <a:gd name="adj1" fmla="val 19776406"/>
              <a:gd name="adj2" fmla="val 12615538"/>
            </a:avLst>
          </a:prstGeom>
          <a:solidFill>
            <a:srgbClr val="548235"/>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5" name="Arc 124"/>
          <p:cNvSpPr/>
          <p:nvPr/>
        </p:nvSpPr>
        <p:spPr>
          <a:xfrm>
            <a:off x="1517566" y="2056887"/>
            <a:ext cx="720446" cy="720445"/>
          </a:xfrm>
          <a:prstGeom prst="arc">
            <a:avLst>
              <a:gd name="adj1" fmla="val 17243488"/>
              <a:gd name="adj2" fmla="val 15111197"/>
            </a:avLst>
          </a:prstGeom>
          <a:noFill/>
          <a:ln w="38100">
            <a:solidFill>
              <a:schemeClr val="bg1"/>
            </a:solidFill>
            <a:headEnd type="oval" w="med" len="med"/>
            <a:tailEnd type="oval" w="med" len="med"/>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8" name="Content Placeholder 2"/>
          <p:cNvSpPr txBox="1"/>
          <p:nvPr/>
        </p:nvSpPr>
        <p:spPr>
          <a:xfrm>
            <a:off x="1389379" y="1485623"/>
            <a:ext cx="988147" cy="304324"/>
          </a:xfrm>
          <a:prstGeom prst="rect">
            <a:avLst/>
          </a:prstGeom>
          <a:solidFill>
            <a:srgbClr val="548235"/>
          </a:solidFill>
          <a:ln>
            <a:noFill/>
          </a:ln>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sz="900" dirty="0">
                <a:solidFill>
                  <a:schemeClr val="bg1"/>
                </a:solidFill>
                <a:latin typeface="Lato" panose="020F0502020204030203" pitchFamily="34" charset="0"/>
                <a:ea typeface="Open Sans" panose="020B0606030504020204" pitchFamily="34" charset="0"/>
                <a:cs typeface="Lato" panose="020F0502020204030203" pitchFamily="34" charset="0"/>
              </a:rPr>
              <a:t>PRODUCT</a:t>
            </a:r>
            <a:endParaRPr lang="en-US" sz="900"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129" name="Rectangle 128"/>
          <p:cNvSpPr/>
          <p:nvPr/>
        </p:nvSpPr>
        <p:spPr>
          <a:xfrm>
            <a:off x="1155207" y="3138989"/>
            <a:ext cx="1456489" cy="438582"/>
          </a:xfrm>
          <a:prstGeom prst="rect">
            <a:avLst/>
          </a:prstGeom>
        </p:spPr>
        <p:txBody>
          <a:bodyPr wrap="square">
            <a:spAutoFit/>
          </a:bodyPr>
          <a:lstStyle/>
          <a:p>
            <a:pPr algn="ctr">
              <a:buClr>
                <a:srgbClr val="E24848"/>
              </a:buClr>
            </a:pPr>
            <a:r>
              <a:rPr lang="en-US" sz="75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a:t>
            </a:r>
            <a:endParaRPr lang="en-US" sz="75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130" name="Title 1"/>
          <p:cNvSpPr txBox="1"/>
          <p:nvPr/>
        </p:nvSpPr>
        <p:spPr>
          <a:xfrm>
            <a:off x="1562591" y="2354572"/>
            <a:ext cx="641722" cy="226139"/>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1350" b="1" spc="-113" dirty="0">
                <a:solidFill>
                  <a:schemeClr val="bg1"/>
                </a:solidFill>
                <a:latin typeface="Lato" panose="020F0502020204030203" pitchFamily="34" charset="0"/>
                <a:ea typeface="Open Sans" panose="020B0606030504020204" pitchFamily="34" charset="0"/>
                <a:cs typeface="Lato" panose="020F0502020204030203" pitchFamily="34" charset="0"/>
              </a:rPr>
              <a:t>85 %</a:t>
            </a:r>
            <a:endParaRPr lang="en-US" sz="1350" spc="-113"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131" name="Oval 130"/>
          <p:cNvSpPr/>
          <p:nvPr/>
        </p:nvSpPr>
        <p:spPr>
          <a:xfrm>
            <a:off x="3119703" y="1924051"/>
            <a:ext cx="990615" cy="990614"/>
          </a:xfrm>
          <a:prstGeom prst="ellipse">
            <a:avLst/>
          </a:prstGeom>
          <a:blipFill>
            <a:blip r:embed="rId1"/>
            <a:stretch>
              <a:fillRect/>
            </a:stretch>
          </a:blip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sp>
      <p:sp>
        <p:nvSpPr>
          <p:cNvPr id="132" name="Chord 131"/>
          <p:cNvSpPr/>
          <p:nvPr/>
        </p:nvSpPr>
        <p:spPr>
          <a:xfrm>
            <a:off x="3254788" y="2059135"/>
            <a:ext cx="720446" cy="720445"/>
          </a:xfrm>
          <a:prstGeom prst="chord">
            <a:avLst>
              <a:gd name="adj1" fmla="val 21167619"/>
              <a:gd name="adj2" fmla="val 11089461"/>
            </a:avLst>
          </a:prstGeom>
          <a:solidFill>
            <a:srgbClr val="548235"/>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3" name="Arc 132"/>
          <p:cNvSpPr/>
          <p:nvPr/>
        </p:nvSpPr>
        <p:spPr>
          <a:xfrm>
            <a:off x="3250358" y="2056887"/>
            <a:ext cx="720446" cy="720445"/>
          </a:xfrm>
          <a:prstGeom prst="arc">
            <a:avLst>
              <a:gd name="adj1" fmla="val 17243488"/>
              <a:gd name="adj2" fmla="val 15111197"/>
            </a:avLst>
          </a:prstGeom>
          <a:noFill/>
          <a:ln w="38100">
            <a:solidFill>
              <a:schemeClr val="bg1"/>
            </a:solidFill>
            <a:headEnd type="oval" w="med" len="med"/>
            <a:tailEnd type="oval" w="med" len="med"/>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4" name="Content Placeholder 2"/>
          <p:cNvSpPr txBox="1"/>
          <p:nvPr/>
        </p:nvSpPr>
        <p:spPr>
          <a:xfrm>
            <a:off x="3122172" y="1485623"/>
            <a:ext cx="988147" cy="304324"/>
          </a:xfrm>
          <a:prstGeom prst="rect">
            <a:avLst/>
          </a:prstGeom>
          <a:solidFill>
            <a:srgbClr val="548235"/>
          </a:solidFill>
          <a:ln>
            <a:noFill/>
          </a:ln>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sz="900" dirty="0">
                <a:solidFill>
                  <a:schemeClr val="bg1"/>
                </a:solidFill>
                <a:latin typeface="Lato" panose="020F0502020204030203" pitchFamily="34" charset="0"/>
                <a:ea typeface="Open Sans" panose="020B0606030504020204" pitchFamily="34" charset="0"/>
                <a:cs typeface="Lato" panose="020F0502020204030203" pitchFamily="34" charset="0"/>
              </a:rPr>
              <a:t>PRICE</a:t>
            </a:r>
            <a:endParaRPr lang="en-US" sz="900"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136" name="Title 1"/>
          <p:cNvSpPr txBox="1"/>
          <p:nvPr/>
        </p:nvSpPr>
        <p:spPr>
          <a:xfrm>
            <a:off x="3295383" y="2354572"/>
            <a:ext cx="641722" cy="226139"/>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1350" b="1" spc="-113" dirty="0">
                <a:solidFill>
                  <a:schemeClr val="bg1"/>
                </a:solidFill>
                <a:latin typeface="Lato" panose="020F0502020204030203" pitchFamily="34" charset="0"/>
                <a:ea typeface="Open Sans" panose="020B0606030504020204" pitchFamily="34" charset="0"/>
                <a:cs typeface="Lato" panose="020F0502020204030203" pitchFamily="34" charset="0"/>
              </a:rPr>
              <a:t>65 %</a:t>
            </a:r>
            <a:endParaRPr lang="en-US" sz="1350" spc="-113"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137" name="Oval 136"/>
          <p:cNvSpPr/>
          <p:nvPr/>
        </p:nvSpPr>
        <p:spPr>
          <a:xfrm>
            <a:off x="4943090" y="1924051"/>
            <a:ext cx="990615" cy="990614"/>
          </a:xfrm>
          <a:prstGeom prst="ellipse">
            <a:avLst/>
          </a:prstGeom>
          <a:blipFill>
            <a:blip r:embed="rId1"/>
            <a:stretch>
              <a:fillRect/>
            </a:stretch>
          </a:blip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sp>
      <p:sp>
        <p:nvSpPr>
          <p:cNvPr id="138" name="Chord 137"/>
          <p:cNvSpPr/>
          <p:nvPr/>
        </p:nvSpPr>
        <p:spPr>
          <a:xfrm>
            <a:off x="5078175" y="2059135"/>
            <a:ext cx="720446" cy="720445"/>
          </a:xfrm>
          <a:prstGeom prst="chord">
            <a:avLst>
              <a:gd name="adj1" fmla="val 1448039"/>
              <a:gd name="adj2" fmla="val 8360618"/>
            </a:avLst>
          </a:prstGeom>
          <a:solidFill>
            <a:srgbClr val="548235"/>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9" name="Arc 138"/>
          <p:cNvSpPr/>
          <p:nvPr/>
        </p:nvSpPr>
        <p:spPr>
          <a:xfrm>
            <a:off x="5073745" y="2056887"/>
            <a:ext cx="720446" cy="720445"/>
          </a:xfrm>
          <a:prstGeom prst="arc">
            <a:avLst>
              <a:gd name="adj1" fmla="val 17243488"/>
              <a:gd name="adj2" fmla="val 15111197"/>
            </a:avLst>
          </a:prstGeom>
          <a:noFill/>
          <a:ln w="38100">
            <a:solidFill>
              <a:schemeClr val="bg1"/>
            </a:solidFill>
            <a:headEnd type="oval" w="med" len="med"/>
            <a:tailEnd type="oval" w="med" len="med"/>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0" name="Content Placeholder 2"/>
          <p:cNvSpPr txBox="1"/>
          <p:nvPr/>
        </p:nvSpPr>
        <p:spPr>
          <a:xfrm>
            <a:off x="4945559" y="1485623"/>
            <a:ext cx="988147" cy="304324"/>
          </a:xfrm>
          <a:prstGeom prst="rect">
            <a:avLst/>
          </a:prstGeom>
          <a:solidFill>
            <a:srgbClr val="548235"/>
          </a:solidFill>
          <a:ln>
            <a:noFill/>
          </a:ln>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sz="900" dirty="0">
                <a:solidFill>
                  <a:schemeClr val="bg1"/>
                </a:solidFill>
                <a:latin typeface="Lato" panose="020F0502020204030203" pitchFamily="34" charset="0"/>
                <a:ea typeface="Open Sans" panose="020B0606030504020204" pitchFamily="34" charset="0"/>
                <a:cs typeface="Lato" panose="020F0502020204030203" pitchFamily="34" charset="0"/>
              </a:rPr>
              <a:t>PROMOTION</a:t>
            </a:r>
            <a:endParaRPr lang="en-US" sz="900"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142" name="Title 1"/>
          <p:cNvSpPr txBox="1"/>
          <p:nvPr/>
        </p:nvSpPr>
        <p:spPr>
          <a:xfrm>
            <a:off x="5118771" y="2354572"/>
            <a:ext cx="641722" cy="226139"/>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1350" b="1" spc="-113" dirty="0">
                <a:solidFill>
                  <a:schemeClr val="bg1"/>
                </a:solidFill>
                <a:latin typeface="Lato" panose="020F0502020204030203" pitchFamily="34" charset="0"/>
                <a:ea typeface="Open Sans" panose="020B0606030504020204" pitchFamily="34" charset="0"/>
                <a:cs typeface="Lato" panose="020F0502020204030203" pitchFamily="34" charset="0"/>
              </a:rPr>
              <a:t>15%</a:t>
            </a:r>
            <a:endParaRPr lang="en-US" sz="1350" spc="-113"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143" name="Oval 142"/>
          <p:cNvSpPr/>
          <p:nvPr/>
        </p:nvSpPr>
        <p:spPr>
          <a:xfrm>
            <a:off x="6764009" y="1924051"/>
            <a:ext cx="990615" cy="990614"/>
          </a:xfrm>
          <a:prstGeom prst="ellipse">
            <a:avLst/>
          </a:prstGeom>
          <a:blipFill>
            <a:blip r:embed="rId1"/>
            <a:stretch>
              <a:fillRect/>
            </a:stretch>
          </a:blip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sp>
      <p:sp>
        <p:nvSpPr>
          <p:cNvPr id="144" name="Chord 143"/>
          <p:cNvSpPr/>
          <p:nvPr/>
        </p:nvSpPr>
        <p:spPr>
          <a:xfrm>
            <a:off x="6899094" y="2059135"/>
            <a:ext cx="720446" cy="720445"/>
          </a:xfrm>
          <a:prstGeom prst="chord">
            <a:avLst>
              <a:gd name="adj1" fmla="val 1148581"/>
              <a:gd name="adj2" fmla="val 9737800"/>
            </a:avLst>
          </a:prstGeom>
          <a:solidFill>
            <a:srgbClr val="548235"/>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5" name="Arc 144"/>
          <p:cNvSpPr/>
          <p:nvPr/>
        </p:nvSpPr>
        <p:spPr>
          <a:xfrm>
            <a:off x="6894664" y="2056887"/>
            <a:ext cx="720446" cy="720445"/>
          </a:xfrm>
          <a:prstGeom prst="arc">
            <a:avLst>
              <a:gd name="adj1" fmla="val 17243488"/>
              <a:gd name="adj2" fmla="val 15111197"/>
            </a:avLst>
          </a:prstGeom>
          <a:noFill/>
          <a:ln w="38100">
            <a:solidFill>
              <a:schemeClr val="bg1"/>
            </a:solidFill>
            <a:headEnd type="oval" w="med" len="med"/>
            <a:tailEnd type="oval" w="med" len="med"/>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6" name="Content Placeholder 2"/>
          <p:cNvSpPr txBox="1"/>
          <p:nvPr/>
        </p:nvSpPr>
        <p:spPr>
          <a:xfrm>
            <a:off x="6766478" y="1485623"/>
            <a:ext cx="988147" cy="304324"/>
          </a:xfrm>
          <a:prstGeom prst="rect">
            <a:avLst/>
          </a:prstGeom>
          <a:solidFill>
            <a:srgbClr val="548235"/>
          </a:solidFill>
          <a:ln>
            <a:noFill/>
          </a:ln>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sz="900" dirty="0">
                <a:solidFill>
                  <a:schemeClr val="bg1"/>
                </a:solidFill>
                <a:latin typeface="Lato" panose="020F0502020204030203" pitchFamily="34" charset="0"/>
                <a:ea typeface="Open Sans" panose="020B0606030504020204" pitchFamily="34" charset="0"/>
                <a:cs typeface="Lato" panose="020F0502020204030203" pitchFamily="34" charset="0"/>
              </a:rPr>
              <a:t>MARKET</a:t>
            </a:r>
            <a:endParaRPr lang="en-US" sz="900"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148" name="Title 1"/>
          <p:cNvSpPr txBox="1"/>
          <p:nvPr/>
        </p:nvSpPr>
        <p:spPr>
          <a:xfrm>
            <a:off x="6939690" y="2247634"/>
            <a:ext cx="641722" cy="226139"/>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1350" b="1" spc="-113" dirty="0">
                <a:solidFill>
                  <a:schemeClr val="bg1"/>
                </a:solidFill>
                <a:latin typeface="Lato" panose="020F0502020204030203" pitchFamily="34" charset="0"/>
                <a:ea typeface="Open Sans" panose="020B0606030504020204" pitchFamily="34" charset="0"/>
                <a:cs typeface="Lato" panose="020F0502020204030203" pitchFamily="34" charset="0"/>
              </a:rPr>
              <a:t>35 %</a:t>
            </a:r>
            <a:endParaRPr lang="en-US" sz="1350" spc="-113"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cxnSp>
        <p:nvCxnSpPr>
          <p:cNvPr id="151" name="Straight Connector 150"/>
          <p:cNvCxnSpPr/>
          <p:nvPr/>
        </p:nvCxnSpPr>
        <p:spPr>
          <a:xfrm>
            <a:off x="1077913" y="3779812"/>
            <a:ext cx="6988175" cy="0"/>
          </a:xfrm>
          <a:prstGeom prst="line">
            <a:avLst/>
          </a:prstGeom>
          <a:ln>
            <a:solidFill>
              <a:srgbClr val="548235"/>
            </a:solidFill>
          </a:ln>
        </p:spPr>
        <p:style>
          <a:lnRef idx="1">
            <a:schemeClr val="accent1"/>
          </a:lnRef>
          <a:fillRef idx="0">
            <a:schemeClr val="accent1"/>
          </a:fillRef>
          <a:effectRef idx="0">
            <a:schemeClr val="accent1"/>
          </a:effectRef>
          <a:fontRef idx="minor">
            <a:schemeClr val="tx1"/>
          </a:fontRef>
        </p:style>
      </p:cxnSp>
      <p:sp>
        <p:nvSpPr>
          <p:cNvPr id="153" name="Rectangle 152"/>
          <p:cNvSpPr/>
          <p:nvPr/>
        </p:nvSpPr>
        <p:spPr>
          <a:xfrm>
            <a:off x="2940540" y="3138989"/>
            <a:ext cx="1456489" cy="438582"/>
          </a:xfrm>
          <a:prstGeom prst="rect">
            <a:avLst/>
          </a:prstGeom>
        </p:spPr>
        <p:txBody>
          <a:bodyPr wrap="square">
            <a:spAutoFit/>
          </a:bodyPr>
          <a:lstStyle/>
          <a:p>
            <a:pPr algn="ctr">
              <a:buClr>
                <a:srgbClr val="E24848"/>
              </a:buClr>
            </a:pPr>
            <a:r>
              <a:rPr lang="en-US" sz="75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a:t>
            </a:r>
            <a:endParaRPr lang="en-US" sz="75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154" name="Rectangle 153"/>
          <p:cNvSpPr/>
          <p:nvPr/>
        </p:nvSpPr>
        <p:spPr>
          <a:xfrm>
            <a:off x="4725873" y="3138989"/>
            <a:ext cx="1456489" cy="438582"/>
          </a:xfrm>
          <a:prstGeom prst="rect">
            <a:avLst/>
          </a:prstGeom>
        </p:spPr>
        <p:txBody>
          <a:bodyPr wrap="square">
            <a:spAutoFit/>
          </a:bodyPr>
          <a:lstStyle/>
          <a:p>
            <a:pPr algn="ctr">
              <a:buClr>
                <a:srgbClr val="E24848"/>
              </a:buClr>
            </a:pPr>
            <a:r>
              <a:rPr lang="en-US" sz="75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a:t>
            </a:r>
            <a:endParaRPr lang="en-US" sz="75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155" name="Rectangle 154"/>
          <p:cNvSpPr/>
          <p:nvPr/>
        </p:nvSpPr>
        <p:spPr>
          <a:xfrm>
            <a:off x="6585140" y="3138989"/>
            <a:ext cx="1456489" cy="438582"/>
          </a:xfrm>
          <a:prstGeom prst="rect">
            <a:avLst/>
          </a:prstGeom>
        </p:spPr>
        <p:txBody>
          <a:bodyPr wrap="square">
            <a:spAutoFit/>
          </a:bodyPr>
          <a:lstStyle/>
          <a:p>
            <a:pPr algn="ctr">
              <a:buClr>
                <a:srgbClr val="E24848"/>
              </a:buClr>
            </a:pPr>
            <a:r>
              <a:rPr lang="en-US" sz="75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a:t>
            </a:r>
            <a:endParaRPr lang="en-US" sz="75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4559121" y="947262"/>
            <a:ext cx="4572020" cy="3248501"/>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 name="矩形 5"/>
          <p:cNvSpPr/>
          <p:nvPr/>
        </p:nvSpPr>
        <p:spPr>
          <a:xfrm flipH="1">
            <a:off x="9006841" y="1359218"/>
            <a:ext cx="124301" cy="2425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 name="矩形 6"/>
          <p:cNvSpPr/>
          <p:nvPr/>
        </p:nvSpPr>
        <p:spPr>
          <a:xfrm flipH="1">
            <a:off x="-31520" y="3685699"/>
            <a:ext cx="1790700" cy="510064"/>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8" name="文本框 7"/>
          <p:cNvSpPr txBox="1"/>
          <p:nvPr/>
        </p:nvSpPr>
        <p:spPr>
          <a:xfrm flipH="1">
            <a:off x="6951345" y="1359217"/>
            <a:ext cx="1439704" cy="415498"/>
          </a:xfrm>
          <a:prstGeom prst="rect">
            <a:avLst/>
          </a:prstGeom>
          <a:noFill/>
        </p:spPr>
        <p:txBody>
          <a:bodyPr wrap="square" rtlCol="0">
            <a:spAutoFit/>
          </a:bodyPr>
          <a:lstStyle/>
          <a:p>
            <a:r>
              <a:rPr lang="en-US" altLang="zh-CN" sz="2100" dirty="0">
                <a:solidFill>
                  <a:schemeClr val="bg1"/>
                </a:solidFill>
                <a:latin typeface="华文细黑" panose="02010600040101010101" charset="-122"/>
                <a:ea typeface="华文细黑" panose="02010600040101010101" charset="-122"/>
              </a:rPr>
              <a:t>Contents</a:t>
            </a:r>
            <a:endParaRPr lang="en-US" altLang="zh-CN" sz="2100" dirty="0">
              <a:solidFill>
                <a:schemeClr val="bg1"/>
              </a:solidFill>
              <a:latin typeface="华文细黑" panose="02010600040101010101" charset="-122"/>
              <a:ea typeface="华文细黑" panose="02010600040101010101" charset="-122"/>
            </a:endParaRPr>
          </a:p>
        </p:txBody>
      </p:sp>
      <p:sp>
        <p:nvSpPr>
          <p:cNvPr id="9" name="文本框 8"/>
          <p:cNvSpPr txBox="1"/>
          <p:nvPr/>
        </p:nvSpPr>
        <p:spPr>
          <a:xfrm flipH="1">
            <a:off x="5614511" y="1982629"/>
            <a:ext cx="2776538" cy="248209"/>
          </a:xfrm>
          <a:prstGeom prst="rect">
            <a:avLst/>
          </a:prstGeom>
          <a:noFill/>
        </p:spPr>
        <p:txBody>
          <a:bodyPr wrap="square" rtlCol="0">
            <a:spAutoFit/>
          </a:bodyPr>
          <a:lstStyle/>
          <a:p>
            <a:pPr algn="l" fontAlgn="auto">
              <a:lnSpc>
                <a:spcPct val="100000"/>
              </a:lnSpc>
            </a:pPr>
            <a:r>
              <a:rPr lang="en-US" altLang="zh-CN" sz="1015" dirty="0">
                <a:solidFill>
                  <a:schemeClr val="tx1">
                    <a:lumMod val="65000"/>
                    <a:lumOff val="35000"/>
                  </a:schemeClr>
                </a:solidFill>
                <a:latin typeface="华文细黑" panose="02010600040101010101" charset="-122"/>
                <a:ea typeface="华文细黑" panose="02010600040101010101" charset="-122"/>
                <a:sym typeface="+mn-ea"/>
              </a:rPr>
              <a:t> </a:t>
            </a:r>
            <a:r>
              <a:rPr lang="en-US" altLang="zh-CN" sz="1015" dirty="0">
                <a:solidFill>
                  <a:schemeClr val="bg1"/>
                </a:solidFill>
                <a:latin typeface="华文细黑" panose="02010600040101010101" charset="-122"/>
                <a:ea typeface="华文细黑" panose="02010600040101010101" charset="-122"/>
                <a:sym typeface="+mn-ea"/>
              </a:rPr>
              <a:t>01  </a:t>
            </a:r>
            <a:r>
              <a:rPr lang="zh-CN" altLang="en-US" sz="1015" dirty="0">
                <a:solidFill>
                  <a:schemeClr val="bg1"/>
                </a:solidFill>
                <a:latin typeface="华文细黑" panose="02010600040101010101" charset="-122"/>
                <a:ea typeface="华文细黑" panose="02010600040101010101" charset="-122"/>
                <a:sym typeface="+mn-ea"/>
              </a:rPr>
              <a:t>Click here to add your title</a:t>
            </a:r>
            <a:endParaRPr lang="zh-CN" altLang="en-US" sz="1015" dirty="0">
              <a:solidFill>
                <a:schemeClr val="bg1"/>
              </a:solidFill>
              <a:latin typeface="华文细黑" panose="02010600040101010101" charset="-122"/>
              <a:ea typeface="华文细黑" panose="02010600040101010101" charset="-122"/>
              <a:sym typeface="+mn-ea"/>
            </a:endParaRPr>
          </a:p>
        </p:txBody>
      </p:sp>
      <p:sp>
        <p:nvSpPr>
          <p:cNvPr id="10" name="文本框 9"/>
          <p:cNvSpPr txBox="1"/>
          <p:nvPr/>
        </p:nvSpPr>
        <p:spPr>
          <a:xfrm flipH="1">
            <a:off x="5614511" y="2491264"/>
            <a:ext cx="2776538" cy="248209"/>
          </a:xfrm>
          <a:prstGeom prst="rect">
            <a:avLst/>
          </a:prstGeom>
          <a:noFill/>
        </p:spPr>
        <p:txBody>
          <a:bodyPr wrap="square" rtlCol="0">
            <a:spAutoFit/>
          </a:bodyPr>
          <a:lstStyle/>
          <a:p>
            <a:pPr algn="l" fontAlgn="auto">
              <a:lnSpc>
                <a:spcPct val="100000"/>
              </a:lnSpc>
            </a:pPr>
            <a:r>
              <a:rPr lang="en-US" altLang="zh-CN" sz="1015" dirty="0">
                <a:solidFill>
                  <a:schemeClr val="tx1">
                    <a:lumMod val="65000"/>
                    <a:lumOff val="35000"/>
                  </a:schemeClr>
                </a:solidFill>
                <a:latin typeface="华文细黑" panose="02010600040101010101" charset="-122"/>
                <a:ea typeface="华文细黑" panose="02010600040101010101" charset="-122"/>
                <a:sym typeface="+mn-ea"/>
              </a:rPr>
              <a:t> </a:t>
            </a:r>
            <a:r>
              <a:rPr lang="en-US" altLang="zh-CN" sz="1015" dirty="0">
                <a:solidFill>
                  <a:schemeClr val="bg1"/>
                </a:solidFill>
                <a:latin typeface="华文细黑" panose="02010600040101010101" charset="-122"/>
                <a:ea typeface="华文细黑" panose="02010600040101010101" charset="-122"/>
                <a:sym typeface="+mn-ea"/>
              </a:rPr>
              <a:t>02  </a:t>
            </a:r>
            <a:r>
              <a:rPr lang="zh-CN" altLang="en-US" sz="1015" dirty="0">
                <a:solidFill>
                  <a:schemeClr val="bg1"/>
                </a:solidFill>
                <a:latin typeface="华文细黑" panose="02010600040101010101" charset="-122"/>
                <a:ea typeface="华文细黑" panose="02010600040101010101" charset="-122"/>
                <a:sym typeface="+mn-ea"/>
              </a:rPr>
              <a:t>Click here to add your title</a:t>
            </a:r>
            <a:endParaRPr lang="zh-CN" altLang="en-US" sz="1015" dirty="0">
              <a:solidFill>
                <a:schemeClr val="bg1"/>
              </a:solidFill>
              <a:latin typeface="华文细黑" panose="02010600040101010101" charset="-122"/>
              <a:ea typeface="华文细黑" panose="02010600040101010101" charset="-122"/>
              <a:sym typeface="+mn-ea"/>
            </a:endParaRPr>
          </a:p>
        </p:txBody>
      </p:sp>
      <p:sp>
        <p:nvSpPr>
          <p:cNvPr id="11" name="文本框 10"/>
          <p:cNvSpPr txBox="1"/>
          <p:nvPr/>
        </p:nvSpPr>
        <p:spPr>
          <a:xfrm flipH="1">
            <a:off x="5614511" y="3010853"/>
            <a:ext cx="2776538" cy="248209"/>
          </a:xfrm>
          <a:prstGeom prst="rect">
            <a:avLst/>
          </a:prstGeom>
          <a:noFill/>
        </p:spPr>
        <p:txBody>
          <a:bodyPr wrap="square" rtlCol="0">
            <a:spAutoFit/>
          </a:bodyPr>
          <a:lstStyle/>
          <a:p>
            <a:pPr algn="l" fontAlgn="auto">
              <a:lnSpc>
                <a:spcPct val="100000"/>
              </a:lnSpc>
            </a:pPr>
            <a:r>
              <a:rPr lang="en-US" altLang="zh-CN" sz="1015" dirty="0">
                <a:solidFill>
                  <a:schemeClr val="tx1">
                    <a:lumMod val="65000"/>
                    <a:lumOff val="35000"/>
                  </a:schemeClr>
                </a:solidFill>
                <a:latin typeface="华文细黑" panose="02010600040101010101" charset="-122"/>
                <a:ea typeface="华文细黑" panose="02010600040101010101" charset="-122"/>
                <a:sym typeface="+mn-ea"/>
              </a:rPr>
              <a:t> </a:t>
            </a:r>
            <a:r>
              <a:rPr lang="en-US" altLang="zh-CN" sz="1015" dirty="0">
                <a:solidFill>
                  <a:schemeClr val="bg1"/>
                </a:solidFill>
                <a:latin typeface="华文细黑" panose="02010600040101010101" charset="-122"/>
                <a:ea typeface="华文细黑" panose="02010600040101010101" charset="-122"/>
                <a:sym typeface="+mn-ea"/>
              </a:rPr>
              <a:t>03  </a:t>
            </a:r>
            <a:r>
              <a:rPr lang="zh-CN" altLang="en-US" sz="1015" dirty="0">
                <a:solidFill>
                  <a:schemeClr val="bg1"/>
                </a:solidFill>
                <a:latin typeface="华文细黑" panose="02010600040101010101" charset="-122"/>
                <a:ea typeface="华文细黑" panose="02010600040101010101" charset="-122"/>
                <a:sym typeface="+mn-ea"/>
              </a:rPr>
              <a:t>Click here to add your title</a:t>
            </a:r>
            <a:endParaRPr lang="zh-CN" altLang="en-US" sz="1015" dirty="0">
              <a:solidFill>
                <a:schemeClr val="bg1"/>
              </a:solidFill>
              <a:latin typeface="华文细黑" panose="02010600040101010101" charset="-122"/>
              <a:ea typeface="华文细黑" panose="02010600040101010101" charset="-122"/>
              <a:sym typeface="+mn-ea"/>
            </a:endParaRPr>
          </a:p>
        </p:txBody>
      </p:sp>
      <p:sp>
        <p:nvSpPr>
          <p:cNvPr id="12" name="文本框 11"/>
          <p:cNvSpPr txBox="1"/>
          <p:nvPr/>
        </p:nvSpPr>
        <p:spPr>
          <a:xfrm flipH="1">
            <a:off x="5614511" y="3508058"/>
            <a:ext cx="2776538" cy="248209"/>
          </a:xfrm>
          <a:prstGeom prst="rect">
            <a:avLst/>
          </a:prstGeom>
          <a:noFill/>
        </p:spPr>
        <p:txBody>
          <a:bodyPr wrap="square" rtlCol="0">
            <a:spAutoFit/>
          </a:bodyPr>
          <a:lstStyle/>
          <a:p>
            <a:pPr algn="l" fontAlgn="auto">
              <a:lnSpc>
                <a:spcPct val="100000"/>
              </a:lnSpc>
            </a:pPr>
            <a:r>
              <a:rPr lang="en-US" altLang="zh-CN" sz="1015" dirty="0">
                <a:solidFill>
                  <a:schemeClr val="tx1">
                    <a:lumMod val="65000"/>
                    <a:lumOff val="35000"/>
                  </a:schemeClr>
                </a:solidFill>
                <a:latin typeface="华文细黑" panose="02010600040101010101" charset="-122"/>
                <a:ea typeface="华文细黑" panose="02010600040101010101" charset="-122"/>
                <a:sym typeface="+mn-ea"/>
              </a:rPr>
              <a:t> </a:t>
            </a:r>
            <a:r>
              <a:rPr lang="en-US" altLang="zh-CN" sz="1015" dirty="0">
                <a:solidFill>
                  <a:schemeClr val="bg1"/>
                </a:solidFill>
                <a:latin typeface="华文细黑" panose="02010600040101010101" charset="-122"/>
                <a:ea typeface="华文细黑" panose="02010600040101010101" charset="-122"/>
                <a:sym typeface="+mn-ea"/>
              </a:rPr>
              <a:t>04  </a:t>
            </a:r>
            <a:r>
              <a:rPr lang="zh-CN" altLang="en-US" sz="1015" dirty="0">
                <a:solidFill>
                  <a:schemeClr val="bg1"/>
                </a:solidFill>
                <a:latin typeface="华文细黑" panose="02010600040101010101" charset="-122"/>
                <a:ea typeface="华文细黑" panose="02010600040101010101" charset="-122"/>
                <a:sym typeface="+mn-ea"/>
              </a:rPr>
              <a:t>Click here to add your title</a:t>
            </a:r>
            <a:endParaRPr lang="zh-CN" altLang="en-US" sz="1015" dirty="0">
              <a:solidFill>
                <a:schemeClr val="bg1"/>
              </a:solidFill>
              <a:latin typeface="华文细黑" panose="02010600040101010101" charset="-122"/>
              <a:ea typeface="华文细黑" panose="02010600040101010101" charset="-122"/>
              <a:sym typeface="+mn-ea"/>
            </a:endParaRPr>
          </a:p>
        </p:txBody>
      </p:sp>
      <p:sp>
        <p:nvSpPr>
          <p:cNvPr id="13" name="矩形 12"/>
          <p:cNvSpPr/>
          <p:nvPr/>
        </p:nvSpPr>
        <p:spPr>
          <a:xfrm>
            <a:off x="1023871" y="947262"/>
            <a:ext cx="3535250" cy="3248501"/>
          </a:xfrm>
          <a:prstGeom prst="rect">
            <a:avLst/>
          </a:prstGeom>
          <a:blipFill rotWithShape="1">
            <a:blip r:embed="rId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5" name="矩形 14"/>
          <p:cNvSpPr/>
          <p:nvPr/>
        </p:nvSpPr>
        <p:spPr>
          <a:xfrm>
            <a:off x="-9048" y="0"/>
            <a:ext cx="4571999" cy="5143500"/>
          </a:xfrm>
          <a:prstGeom prst="rect">
            <a:avLst/>
          </a:prstGeom>
          <a:gradFill flip="none" rotWithShape="1">
            <a:gsLst>
              <a:gs pos="84000">
                <a:schemeClr val="bg1">
                  <a:alpha val="0"/>
                </a:schemeClr>
              </a:gs>
              <a:gs pos="100000">
                <a:schemeClr val="tx1">
                  <a:lumMod val="50000"/>
                  <a:lumOff val="50000"/>
                  <a:alpha val="30000"/>
                </a:schemeClr>
              </a:gs>
            </a:gsLst>
            <a:lin ang="0" scaled="1"/>
            <a:tileRect/>
          </a:gradFill>
          <a:ln>
            <a:noFill/>
          </a:ln>
          <a:effectLst>
            <a:outerShdw blurRad="101600" dist="38100" sx="101000" sy="101000" algn="l" rotWithShape="0">
              <a:prstClr val="black">
                <a:alpha val="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childTnLst>
                          </p:cTn>
                        </p:par>
                        <p:par>
                          <p:cTn id="8" fill="hold">
                            <p:stCondLst>
                              <p:cond delay="500"/>
                            </p:stCondLst>
                            <p:childTnLst>
                              <p:par>
                                <p:cTn id="9" presetID="47" presetClass="entr" presetSubtype="0" fill="hold" grpId="1"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anim calcmode="lin" valueType="num">
                                      <p:cBhvr>
                                        <p:cTn id="12" dur="500" fill="hold"/>
                                        <p:tgtEl>
                                          <p:spTgt spid="5"/>
                                        </p:tgtEl>
                                        <p:attrNameLst>
                                          <p:attrName>ppt_x</p:attrName>
                                        </p:attrNameLst>
                                      </p:cBhvr>
                                      <p:tavLst>
                                        <p:tav tm="0">
                                          <p:val>
                                            <p:strVal val="#ppt_x"/>
                                          </p:val>
                                        </p:tav>
                                        <p:tav tm="100000">
                                          <p:val>
                                            <p:strVal val="#ppt_x"/>
                                          </p:val>
                                        </p:tav>
                                      </p:tavLst>
                                    </p:anim>
                                    <p:anim calcmode="lin" valueType="num">
                                      <p:cBhvr>
                                        <p:cTn id="13" dur="5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22" presetClass="entr" presetSubtype="2" fill="hold" grpId="0" nodeType="after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right)">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p:bldP spid="13" grpId="0" bldLvl="0" animBg="1"/>
      <p:bldP spid="15" grpId="0" bldLvl="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图片 2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495300" y="694849"/>
            <a:ext cx="2380298" cy="1937317"/>
          </a:xfrm>
          <a:prstGeom prst="rect">
            <a:avLst/>
          </a:prstGeom>
        </p:spPr>
      </p:pic>
      <p:pic>
        <p:nvPicPr>
          <p:cNvPr id="26" name="图片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6089" y="828689"/>
            <a:ext cx="3339465" cy="4184781"/>
          </a:xfrm>
          <a:prstGeom prst="rect">
            <a:avLst/>
          </a:prstGeom>
        </p:spPr>
      </p:pic>
      <p:sp>
        <p:nvSpPr>
          <p:cNvPr id="27" name="矩形 26"/>
          <p:cNvSpPr/>
          <p:nvPr/>
        </p:nvSpPr>
        <p:spPr>
          <a:xfrm>
            <a:off x="6005036" y="964882"/>
            <a:ext cx="3148013" cy="79152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8" name="文本框 27"/>
          <p:cNvSpPr txBox="1"/>
          <p:nvPr/>
        </p:nvSpPr>
        <p:spPr>
          <a:xfrm>
            <a:off x="6156484" y="1139667"/>
            <a:ext cx="3148489" cy="507831"/>
          </a:xfrm>
          <a:prstGeom prst="rect">
            <a:avLst/>
          </a:prstGeom>
          <a:noFill/>
        </p:spPr>
        <p:txBody>
          <a:bodyPr wrap="square" rtlCol="0">
            <a:spAutoFit/>
          </a:bodyPr>
          <a:lstStyle/>
          <a:p>
            <a:pPr algn="l" fontAlgn="auto"/>
            <a:r>
              <a:rPr lang="en-US" altLang="zh-CN" sz="2700">
                <a:solidFill>
                  <a:schemeClr val="bg1"/>
                </a:solidFill>
                <a:latin typeface="LeviBrush" panose="00000400000000000000" charset="0"/>
                <a:ea typeface="MStream HKS Bold" panose="00000800000000000000" charset="-120"/>
                <a:cs typeface="LeviBrush" panose="00000400000000000000" charset="0"/>
              </a:rPr>
              <a:t>GREEN PLANT</a:t>
            </a:r>
            <a:endParaRPr lang="en-US" altLang="zh-CN" sz="2700">
              <a:solidFill>
                <a:schemeClr val="bg1"/>
              </a:solidFill>
              <a:latin typeface="LeviBrush" panose="00000400000000000000" charset="0"/>
              <a:ea typeface="MStream HKS Bold" panose="00000800000000000000" charset="-120"/>
              <a:cs typeface="LeviBrush" panose="00000400000000000000" charset="0"/>
            </a:endParaRPr>
          </a:p>
        </p:txBody>
      </p:sp>
      <p:sp>
        <p:nvSpPr>
          <p:cNvPr id="29" name="TextBox 1210"/>
          <p:cNvSpPr/>
          <p:nvPr/>
        </p:nvSpPr>
        <p:spPr>
          <a:xfrm>
            <a:off x="6649165" y="2108359"/>
            <a:ext cx="2162175" cy="276999"/>
          </a:xfrm>
          <a:prstGeom prst="rect">
            <a:avLst/>
          </a:prstGeom>
          <a:noFill/>
          <a:ln w="9525">
            <a:noFill/>
            <a:miter/>
          </a:ln>
        </p:spPr>
        <p:txBody>
          <a:bodyPr wrap="square">
            <a:spAutoFit/>
          </a:bodyPr>
          <a:lstStyle/>
          <a:p>
            <a:pPr algn="l"/>
            <a:r>
              <a:rPr lang="en-US" altLang="zh-CN" sz="1200" dirty="0">
                <a:solidFill>
                  <a:schemeClr val="tx1">
                    <a:lumMod val="65000"/>
                    <a:lumOff val="35000"/>
                  </a:schemeClr>
                </a:solidFill>
                <a:ea typeface="方正舒体" panose="02010601030101010101" pitchFamily="2" charset="-122"/>
                <a:sym typeface="+mn-ea"/>
              </a:rPr>
              <a:t>ADD YOUR TEXT HERE</a:t>
            </a:r>
            <a:endParaRPr lang="en-US" altLang="zh-CN" sz="1200" dirty="0">
              <a:solidFill>
                <a:schemeClr val="tx1">
                  <a:lumMod val="65000"/>
                  <a:lumOff val="35000"/>
                </a:schemeClr>
              </a:solidFill>
              <a:ea typeface="方正舒体" panose="02010601030101010101" pitchFamily="2" charset="-122"/>
              <a:sym typeface="+mn-ea"/>
            </a:endParaRPr>
          </a:p>
        </p:txBody>
      </p:sp>
      <p:sp>
        <p:nvSpPr>
          <p:cNvPr id="30" name="TextBox 1210"/>
          <p:cNvSpPr/>
          <p:nvPr/>
        </p:nvSpPr>
        <p:spPr>
          <a:xfrm>
            <a:off x="6649403" y="2361248"/>
            <a:ext cx="2162175" cy="369332"/>
          </a:xfrm>
          <a:prstGeom prst="rect">
            <a:avLst/>
          </a:prstGeom>
          <a:noFill/>
          <a:ln w="9525">
            <a:noFill/>
            <a:miter/>
          </a:ln>
        </p:spPr>
        <p:txBody>
          <a:bodyPr wrap="square">
            <a:spAutoFit/>
          </a:bodyPr>
          <a:lstStyle/>
          <a:p>
            <a:pPr>
              <a:lnSpc>
                <a:spcPct val="200000"/>
              </a:lnSpc>
              <a:spcAft>
                <a:spcPts val="450"/>
              </a:spcAft>
            </a:pP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endParaRPr lang="en-US" altLang="zh-CN" sz="450" dirty="0">
              <a:solidFill>
                <a:schemeClr val="tx1">
                  <a:lumMod val="50000"/>
                  <a:lumOff val="50000"/>
                </a:schemeClr>
              </a:solidFill>
              <a:ea typeface="微软雅黑" panose="020B0503020204020204" charset="-122"/>
              <a:sym typeface="Arial" panose="020B0604020202020204" pitchFamily="34" charset="0"/>
            </a:endParaRPr>
          </a:p>
        </p:txBody>
      </p:sp>
      <p:sp>
        <p:nvSpPr>
          <p:cNvPr id="31" name="TextBox 1210"/>
          <p:cNvSpPr/>
          <p:nvPr/>
        </p:nvSpPr>
        <p:spPr>
          <a:xfrm>
            <a:off x="6649641" y="2956084"/>
            <a:ext cx="2162175" cy="276999"/>
          </a:xfrm>
          <a:prstGeom prst="rect">
            <a:avLst/>
          </a:prstGeom>
          <a:noFill/>
          <a:ln w="9525">
            <a:noFill/>
            <a:miter/>
          </a:ln>
        </p:spPr>
        <p:txBody>
          <a:bodyPr wrap="square">
            <a:spAutoFit/>
          </a:bodyPr>
          <a:lstStyle/>
          <a:p>
            <a:pPr algn="l"/>
            <a:r>
              <a:rPr lang="en-US" altLang="zh-CN" sz="1200" dirty="0">
                <a:solidFill>
                  <a:schemeClr val="tx1">
                    <a:lumMod val="65000"/>
                    <a:lumOff val="35000"/>
                  </a:schemeClr>
                </a:solidFill>
                <a:ea typeface="方正舒体" panose="02010601030101010101" pitchFamily="2" charset="-122"/>
                <a:sym typeface="+mn-ea"/>
              </a:rPr>
              <a:t>ADD YOUR TEXT HERE</a:t>
            </a:r>
            <a:endParaRPr lang="en-US" altLang="zh-CN" sz="1200" dirty="0">
              <a:solidFill>
                <a:schemeClr val="tx1">
                  <a:lumMod val="65000"/>
                  <a:lumOff val="35000"/>
                </a:schemeClr>
              </a:solidFill>
              <a:ea typeface="方正舒体" panose="02010601030101010101" pitchFamily="2" charset="-122"/>
              <a:sym typeface="+mn-ea"/>
            </a:endParaRPr>
          </a:p>
        </p:txBody>
      </p:sp>
      <p:sp>
        <p:nvSpPr>
          <p:cNvPr id="32" name="TextBox 1210"/>
          <p:cNvSpPr/>
          <p:nvPr/>
        </p:nvSpPr>
        <p:spPr>
          <a:xfrm>
            <a:off x="6649879" y="3208973"/>
            <a:ext cx="2162175" cy="369332"/>
          </a:xfrm>
          <a:prstGeom prst="rect">
            <a:avLst/>
          </a:prstGeom>
          <a:noFill/>
          <a:ln w="9525">
            <a:noFill/>
            <a:miter/>
          </a:ln>
        </p:spPr>
        <p:txBody>
          <a:bodyPr wrap="square">
            <a:spAutoFit/>
          </a:bodyPr>
          <a:lstStyle/>
          <a:p>
            <a:pPr>
              <a:lnSpc>
                <a:spcPct val="200000"/>
              </a:lnSpc>
              <a:spcAft>
                <a:spcPts val="450"/>
              </a:spcAft>
            </a:pP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endParaRPr lang="en-US" altLang="zh-CN" sz="450" dirty="0">
              <a:solidFill>
                <a:schemeClr val="tx1">
                  <a:lumMod val="50000"/>
                  <a:lumOff val="50000"/>
                </a:schemeClr>
              </a:solidFill>
              <a:ea typeface="微软雅黑" panose="020B0503020204020204" charset="-122"/>
              <a:sym typeface="Arial" panose="020B0604020202020204" pitchFamily="34" charset="0"/>
            </a:endParaRPr>
          </a:p>
        </p:txBody>
      </p:sp>
      <p:sp>
        <p:nvSpPr>
          <p:cNvPr id="33" name="TextBox 1210"/>
          <p:cNvSpPr/>
          <p:nvPr/>
        </p:nvSpPr>
        <p:spPr>
          <a:xfrm>
            <a:off x="6649641" y="3895726"/>
            <a:ext cx="2162175" cy="276999"/>
          </a:xfrm>
          <a:prstGeom prst="rect">
            <a:avLst/>
          </a:prstGeom>
          <a:noFill/>
          <a:ln w="9525">
            <a:noFill/>
            <a:miter/>
          </a:ln>
        </p:spPr>
        <p:txBody>
          <a:bodyPr wrap="square">
            <a:spAutoFit/>
          </a:bodyPr>
          <a:lstStyle/>
          <a:p>
            <a:pPr algn="l"/>
            <a:r>
              <a:rPr lang="en-US" altLang="zh-CN" sz="1200" dirty="0">
                <a:solidFill>
                  <a:schemeClr val="tx1">
                    <a:lumMod val="65000"/>
                    <a:lumOff val="35000"/>
                  </a:schemeClr>
                </a:solidFill>
                <a:ea typeface="方正舒体" panose="02010601030101010101" pitchFamily="2" charset="-122"/>
                <a:sym typeface="+mn-ea"/>
              </a:rPr>
              <a:t>ADD YOUR TEXT HERE</a:t>
            </a:r>
            <a:endParaRPr lang="en-US" altLang="zh-CN" sz="1200" dirty="0">
              <a:solidFill>
                <a:schemeClr val="tx1">
                  <a:lumMod val="65000"/>
                  <a:lumOff val="35000"/>
                </a:schemeClr>
              </a:solidFill>
              <a:ea typeface="方正舒体" panose="02010601030101010101" pitchFamily="2" charset="-122"/>
              <a:sym typeface="+mn-ea"/>
            </a:endParaRPr>
          </a:p>
        </p:txBody>
      </p:sp>
      <p:sp>
        <p:nvSpPr>
          <p:cNvPr id="34" name="TextBox 1210"/>
          <p:cNvSpPr/>
          <p:nvPr/>
        </p:nvSpPr>
        <p:spPr>
          <a:xfrm>
            <a:off x="6649879" y="4148614"/>
            <a:ext cx="2162175" cy="369332"/>
          </a:xfrm>
          <a:prstGeom prst="rect">
            <a:avLst/>
          </a:prstGeom>
          <a:noFill/>
          <a:ln w="9525">
            <a:noFill/>
            <a:miter/>
          </a:ln>
        </p:spPr>
        <p:txBody>
          <a:bodyPr wrap="square">
            <a:spAutoFit/>
          </a:bodyPr>
          <a:lstStyle/>
          <a:p>
            <a:pPr>
              <a:lnSpc>
                <a:spcPct val="200000"/>
              </a:lnSpc>
              <a:spcAft>
                <a:spcPts val="450"/>
              </a:spcAft>
            </a:pP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endParaRPr lang="en-US" altLang="zh-CN" sz="450" dirty="0">
              <a:solidFill>
                <a:schemeClr val="tx1">
                  <a:lumMod val="50000"/>
                  <a:lumOff val="50000"/>
                </a:schemeClr>
              </a:solidFill>
              <a:ea typeface="微软雅黑" panose="020B0503020204020204" charset="-122"/>
              <a:sym typeface="Arial" panose="020B0604020202020204" pitchFamily="34" charset="0"/>
            </a:endParaRPr>
          </a:p>
        </p:txBody>
      </p:sp>
      <p:sp>
        <p:nvSpPr>
          <p:cNvPr id="35" name="文本框 34"/>
          <p:cNvSpPr txBox="1"/>
          <p:nvPr/>
        </p:nvSpPr>
        <p:spPr>
          <a:xfrm>
            <a:off x="430530" y="3317558"/>
            <a:ext cx="2445068" cy="101566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00000"/>
              </a:lnSpc>
            </a:pPr>
            <a:r>
              <a:rPr lang="zh-CN" altLang="en-US" sz="600" dirty="0">
                <a:solidFill>
                  <a:schemeClr val="tx1">
                    <a:lumMod val="75000"/>
                    <a:lumOff val="25000"/>
                  </a:schemeClr>
                </a:solidFill>
                <a:ea typeface="微软雅黑" panose="020B0503020204020204" charset="-122"/>
                <a:sym typeface="Arial" panose="020B0604020202020204" pitchFamily="34" charset="0"/>
              </a:rPr>
              <a:t>Click here to enter your text</a:t>
            </a:r>
            <a:r>
              <a:rPr lang="en-US" altLang="zh-CN" sz="600" dirty="0">
                <a:solidFill>
                  <a:schemeClr val="tx1">
                    <a:lumMod val="75000"/>
                    <a:lumOff val="25000"/>
                  </a:schemeClr>
                </a:solidFill>
                <a:ea typeface="微软雅黑" panose="020B0503020204020204" charset="-122"/>
                <a:sym typeface="Arial" panose="020B0604020202020204" pitchFamily="34" charset="0"/>
              </a:rPr>
              <a:t>.</a:t>
            </a:r>
            <a:r>
              <a:rPr lang="zh-CN" altLang="en-US" sz="600" dirty="0">
                <a:solidFill>
                  <a:schemeClr val="tx1">
                    <a:lumMod val="75000"/>
                    <a:lumOff val="25000"/>
                  </a:schemeClr>
                </a:solidFill>
                <a:ea typeface="微软雅黑" panose="020B0503020204020204" charset="-122"/>
                <a:sym typeface="Arial" panose="020B0604020202020204" pitchFamily="34" charset="0"/>
              </a:rPr>
              <a:t>Click here to enter your text</a:t>
            </a:r>
            <a:r>
              <a:rPr lang="en-US" altLang="zh-CN" sz="600" dirty="0">
                <a:solidFill>
                  <a:schemeClr val="tx1">
                    <a:lumMod val="75000"/>
                    <a:lumOff val="25000"/>
                  </a:schemeClr>
                </a:solidFill>
                <a:ea typeface="微软雅黑" panose="020B0503020204020204" charset="-122"/>
                <a:sym typeface="Arial" panose="020B0604020202020204" pitchFamily="34" charset="0"/>
              </a:rPr>
              <a:t>.</a:t>
            </a:r>
            <a:r>
              <a:rPr lang="zh-CN" altLang="en-US" sz="600" dirty="0">
                <a:solidFill>
                  <a:schemeClr val="tx1">
                    <a:lumMod val="75000"/>
                    <a:lumOff val="25000"/>
                  </a:schemeClr>
                </a:solidFill>
                <a:ea typeface="微软雅黑" panose="020B0503020204020204" charset="-122"/>
                <a:sym typeface="Arial" panose="020B0604020202020204" pitchFamily="34" charset="0"/>
              </a:rPr>
              <a:t>Click here to enter your text</a:t>
            </a:r>
            <a:r>
              <a:rPr lang="en-US" altLang="zh-CN" sz="600" dirty="0">
                <a:solidFill>
                  <a:schemeClr val="tx1">
                    <a:lumMod val="75000"/>
                    <a:lumOff val="25000"/>
                  </a:schemeClr>
                </a:solidFill>
                <a:ea typeface="微软雅黑" panose="020B0503020204020204" charset="-122"/>
                <a:sym typeface="Arial" panose="020B0604020202020204" pitchFamily="34" charset="0"/>
              </a:rPr>
              <a:t>.</a:t>
            </a:r>
            <a:r>
              <a:rPr lang="zh-CN" altLang="en-US" sz="600" dirty="0">
                <a:solidFill>
                  <a:schemeClr val="tx1">
                    <a:lumMod val="75000"/>
                    <a:lumOff val="25000"/>
                  </a:schemeClr>
                </a:solidFill>
                <a:ea typeface="微软雅黑" panose="020B0503020204020204" charset="-122"/>
                <a:sym typeface="Arial" panose="020B0604020202020204" pitchFamily="34" charset="0"/>
              </a:rPr>
              <a:t>Click here to enter your text</a:t>
            </a:r>
            <a:r>
              <a:rPr lang="en-US" altLang="zh-CN" sz="600" dirty="0">
                <a:solidFill>
                  <a:schemeClr val="tx1">
                    <a:lumMod val="75000"/>
                    <a:lumOff val="25000"/>
                  </a:schemeClr>
                </a:solidFill>
                <a:ea typeface="微软雅黑" panose="020B0503020204020204" charset="-122"/>
                <a:sym typeface="Arial" panose="020B0604020202020204" pitchFamily="34" charset="0"/>
              </a:rPr>
              <a:t>.</a:t>
            </a:r>
            <a:r>
              <a:rPr lang="zh-CN" altLang="en-US" sz="600" dirty="0">
                <a:solidFill>
                  <a:schemeClr val="tx1">
                    <a:lumMod val="75000"/>
                    <a:lumOff val="25000"/>
                  </a:schemeClr>
                </a:solidFill>
                <a:ea typeface="微软雅黑" panose="020B0503020204020204" charset="-122"/>
                <a:sym typeface="Arial" panose="020B0604020202020204" pitchFamily="34" charset="0"/>
              </a:rPr>
              <a:t>Click here to enter your text</a:t>
            </a:r>
            <a:r>
              <a:rPr lang="en-US" altLang="zh-CN" sz="600" dirty="0">
                <a:solidFill>
                  <a:schemeClr val="tx1">
                    <a:lumMod val="75000"/>
                    <a:lumOff val="25000"/>
                  </a:schemeClr>
                </a:solidFill>
                <a:ea typeface="微软雅黑" panose="020B0503020204020204" charset="-122"/>
                <a:sym typeface="Arial" panose="020B0604020202020204" pitchFamily="34" charset="0"/>
              </a:rPr>
              <a:t>.</a:t>
            </a:r>
            <a:r>
              <a:rPr lang="zh-CN" altLang="en-US" sz="600" dirty="0">
                <a:solidFill>
                  <a:schemeClr val="tx1">
                    <a:lumMod val="75000"/>
                    <a:lumOff val="25000"/>
                  </a:schemeClr>
                </a:solidFill>
                <a:ea typeface="微软雅黑" panose="020B0503020204020204" charset="-122"/>
                <a:sym typeface="Arial" panose="020B0604020202020204" pitchFamily="34" charset="0"/>
              </a:rPr>
              <a:t>Click here to enter your text</a:t>
            </a:r>
            <a:r>
              <a:rPr lang="en-US" altLang="zh-CN" sz="600" dirty="0">
                <a:solidFill>
                  <a:schemeClr val="tx1">
                    <a:lumMod val="75000"/>
                    <a:lumOff val="25000"/>
                  </a:schemeClr>
                </a:solidFill>
                <a:ea typeface="微软雅黑" panose="020B0503020204020204" charset="-122"/>
                <a:sym typeface="Arial" panose="020B0604020202020204" pitchFamily="34" charset="0"/>
              </a:rPr>
              <a:t>.</a:t>
            </a:r>
            <a:r>
              <a:rPr lang="zh-CN" altLang="en-US" sz="600" dirty="0">
                <a:solidFill>
                  <a:schemeClr val="tx1">
                    <a:lumMod val="75000"/>
                    <a:lumOff val="25000"/>
                  </a:schemeClr>
                </a:solidFill>
                <a:ea typeface="微软雅黑" panose="020B0503020204020204" charset="-122"/>
                <a:sym typeface="Arial" panose="020B0604020202020204" pitchFamily="34" charset="0"/>
              </a:rPr>
              <a:t>Click here to enter your text</a:t>
            </a:r>
            <a:r>
              <a:rPr lang="en-US" altLang="zh-CN" sz="600" dirty="0">
                <a:solidFill>
                  <a:schemeClr val="tx1">
                    <a:lumMod val="75000"/>
                    <a:lumOff val="25000"/>
                  </a:schemeClr>
                </a:solidFill>
                <a:ea typeface="微软雅黑" panose="020B0503020204020204" charset="-122"/>
                <a:sym typeface="Arial" panose="020B0604020202020204" pitchFamily="34" charset="0"/>
              </a:rPr>
              <a:t>.</a:t>
            </a:r>
            <a:r>
              <a:rPr lang="zh-CN" altLang="en-US" sz="600" dirty="0">
                <a:solidFill>
                  <a:schemeClr val="tx1">
                    <a:lumMod val="75000"/>
                    <a:lumOff val="25000"/>
                  </a:schemeClr>
                </a:solidFill>
                <a:ea typeface="微软雅黑" panose="020B0503020204020204" charset="-122"/>
                <a:sym typeface="Arial" panose="020B0604020202020204" pitchFamily="34" charset="0"/>
              </a:rPr>
              <a:t>Click here to enter your text</a:t>
            </a:r>
            <a:r>
              <a:rPr lang="en-US" altLang="zh-CN" sz="600" dirty="0">
                <a:solidFill>
                  <a:schemeClr val="tx1">
                    <a:lumMod val="75000"/>
                    <a:lumOff val="25000"/>
                  </a:schemeClr>
                </a:solidFill>
                <a:ea typeface="微软雅黑" panose="020B0503020204020204" charset="-122"/>
                <a:sym typeface="Arial" panose="020B0604020202020204" pitchFamily="34" charset="0"/>
              </a:rPr>
              <a:t>.</a:t>
            </a:r>
            <a:r>
              <a:rPr lang="zh-CN" altLang="en-US" sz="600" dirty="0">
                <a:solidFill>
                  <a:schemeClr val="tx1">
                    <a:lumMod val="75000"/>
                    <a:lumOff val="25000"/>
                  </a:schemeClr>
                </a:solidFill>
                <a:ea typeface="微软雅黑" panose="020B0503020204020204" charset="-122"/>
                <a:sym typeface="Arial" panose="020B0604020202020204" pitchFamily="34" charset="0"/>
              </a:rPr>
              <a:t>Click here to enter your text</a:t>
            </a:r>
            <a:r>
              <a:rPr lang="en-US" altLang="zh-CN" sz="600" dirty="0">
                <a:solidFill>
                  <a:schemeClr val="tx1">
                    <a:lumMod val="75000"/>
                    <a:lumOff val="25000"/>
                  </a:schemeClr>
                </a:solidFill>
                <a:ea typeface="微软雅黑" panose="020B0503020204020204" charset="-122"/>
                <a:sym typeface="Arial" panose="020B0604020202020204" pitchFamily="34" charset="0"/>
              </a:rPr>
              <a:t>.</a:t>
            </a:r>
            <a:r>
              <a:rPr lang="zh-CN" altLang="en-US" sz="600" dirty="0">
                <a:solidFill>
                  <a:schemeClr val="tx1">
                    <a:lumMod val="75000"/>
                    <a:lumOff val="25000"/>
                  </a:schemeClr>
                </a:solidFill>
                <a:ea typeface="微软雅黑" panose="020B0503020204020204" charset="-122"/>
                <a:sym typeface="Arial" panose="020B0604020202020204" pitchFamily="34" charset="0"/>
              </a:rPr>
              <a:t>Click here to enter your text</a:t>
            </a:r>
            <a:r>
              <a:rPr lang="en-US" altLang="zh-CN" sz="600" dirty="0">
                <a:solidFill>
                  <a:schemeClr val="tx1">
                    <a:lumMod val="75000"/>
                    <a:lumOff val="25000"/>
                  </a:schemeClr>
                </a:solidFill>
                <a:ea typeface="微软雅黑" panose="020B0503020204020204" charset="-122"/>
                <a:sym typeface="Arial" panose="020B0604020202020204" pitchFamily="34" charset="0"/>
              </a:rPr>
              <a:t>.</a:t>
            </a:r>
            <a:r>
              <a:rPr lang="zh-CN" altLang="en-US" sz="600" dirty="0">
                <a:solidFill>
                  <a:schemeClr val="tx1">
                    <a:lumMod val="75000"/>
                    <a:lumOff val="25000"/>
                  </a:schemeClr>
                </a:solidFill>
                <a:ea typeface="微软雅黑" panose="020B0503020204020204" charset="-122"/>
                <a:sym typeface="Arial" panose="020B0604020202020204" pitchFamily="34" charset="0"/>
              </a:rPr>
              <a:t>Click here to enter your text</a:t>
            </a:r>
            <a:r>
              <a:rPr lang="en-US" altLang="zh-CN" sz="600" dirty="0">
                <a:solidFill>
                  <a:schemeClr val="tx1">
                    <a:lumMod val="75000"/>
                    <a:lumOff val="25000"/>
                  </a:schemeClr>
                </a:solidFill>
                <a:ea typeface="微软雅黑" panose="020B0503020204020204" charset="-122"/>
                <a:sym typeface="Arial" panose="020B0604020202020204" pitchFamily="34" charset="0"/>
              </a:rPr>
              <a:t>.</a:t>
            </a:r>
            <a:r>
              <a:rPr lang="zh-CN" altLang="en-US" sz="600" dirty="0">
                <a:solidFill>
                  <a:schemeClr val="tx1">
                    <a:lumMod val="75000"/>
                    <a:lumOff val="25000"/>
                  </a:schemeClr>
                </a:solidFill>
                <a:ea typeface="微软雅黑" panose="020B0503020204020204" charset="-122"/>
                <a:sym typeface="Arial" panose="020B0604020202020204" pitchFamily="34" charset="0"/>
              </a:rPr>
              <a:t>Click here to enter your text</a:t>
            </a:r>
            <a:r>
              <a:rPr lang="en-US" altLang="zh-CN" sz="600" dirty="0">
                <a:solidFill>
                  <a:schemeClr val="tx1">
                    <a:lumMod val="75000"/>
                    <a:lumOff val="25000"/>
                  </a:schemeClr>
                </a:solidFill>
                <a:ea typeface="微软雅黑" panose="020B0503020204020204" charset="-122"/>
                <a:sym typeface="Arial" panose="020B0604020202020204" pitchFamily="34" charset="0"/>
              </a:rPr>
              <a:t>.</a:t>
            </a:r>
            <a:endParaRPr lang="en-US" altLang="zh-CN" sz="600" kern="0" dirty="0">
              <a:solidFill>
                <a:schemeClr val="tx1">
                  <a:lumMod val="75000"/>
                  <a:lumOff val="25000"/>
                </a:schemeClr>
              </a:solidFill>
              <a:ea typeface="微软雅黑" panose="020B050302020402020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reeform 9"/>
          <p:cNvSpPr/>
          <p:nvPr/>
        </p:nvSpPr>
        <p:spPr bwMode="auto">
          <a:xfrm>
            <a:off x="4367229" y="3089156"/>
            <a:ext cx="695984" cy="1638222"/>
          </a:xfrm>
          <a:custGeom>
            <a:avLst/>
            <a:gdLst>
              <a:gd name="T0" fmla="*/ 13999 w 21600"/>
              <a:gd name="T1" fmla="*/ 21385 h 21600"/>
              <a:gd name="T2" fmla="*/ 14380 w 21600"/>
              <a:gd name="T3" fmla="*/ 18538 h 21600"/>
              <a:gd name="T4" fmla="*/ 21600 w 21600"/>
              <a:gd name="T5" fmla="*/ 11388 h 21600"/>
              <a:gd name="T6" fmla="*/ 13435 w 21600"/>
              <a:gd name="T7" fmla="*/ 16550 h 21600"/>
              <a:gd name="T8" fmla="*/ 6700 w 21600"/>
              <a:gd name="T9" fmla="*/ 6593 h 21600"/>
              <a:gd name="T10" fmla="*/ 6586 w 21600"/>
              <a:gd name="T11" fmla="*/ 4725 h 21600"/>
              <a:gd name="T12" fmla="*/ 8066 w 21600"/>
              <a:gd name="T13" fmla="*/ 1630 h 21600"/>
              <a:gd name="T14" fmla="*/ 8199 w 21600"/>
              <a:gd name="T15" fmla="*/ 0 h 21600"/>
              <a:gd name="T16" fmla="*/ 6081 w 21600"/>
              <a:gd name="T17" fmla="*/ 2718 h 21600"/>
              <a:gd name="T18" fmla="*/ 4922 w 21600"/>
              <a:gd name="T19" fmla="*/ 7737 h 21600"/>
              <a:gd name="T20" fmla="*/ 5239 w 21600"/>
              <a:gd name="T21" fmla="*/ 9707 h 21600"/>
              <a:gd name="T22" fmla="*/ 0 w 21600"/>
              <a:gd name="T23" fmla="*/ 7364 h 21600"/>
              <a:gd name="T24" fmla="*/ 6465 w 21600"/>
              <a:gd name="T25" fmla="*/ 12078 h 21600"/>
              <a:gd name="T26" fmla="*/ 8787 w 21600"/>
              <a:gd name="T27" fmla="*/ 216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00" h="21600">
                <a:moveTo>
                  <a:pt x="13999" y="21385"/>
                </a:moveTo>
                <a:cubicBezTo>
                  <a:pt x="14737" y="19839"/>
                  <a:pt x="14380" y="18538"/>
                  <a:pt x="14380" y="18538"/>
                </a:cubicBezTo>
                <a:cubicBezTo>
                  <a:pt x="14380" y="18538"/>
                  <a:pt x="16629" y="13916"/>
                  <a:pt x="21600" y="11388"/>
                </a:cubicBezTo>
                <a:cubicBezTo>
                  <a:pt x="18232" y="11806"/>
                  <a:pt x="13860" y="15527"/>
                  <a:pt x="13435" y="16550"/>
                </a:cubicBezTo>
                <a:cubicBezTo>
                  <a:pt x="11160" y="12547"/>
                  <a:pt x="6636" y="10878"/>
                  <a:pt x="6700" y="6593"/>
                </a:cubicBezTo>
                <a:cubicBezTo>
                  <a:pt x="6496" y="4801"/>
                  <a:pt x="6453" y="4792"/>
                  <a:pt x="6586" y="4725"/>
                </a:cubicBezTo>
                <a:cubicBezTo>
                  <a:pt x="8333" y="3650"/>
                  <a:pt x="7798" y="1924"/>
                  <a:pt x="8066" y="1630"/>
                </a:cubicBezTo>
                <a:cubicBezTo>
                  <a:pt x="8333" y="1298"/>
                  <a:pt x="8199" y="0"/>
                  <a:pt x="8199" y="0"/>
                </a:cubicBezTo>
                <a:cubicBezTo>
                  <a:pt x="6683" y="1336"/>
                  <a:pt x="6215" y="1863"/>
                  <a:pt x="6081" y="2718"/>
                </a:cubicBezTo>
                <a:cubicBezTo>
                  <a:pt x="5948" y="3572"/>
                  <a:pt x="4855" y="5794"/>
                  <a:pt x="4922" y="7737"/>
                </a:cubicBezTo>
                <a:cubicBezTo>
                  <a:pt x="5082" y="8844"/>
                  <a:pt x="5239" y="9707"/>
                  <a:pt x="5239" y="9707"/>
                </a:cubicBezTo>
                <a:cubicBezTo>
                  <a:pt x="2679" y="8171"/>
                  <a:pt x="0" y="7364"/>
                  <a:pt x="0" y="7364"/>
                </a:cubicBezTo>
                <a:cubicBezTo>
                  <a:pt x="2566" y="9335"/>
                  <a:pt x="4635" y="9791"/>
                  <a:pt x="6465" y="12078"/>
                </a:cubicBezTo>
                <a:cubicBezTo>
                  <a:pt x="8295" y="14365"/>
                  <a:pt x="11215" y="18114"/>
                  <a:pt x="8787" y="21600"/>
                </a:cubicBezTo>
              </a:path>
            </a:pathLst>
          </a:custGeom>
          <a:solidFill>
            <a:schemeClr val="tx2">
              <a:lumMod val="75000"/>
            </a:schemeClr>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3" name="Title 1"/>
          <p:cNvSpPr txBox="1"/>
          <p:nvPr/>
        </p:nvSpPr>
        <p:spPr>
          <a:xfrm>
            <a:off x="678676" y="483253"/>
            <a:ext cx="3264674" cy="48474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2700" b="1" spc="-113" dirty="0">
                <a:solidFill>
                  <a:srgbClr val="548235"/>
                </a:solidFill>
                <a:latin typeface="Lato" panose="020F0502020204030203" pitchFamily="34" charset="0"/>
                <a:ea typeface="Open Sans" panose="020B0606030504020204" pitchFamily="34" charset="0"/>
                <a:cs typeface="Lato" panose="020F0502020204030203" pitchFamily="34" charset="0"/>
              </a:rPr>
              <a:t>Time </a:t>
            </a:r>
            <a:r>
              <a:rPr lang="en-US" sz="2700" spc="-113" dirty="0">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rPr>
              <a:t>To Plan</a:t>
            </a:r>
            <a:endParaRPr lang="en-US" sz="2700" spc="-113" dirty="0">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endParaRPr>
          </a:p>
        </p:txBody>
      </p:sp>
      <p:sp>
        <p:nvSpPr>
          <p:cNvPr id="4" name="Rectangle 3"/>
          <p:cNvSpPr/>
          <p:nvPr/>
        </p:nvSpPr>
        <p:spPr>
          <a:xfrm>
            <a:off x="719019" y="968001"/>
            <a:ext cx="1617008" cy="219291"/>
          </a:xfrm>
          <a:prstGeom prst="rect">
            <a:avLst/>
          </a:prstGeom>
        </p:spPr>
        <p:txBody>
          <a:bodyPr wrap="square">
            <a:spAutoFit/>
          </a:bodyPr>
          <a:lstStyle/>
          <a:p>
            <a:pP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46" name="Freeform 7"/>
          <p:cNvSpPr/>
          <p:nvPr/>
        </p:nvSpPr>
        <p:spPr bwMode="auto">
          <a:xfrm>
            <a:off x="3803840" y="1735071"/>
            <a:ext cx="611049" cy="1194600"/>
          </a:xfrm>
          <a:custGeom>
            <a:avLst/>
            <a:gdLst>
              <a:gd name="T0" fmla="+- 0 4212 3556"/>
              <a:gd name="T1" fmla="*/ T0 w 17674"/>
              <a:gd name="T2" fmla="+- 0 322 241"/>
              <a:gd name="T3" fmla="*/ 322 h 21359"/>
              <a:gd name="T4" fmla="+- 0 6356 3556"/>
              <a:gd name="T5" fmla="*/ T4 w 17674"/>
              <a:gd name="T6" fmla="+- 0 1057 241"/>
              <a:gd name="T7" fmla="*/ 1057 h 21359"/>
              <a:gd name="T8" fmla="+- 0 17043 3556"/>
              <a:gd name="T9" fmla="*/ T8 w 17674"/>
              <a:gd name="T10" fmla="+- 0 4052 241"/>
              <a:gd name="T11" fmla="*/ 4052 h 21359"/>
              <a:gd name="T12" fmla="+- 0 21164 3556"/>
              <a:gd name="T13" fmla="*/ T12 w 17674"/>
              <a:gd name="T14" fmla="+- 0 10456 241"/>
              <a:gd name="T15" fmla="*/ 10456 h 21359"/>
              <a:gd name="T16" fmla="+- 0 20280 3556"/>
              <a:gd name="T17" fmla="*/ T16 w 17674"/>
              <a:gd name="T18" fmla="+- 0 21600 241"/>
              <a:gd name="T19" fmla="*/ 21600 h 21359"/>
              <a:gd name="T20" fmla="+- 0 4072 3556"/>
              <a:gd name="T21" fmla="*/ T20 w 17674"/>
              <a:gd name="T22" fmla="+- 0 4720 241"/>
              <a:gd name="T23" fmla="*/ 4720 h 21359"/>
              <a:gd name="T24" fmla="+- 0 4212 3556"/>
              <a:gd name="T25" fmla="*/ T24 w 17674"/>
              <a:gd name="T26" fmla="+- 0 322 241"/>
              <a:gd name="T27" fmla="*/ 322 h 21359"/>
              <a:gd name="T28" fmla="+- 0 4212 3556"/>
              <a:gd name="T29" fmla="*/ T28 w 17674"/>
              <a:gd name="T30" fmla="+- 0 322 241"/>
              <a:gd name="T31" fmla="*/ 322 h 21359"/>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17674" h="21359">
                <a:moveTo>
                  <a:pt x="656" y="81"/>
                </a:moveTo>
                <a:cubicBezTo>
                  <a:pt x="1364" y="-241"/>
                  <a:pt x="2171" y="479"/>
                  <a:pt x="2800" y="816"/>
                </a:cubicBezTo>
                <a:cubicBezTo>
                  <a:pt x="3428" y="1152"/>
                  <a:pt x="10678" y="2181"/>
                  <a:pt x="13487" y="3811"/>
                </a:cubicBezTo>
                <a:cubicBezTo>
                  <a:pt x="16297" y="5442"/>
                  <a:pt x="18044" y="7647"/>
                  <a:pt x="17608" y="10215"/>
                </a:cubicBezTo>
                <a:cubicBezTo>
                  <a:pt x="15297" y="13865"/>
                  <a:pt x="15836" y="18504"/>
                  <a:pt x="16724" y="21359"/>
                </a:cubicBezTo>
                <a:cubicBezTo>
                  <a:pt x="-3556" y="19002"/>
                  <a:pt x="102" y="7413"/>
                  <a:pt x="516" y="4479"/>
                </a:cubicBezTo>
                <a:cubicBezTo>
                  <a:pt x="930" y="1546"/>
                  <a:pt x="759" y="642"/>
                  <a:pt x="656" y="81"/>
                </a:cubicBezTo>
                <a:close/>
                <a:moveTo>
                  <a:pt x="656" y="81"/>
                </a:moveTo>
              </a:path>
            </a:pathLst>
          </a:custGeom>
          <a:solidFill>
            <a:srgbClr val="548235"/>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47" name="Freeform 8"/>
          <p:cNvSpPr/>
          <p:nvPr/>
        </p:nvSpPr>
        <p:spPr bwMode="auto">
          <a:xfrm>
            <a:off x="4263961" y="1334226"/>
            <a:ext cx="420401" cy="866467"/>
          </a:xfrm>
          <a:custGeom>
            <a:avLst/>
            <a:gdLst>
              <a:gd name="T0" fmla="+- 0 10296 1829"/>
              <a:gd name="T1" fmla="*/ T0 w 17826"/>
              <a:gd name="T2" fmla="+- 0 20716 1893"/>
              <a:gd name="T3" fmla="*/ 20716 h 19707"/>
              <a:gd name="T4" fmla="+- 0 19265 1829"/>
              <a:gd name="T5" fmla="*/ T4 w 17826"/>
              <a:gd name="T6" fmla="+- 0 13615 1893"/>
              <a:gd name="T7" fmla="*/ 13615 h 19707"/>
              <a:gd name="T8" fmla="+- 0 11908 1829"/>
              <a:gd name="T9" fmla="*/ T8 w 17826"/>
              <a:gd name="T10" fmla="+- 0 3271 1893"/>
              <a:gd name="T11" fmla="*/ 3271 h 19707"/>
              <a:gd name="T12" fmla="+- 0 8707 1829"/>
              <a:gd name="T13" fmla="*/ T12 w 17826"/>
              <a:gd name="T14" fmla="+- 0 4376 1893"/>
              <a:gd name="T15" fmla="*/ 4376 h 19707"/>
              <a:gd name="T16" fmla="+- 0 2290 1829"/>
              <a:gd name="T17" fmla="*/ T16 w 17826"/>
              <a:gd name="T18" fmla="+- 0 14657 1893"/>
              <a:gd name="T19" fmla="*/ 14657 h 19707"/>
              <a:gd name="T20" fmla="+- 0 9248 1829"/>
              <a:gd name="T21" fmla="*/ T20 w 17826"/>
              <a:gd name="T22" fmla="+- 0 21600 1893"/>
              <a:gd name="T23" fmla="*/ 21600 h 19707"/>
              <a:gd name="T24" fmla="+- 0 10296 1829"/>
              <a:gd name="T25" fmla="*/ T24 w 17826"/>
              <a:gd name="T26" fmla="+- 0 20716 1893"/>
              <a:gd name="T27" fmla="*/ 20716 h 19707"/>
              <a:gd name="T28" fmla="+- 0 10296 1829"/>
              <a:gd name="T29" fmla="*/ T28 w 17826"/>
              <a:gd name="T30" fmla="+- 0 20716 1893"/>
              <a:gd name="T31" fmla="*/ 20716 h 19707"/>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17826" h="19707">
                <a:moveTo>
                  <a:pt x="8467" y="18823"/>
                </a:moveTo>
                <a:cubicBezTo>
                  <a:pt x="10455" y="16363"/>
                  <a:pt x="13826" y="13343"/>
                  <a:pt x="17436" y="11722"/>
                </a:cubicBezTo>
                <a:cubicBezTo>
                  <a:pt x="19771" y="5706"/>
                  <a:pt x="10902" y="4650"/>
                  <a:pt x="10079" y="1378"/>
                </a:cubicBezTo>
                <a:cubicBezTo>
                  <a:pt x="9256" y="-1893"/>
                  <a:pt x="8692" y="1563"/>
                  <a:pt x="6878" y="2483"/>
                </a:cubicBezTo>
                <a:cubicBezTo>
                  <a:pt x="5065" y="3404"/>
                  <a:pt x="-1829" y="8183"/>
                  <a:pt x="461" y="12764"/>
                </a:cubicBezTo>
                <a:cubicBezTo>
                  <a:pt x="5833" y="15728"/>
                  <a:pt x="7693" y="18427"/>
                  <a:pt x="7419" y="19707"/>
                </a:cubicBezTo>
                <a:cubicBezTo>
                  <a:pt x="8639" y="18938"/>
                  <a:pt x="8467" y="18823"/>
                  <a:pt x="8467" y="18823"/>
                </a:cubicBezTo>
                <a:close/>
                <a:moveTo>
                  <a:pt x="8467" y="18823"/>
                </a:moveTo>
              </a:path>
            </a:pathLst>
          </a:custGeom>
          <a:solidFill>
            <a:srgbClr val="548235"/>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grpSp>
        <p:nvGrpSpPr>
          <p:cNvPr id="49" name="Group 10"/>
          <p:cNvGrpSpPr/>
          <p:nvPr/>
        </p:nvGrpSpPr>
        <p:grpSpPr bwMode="auto">
          <a:xfrm>
            <a:off x="3477542" y="4674215"/>
            <a:ext cx="2402032" cy="469286"/>
            <a:chOff x="0" y="0"/>
            <a:chExt cx="3930" cy="767"/>
          </a:xfrm>
        </p:grpSpPr>
        <p:sp>
          <p:nvSpPr>
            <p:cNvPr id="50" name="Freeform 11"/>
            <p:cNvSpPr/>
            <p:nvPr/>
          </p:nvSpPr>
          <p:spPr bwMode="auto">
            <a:xfrm>
              <a:off x="0" y="0"/>
              <a:ext cx="3930" cy="767"/>
            </a:xfrm>
            <a:custGeom>
              <a:avLst/>
              <a:gdLst>
                <a:gd name="T0" fmla="*/ 0 w 21600"/>
                <a:gd name="T1" fmla="+- 0 21506 1179"/>
                <a:gd name="T2" fmla="*/ 21506 h 20421"/>
                <a:gd name="T3" fmla="*/ 1327 w 21600"/>
                <a:gd name="T4" fmla="+- 0 18408 1179"/>
                <a:gd name="T5" fmla="*/ 18408 h 20421"/>
                <a:gd name="T6" fmla="*/ 2110 w 21600"/>
                <a:gd name="T7" fmla="+- 0 14842 1179"/>
                <a:gd name="T8" fmla="*/ 14842 h 20421"/>
                <a:gd name="T9" fmla="*/ 3358 w 21600"/>
                <a:gd name="T10" fmla="+- 0 10741 1179"/>
                <a:gd name="T11" fmla="*/ 10741 h 20421"/>
                <a:gd name="T12" fmla="*/ 4451 w 21600"/>
                <a:gd name="T13" fmla="+- 0 8984 1179"/>
                <a:gd name="T14" fmla="*/ 8984 h 20421"/>
                <a:gd name="T15" fmla="*/ 6016 w 21600"/>
                <a:gd name="T16" fmla="+- 0 6608 1179"/>
                <a:gd name="T17" fmla="*/ 6608 h 20421"/>
                <a:gd name="T18" fmla="*/ 7262 w 21600"/>
                <a:gd name="T19" fmla="+- 0 4668 1179"/>
                <a:gd name="T20" fmla="*/ 4668 h 20421"/>
                <a:gd name="T21" fmla="*/ 8704 w 21600"/>
                <a:gd name="T22" fmla="+- 0 3167 1179"/>
                <a:gd name="T23" fmla="*/ 3167 h 20421"/>
                <a:gd name="T24" fmla="*/ 9932 w 21600"/>
                <a:gd name="T25" fmla="+- 0 2821 1179"/>
                <a:gd name="T26" fmla="*/ 2821 h 20421"/>
                <a:gd name="T27" fmla="*/ 10967 w 21600"/>
                <a:gd name="T28" fmla="+- 0 3070 1179"/>
                <a:gd name="T29" fmla="*/ 3070 h 20421"/>
                <a:gd name="T30" fmla="*/ 11666 w 21600"/>
                <a:gd name="T31" fmla="+- 0 1537 1179"/>
                <a:gd name="T32" fmla="*/ 1537 h 20421"/>
                <a:gd name="T33" fmla="*/ 12591 w 21600"/>
                <a:gd name="T34" fmla="+- 0 1659 1179"/>
                <a:gd name="T35" fmla="*/ 1659 h 20421"/>
                <a:gd name="T36" fmla="*/ 13232 w 21600"/>
                <a:gd name="T37" fmla="+- 0 2503 1179"/>
                <a:gd name="T38" fmla="*/ 2503 h 20421"/>
                <a:gd name="T39" fmla="*/ 14280 w 21600"/>
                <a:gd name="T40" fmla="+- 0 4443 1179"/>
                <a:gd name="T41" fmla="*/ 4443 h 20421"/>
                <a:gd name="T42" fmla="*/ 15211 w 21600"/>
                <a:gd name="T43" fmla="+- 0 4981 1179"/>
                <a:gd name="T44" fmla="*/ 4981 h 20421"/>
                <a:gd name="T45" fmla="*/ 15826 w 21600"/>
                <a:gd name="T46" fmla="+- 0 6987 1179"/>
                <a:gd name="T47" fmla="*/ 6987 h 20421"/>
                <a:gd name="T48" fmla="*/ 16008 w 21600"/>
                <a:gd name="T49" fmla="+- 0 9612 1179"/>
                <a:gd name="T50" fmla="*/ 9612 h 20421"/>
                <a:gd name="T51" fmla="*/ 16589 w 21600"/>
                <a:gd name="T52" fmla="+- 0 10676 1179"/>
                <a:gd name="T53" fmla="*/ 10676 h 20421"/>
                <a:gd name="T54" fmla="*/ 17481 w 21600"/>
                <a:gd name="T55" fmla="+- 0 11018 1179"/>
                <a:gd name="T56" fmla="*/ 11018 h 20421"/>
                <a:gd name="T57" fmla="*/ 18735 w 21600"/>
                <a:gd name="T58" fmla="+- 0 13516 1179"/>
                <a:gd name="T59" fmla="*/ 13516 h 20421"/>
                <a:gd name="T60" fmla="*/ 19277 w 21600"/>
                <a:gd name="T61" fmla="+- 0 16422 1179"/>
                <a:gd name="T62" fmla="*/ 16422 h 20421"/>
                <a:gd name="T63" fmla="*/ 19645 w 21600"/>
                <a:gd name="T64" fmla="+- 0 17988 1179"/>
                <a:gd name="T65" fmla="*/ 17988 h 20421"/>
                <a:gd name="T66" fmla="*/ 20234 w 21600"/>
                <a:gd name="T67" fmla="+- 0 18082 1179"/>
                <a:gd name="T68" fmla="*/ 18082 h 20421"/>
                <a:gd name="T69" fmla="*/ 20875 w 21600"/>
                <a:gd name="T70" fmla="+- 0 19459 1179"/>
                <a:gd name="T71" fmla="*/ 19459 h 20421"/>
                <a:gd name="T72" fmla="*/ 21263 w 21600"/>
                <a:gd name="T73" fmla="+- 0 20902 1179"/>
                <a:gd name="T74" fmla="*/ 20902 h 20421"/>
                <a:gd name="T75" fmla="*/ 21600 w 21600"/>
                <a:gd name="T76" fmla="+- 0 21600 1179"/>
                <a:gd name="T77" fmla="*/ 21600 h 20421"/>
                <a:gd name="T78" fmla="*/ 0 w 21600"/>
                <a:gd name="T79" fmla="+- 0 21506 1179"/>
                <a:gd name="T80" fmla="*/ 21506 h 20421"/>
                <a:gd name="T81" fmla="*/ 0 w 21600"/>
                <a:gd name="T82" fmla="+- 0 21506 1179"/>
                <a:gd name="T83" fmla="*/ 21506 h 20421"/>
              </a:gdLst>
              <a:ahLst/>
              <a:cxnLst>
                <a:cxn ang="0">
                  <a:pos x="T0" y="T2"/>
                </a:cxn>
                <a:cxn ang="0">
                  <a:pos x="T3" y="T5"/>
                </a:cxn>
                <a:cxn ang="0">
                  <a:pos x="T6" y="T8"/>
                </a:cxn>
                <a:cxn ang="0">
                  <a:pos x="T9" y="T11"/>
                </a:cxn>
                <a:cxn ang="0">
                  <a:pos x="T12" y="T14"/>
                </a:cxn>
                <a:cxn ang="0">
                  <a:pos x="T15" y="T17"/>
                </a:cxn>
                <a:cxn ang="0">
                  <a:pos x="T18" y="T20"/>
                </a:cxn>
                <a:cxn ang="0">
                  <a:pos x="T21" y="T23"/>
                </a:cxn>
                <a:cxn ang="0">
                  <a:pos x="T24" y="T26"/>
                </a:cxn>
                <a:cxn ang="0">
                  <a:pos x="T27" y="T29"/>
                </a:cxn>
                <a:cxn ang="0">
                  <a:pos x="T30" y="T32"/>
                </a:cxn>
                <a:cxn ang="0">
                  <a:pos x="T33" y="T35"/>
                </a:cxn>
                <a:cxn ang="0">
                  <a:pos x="T36" y="T38"/>
                </a:cxn>
                <a:cxn ang="0">
                  <a:pos x="T39" y="T41"/>
                </a:cxn>
                <a:cxn ang="0">
                  <a:pos x="T42" y="T44"/>
                </a:cxn>
                <a:cxn ang="0">
                  <a:pos x="T45" y="T47"/>
                </a:cxn>
                <a:cxn ang="0">
                  <a:pos x="T48" y="T50"/>
                </a:cxn>
                <a:cxn ang="0">
                  <a:pos x="T51" y="T53"/>
                </a:cxn>
                <a:cxn ang="0">
                  <a:pos x="T54" y="T56"/>
                </a:cxn>
                <a:cxn ang="0">
                  <a:pos x="T57" y="T59"/>
                </a:cxn>
                <a:cxn ang="0">
                  <a:pos x="T60" y="T62"/>
                </a:cxn>
                <a:cxn ang="0">
                  <a:pos x="T63" y="T65"/>
                </a:cxn>
                <a:cxn ang="0">
                  <a:pos x="T66" y="T68"/>
                </a:cxn>
                <a:cxn ang="0">
                  <a:pos x="T69" y="T71"/>
                </a:cxn>
                <a:cxn ang="0">
                  <a:pos x="T72" y="T74"/>
                </a:cxn>
                <a:cxn ang="0">
                  <a:pos x="T75" y="T77"/>
                </a:cxn>
                <a:cxn ang="0">
                  <a:pos x="T78" y="T80"/>
                </a:cxn>
                <a:cxn ang="0">
                  <a:pos x="T81" y="T83"/>
                </a:cxn>
              </a:cxnLst>
              <a:rect l="0" t="0" r="r" b="b"/>
              <a:pathLst>
                <a:path w="21600" h="20421">
                  <a:moveTo>
                    <a:pt x="0" y="20327"/>
                  </a:moveTo>
                  <a:cubicBezTo>
                    <a:pt x="666" y="16414"/>
                    <a:pt x="1049" y="16507"/>
                    <a:pt x="1327" y="17229"/>
                  </a:cubicBezTo>
                  <a:cubicBezTo>
                    <a:pt x="1935" y="16414"/>
                    <a:pt x="1909" y="14726"/>
                    <a:pt x="2110" y="13663"/>
                  </a:cubicBezTo>
                  <a:cubicBezTo>
                    <a:pt x="2763" y="10940"/>
                    <a:pt x="3332" y="9815"/>
                    <a:pt x="3358" y="9562"/>
                  </a:cubicBezTo>
                  <a:cubicBezTo>
                    <a:pt x="3908" y="7992"/>
                    <a:pt x="4451" y="7805"/>
                    <a:pt x="4451" y="7805"/>
                  </a:cubicBezTo>
                  <a:cubicBezTo>
                    <a:pt x="4743" y="4328"/>
                    <a:pt x="6016" y="5429"/>
                    <a:pt x="6016" y="5429"/>
                  </a:cubicBezTo>
                  <a:cubicBezTo>
                    <a:pt x="6662" y="2926"/>
                    <a:pt x="7262" y="3489"/>
                    <a:pt x="7262" y="3489"/>
                  </a:cubicBezTo>
                  <a:cubicBezTo>
                    <a:pt x="7968" y="957"/>
                    <a:pt x="8704" y="1988"/>
                    <a:pt x="8704" y="1988"/>
                  </a:cubicBezTo>
                  <a:cubicBezTo>
                    <a:pt x="9351" y="-46"/>
                    <a:pt x="9932" y="1642"/>
                    <a:pt x="9932" y="1642"/>
                  </a:cubicBezTo>
                  <a:cubicBezTo>
                    <a:pt x="10327" y="-1179"/>
                    <a:pt x="10850" y="733"/>
                    <a:pt x="10967" y="1891"/>
                  </a:cubicBezTo>
                  <a:cubicBezTo>
                    <a:pt x="11420" y="1642"/>
                    <a:pt x="11445" y="358"/>
                    <a:pt x="11666" y="358"/>
                  </a:cubicBezTo>
                  <a:cubicBezTo>
                    <a:pt x="11887" y="358"/>
                    <a:pt x="12157" y="-523"/>
                    <a:pt x="12591" y="480"/>
                  </a:cubicBezTo>
                  <a:cubicBezTo>
                    <a:pt x="13025" y="1483"/>
                    <a:pt x="12592" y="1324"/>
                    <a:pt x="13232" y="1324"/>
                  </a:cubicBezTo>
                  <a:cubicBezTo>
                    <a:pt x="13873" y="1324"/>
                    <a:pt x="14332" y="1507"/>
                    <a:pt x="14280" y="3264"/>
                  </a:cubicBezTo>
                  <a:cubicBezTo>
                    <a:pt x="14384" y="5115"/>
                    <a:pt x="14771" y="2359"/>
                    <a:pt x="15211" y="3802"/>
                  </a:cubicBezTo>
                  <a:cubicBezTo>
                    <a:pt x="15652" y="5246"/>
                    <a:pt x="15290" y="6464"/>
                    <a:pt x="15826" y="5808"/>
                  </a:cubicBezTo>
                  <a:cubicBezTo>
                    <a:pt x="16363" y="5152"/>
                    <a:pt x="16131" y="7776"/>
                    <a:pt x="16008" y="8433"/>
                  </a:cubicBezTo>
                  <a:cubicBezTo>
                    <a:pt x="15885" y="9089"/>
                    <a:pt x="16162" y="10280"/>
                    <a:pt x="16589" y="9497"/>
                  </a:cubicBezTo>
                  <a:cubicBezTo>
                    <a:pt x="17016" y="8714"/>
                    <a:pt x="17068" y="8213"/>
                    <a:pt x="17481" y="9839"/>
                  </a:cubicBezTo>
                  <a:cubicBezTo>
                    <a:pt x="17895" y="11465"/>
                    <a:pt x="18367" y="11025"/>
                    <a:pt x="18735" y="12337"/>
                  </a:cubicBezTo>
                  <a:cubicBezTo>
                    <a:pt x="19103" y="13650"/>
                    <a:pt x="19277" y="14742"/>
                    <a:pt x="19277" y="15243"/>
                  </a:cubicBezTo>
                  <a:cubicBezTo>
                    <a:pt x="19277" y="15745"/>
                    <a:pt x="19412" y="16809"/>
                    <a:pt x="19645" y="16809"/>
                  </a:cubicBezTo>
                  <a:cubicBezTo>
                    <a:pt x="19879" y="16809"/>
                    <a:pt x="20078" y="16715"/>
                    <a:pt x="20234" y="16903"/>
                  </a:cubicBezTo>
                  <a:cubicBezTo>
                    <a:pt x="20390" y="17090"/>
                    <a:pt x="20875" y="18280"/>
                    <a:pt x="20875" y="18280"/>
                  </a:cubicBezTo>
                  <a:cubicBezTo>
                    <a:pt x="20875" y="18280"/>
                    <a:pt x="21237" y="19344"/>
                    <a:pt x="21263" y="19723"/>
                  </a:cubicBezTo>
                  <a:cubicBezTo>
                    <a:pt x="21393" y="20102"/>
                    <a:pt x="21600" y="20421"/>
                    <a:pt x="21600" y="20421"/>
                  </a:cubicBezTo>
                  <a:lnTo>
                    <a:pt x="0" y="20327"/>
                  </a:lnTo>
                  <a:close/>
                  <a:moveTo>
                    <a:pt x="0" y="20327"/>
                  </a:moveTo>
                </a:path>
              </a:pathLst>
            </a:custGeom>
            <a:solidFill>
              <a:srgbClr val="A0AAB4"/>
            </a:solidFill>
            <a:ln>
              <a:noFill/>
            </a:ln>
            <a:extLst>
              <a:ext uri="{91240B29-F687-4F45-9708-019B960494DF}">
                <a14:hiddenLine xmlns:a14="http://schemas.microsoft.com/office/drawing/2010/main" w="25400">
                  <a:solidFill>
                    <a:schemeClr val="tx1"/>
                  </a:solidFill>
                  <a:miter lim="800000"/>
                  <a:headEnd type="none" w="med" len="med"/>
                  <a:tailEnd type="none" w="med" len="med"/>
                </a14:hiddenLine>
              </a:ext>
            </a:extLst>
          </p:spPr>
          <p:txBody>
            <a:bodyPr lIns="0" tIns="0" rIns="0" bIns="0"/>
            <a:lstStyle/>
            <a:p>
              <a:endParaRPr lang="en-US" sz="1015"/>
            </a:p>
          </p:txBody>
        </p:sp>
        <p:sp>
          <p:nvSpPr>
            <p:cNvPr id="51" name="Freeform 12"/>
            <p:cNvSpPr/>
            <p:nvPr/>
          </p:nvSpPr>
          <p:spPr bwMode="auto">
            <a:xfrm>
              <a:off x="821" y="444"/>
              <a:ext cx="197" cy="159"/>
            </a:xfrm>
            <a:custGeom>
              <a:avLst/>
              <a:gdLst>
                <a:gd name="T0" fmla="+- 0 7630 247"/>
                <a:gd name="T1" fmla="*/ T0 w 21353"/>
                <a:gd name="T2" fmla="+- 0 4715 3579"/>
                <a:gd name="T3" fmla="*/ 4715 h 16646"/>
                <a:gd name="T4" fmla="+- 0 21600 247"/>
                <a:gd name="T5" fmla="*/ T4 w 21353"/>
                <a:gd name="T6" fmla="+- 0 11494 3579"/>
                <a:gd name="T7" fmla="*/ 11494 h 16646"/>
                <a:gd name="T8" fmla="+- 0 14978 247"/>
                <a:gd name="T9" fmla="*/ T8 w 21353"/>
                <a:gd name="T10" fmla="+- 0 11992 3579"/>
                <a:gd name="T11" fmla="*/ 11992 h 16646"/>
                <a:gd name="T12" fmla="+- 0 12313 247"/>
                <a:gd name="T13" fmla="*/ T12 w 21353"/>
                <a:gd name="T14" fmla="+- 0 19881 3579"/>
                <a:gd name="T15" fmla="*/ 19881 h 16646"/>
                <a:gd name="T16" fmla="+- 0 3806 247"/>
                <a:gd name="T17" fmla="*/ T16 w 21353"/>
                <a:gd name="T18" fmla="+- 0 13840 3579"/>
                <a:gd name="T19" fmla="*/ 13840 h 16646"/>
                <a:gd name="T20" fmla="+- 0 247 247"/>
                <a:gd name="T21" fmla="*/ T20 w 21353"/>
                <a:gd name="T22" fmla="+- 0 9277 3579"/>
                <a:gd name="T23" fmla="*/ 9277 h 16646"/>
                <a:gd name="T24" fmla="+- 0 7630 247"/>
                <a:gd name="T25" fmla="*/ T24 w 21353"/>
                <a:gd name="T26" fmla="+- 0 4715 3579"/>
                <a:gd name="T27" fmla="*/ 4715 h 16646"/>
                <a:gd name="T28" fmla="+- 0 7630 247"/>
                <a:gd name="T29" fmla="*/ T28 w 21353"/>
                <a:gd name="T30" fmla="+- 0 4715 3579"/>
                <a:gd name="T31" fmla="*/ 4715 h 16646"/>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21353" h="16646">
                  <a:moveTo>
                    <a:pt x="7383" y="1136"/>
                  </a:moveTo>
                  <a:cubicBezTo>
                    <a:pt x="7225" y="-3579"/>
                    <a:pt x="21353" y="7915"/>
                    <a:pt x="21353" y="7915"/>
                  </a:cubicBezTo>
                  <a:cubicBezTo>
                    <a:pt x="21353" y="7915"/>
                    <a:pt x="18537" y="3851"/>
                    <a:pt x="14731" y="8413"/>
                  </a:cubicBezTo>
                  <a:cubicBezTo>
                    <a:pt x="10925" y="12976"/>
                    <a:pt x="16386" y="18021"/>
                    <a:pt x="12066" y="16302"/>
                  </a:cubicBezTo>
                  <a:cubicBezTo>
                    <a:pt x="7746" y="14584"/>
                    <a:pt x="-247" y="14083"/>
                    <a:pt x="3559" y="10261"/>
                  </a:cubicBezTo>
                  <a:cubicBezTo>
                    <a:pt x="7365" y="6438"/>
                    <a:pt x="0" y="5698"/>
                    <a:pt x="0" y="5698"/>
                  </a:cubicBezTo>
                  <a:cubicBezTo>
                    <a:pt x="0" y="5698"/>
                    <a:pt x="7500" y="4591"/>
                    <a:pt x="7383" y="1136"/>
                  </a:cubicBezTo>
                  <a:close/>
                  <a:moveTo>
                    <a:pt x="7383" y="1136"/>
                  </a:moveTo>
                </a:path>
              </a:pathLst>
            </a:custGeom>
            <a:solidFill>
              <a:schemeClr val="bg1"/>
            </a:solidFill>
            <a:ln>
              <a:noFill/>
            </a:ln>
            <a:extLst>
              <a:ext uri="{91240B29-F687-4F45-9708-019B960494DF}">
                <a14:hiddenLine xmlns:a14="http://schemas.microsoft.com/office/drawing/2010/main" w="25400">
                  <a:solidFill>
                    <a:schemeClr val="tx1"/>
                  </a:solidFill>
                  <a:miter lim="800000"/>
                  <a:headEnd type="none" w="med" len="med"/>
                  <a:tailEnd type="none" w="med" len="med"/>
                </a14:hiddenLine>
              </a:ext>
            </a:extLst>
          </p:spPr>
          <p:txBody>
            <a:bodyPr lIns="0" tIns="0" rIns="0" bIns="0"/>
            <a:lstStyle/>
            <a:p>
              <a:endParaRPr lang="en-US" sz="1015"/>
            </a:p>
          </p:txBody>
        </p:sp>
        <p:sp>
          <p:nvSpPr>
            <p:cNvPr id="52" name="Freeform 13"/>
            <p:cNvSpPr/>
            <p:nvPr/>
          </p:nvSpPr>
          <p:spPr bwMode="auto">
            <a:xfrm>
              <a:off x="1835" y="264"/>
              <a:ext cx="639" cy="241"/>
            </a:xfrm>
            <a:custGeom>
              <a:avLst/>
              <a:gdLst>
                <a:gd name="T0" fmla="*/ 3308 w 19718"/>
                <a:gd name="T1" fmla="+- 0 10702 1633"/>
                <a:gd name="T2" fmla="*/ 10702 h 18286"/>
                <a:gd name="T3" fmla="*/ 0 w 19718"/>
                <a:gd name="T4" fmla="+- 0 10702 1633"/>
                <a:gd name="T5" fmla="*/ 10702 h 18286"/>
                <a:gd name="T6" fmla="*/ 1637 w 19718"/>
                <a:gd name="T7" fmla="+- 0 13463 1633"/>
                <a:gd name="T8" fmla="*/ 13463 h 18286"/>
                <a:gd name="T9" fmla="*/ 3422 w 19718"/>
                <a:gd name="T10" fmla="+- 0 15251 1633"/>
                <a:gd name="T11" fmla="*/ 15251 h 18286"/>
                <a:gd name="T12" fmla="*/ 4336 w 19718"/>
                <a:gd name="T13" fmla="+- 0 18919 1633"/>
                <a:gd name="T14" fmla="*/ 18919 h 18286"/>
                <a:gd name="T15" fmla="*/ 8742 w 19718"/>
                <a:gd name="T16" fmla="+- 0 15437 1633"/>
                <a:gd name="T17" fmla="*/ 15437 h 18286"/>
                <a:gd name="T18" fmla="*/ 13787 w 19718"/>
                <a:gd name="T19" fmla="+- 0 14102 1633"/>
                <a:gd name="T20" fmla="*/ 14102 h 18286"/>
                <a:gd name="T21" fmla="*/ 16513 w 19718"/>
                <a:gd name="T22" fmla="+- 0 9993 1633"/>
                <a:gd name="T23" fmla="*/ 9993 h 18286"/>
                <a:gd name="T24" fmla="*/ 18585 w 19718"/>
                <a:gd name="T25" fmla="+- 0 4191 1633"/>
                <a:gd name="T26" fmla="*/ 4191 h 18286"/>
                <a:gd name="T27" fmla="*/ 12959 w 19718"/>
                <a:gd name="T28" fmla="+- 0 2763 1633"/>
                <a:gd name="T29" fmla="*/ 2763 h 18286"/>
                <a:gd name="T30" fmla="*/ 13536 w 19718"/>
                <a:gd name="T31" fmla="+- 0 8728 1633"/>
                <a:gd name="T32" fmla="*/ 8728 h 18286"/>
                <a:gd name="T33" fmla="*/ 11245 w 19718"/>
                <a:gd name="T34" fmla="+- 0 11049 1633"/>
                <a:gd name="T35" fmla="*/ 11049 h 18286"/>
                <a:gd name="T36" fmla="*/ 6016 w 19718"/>
                <a:gd name="T37" fmla="+- 0 12116 1633"/>
                <a:gd name="T38" fmla="*/ 12116 h 18286"/>
                <a:gd name="T39" fmla="*/ 7861 w 19718"/>
                <a:gd name="T40" fmla="+- 0 5803 1633"/>
                <a:gd name="T41" fmla="*/ 5803 h 18286"/>
                <a:gd name="T42" fmla="*/ 3308 w 19718"/>
                <a:gd name="T43" fmla="+- 0 10702 1633"/>
                <a:gd name="T44" fmla="*/ 10702 h 18286"/>
                <a:gd name="T45" fmla="*/ 3308 w 19718"/>
                <a:gd name="T46" fmla="+- 0 10702 1633"/>
                <a:gd name="T47" fmla="*/ 10702 h 18286"/>
              </a:gdLst>
              <a:ahLst/>
              <a:cxnLst>
                <a:cxn ang="0">
                  <a:pos x="T0" y="T2"/>
                </a:cxn>
                <a:cxn ang="0">
                  <a:pos x="T3" y="T5"/>
                </a:cxn>
                <a:cxn ang="0">
                  <a:pos x="T6" y="T8"/>
                </a:cxn>
                <a:cxn ang="0">
                  <a:pos x="T9" y="T11"/>
                </a:cxn>
                <a:cxn ang="0">
                  <a:pos x="T12" y="T14"/>
                </a:cxn>
                <a:cxn ang="0">
                  <a:pos x="T15" y="T17"/>
                </a:cxn>
                <a:cxn ang="0">
                  <a:pos x="T18" y="T20"/>
                </a:cxn>
                <a:cxn ang="0">
                  <a:pos x="T21" y="T23"/>
                </a:cxn>
                <a:cxn ang="0">
                  <a:pos x="T24" y="T26"/>
                </a:cxn>
                <a:cxn ang="0">
                  <a:pos x="T27" y="T29"/>
                </a:cxn>
                <a:cxn ang="0">
                  <a:pos x="T30" y="T32"/>
                </a:cxn>
                <a:cxn ang="0">
                  <a:pos x="T33" y="T35"/>
                </a:cxn>
                <a:cxn ang="0">
                  <a:pos x="T36" y="T38"/>
                </a:cxn>
                <a:cxn ang="0">
                  <a:pos x="T39" y="T41"/>
                </a:cxn>
                <a:cxn ang="0">
                  <a:pos x="T42" y="T44"/>
                </a:cxn>
                <a:cxn ang="0">
                  <a:pos x="T45" y="T47"/>
                </a:cxn>
              </a:cxnLst>
              <a:rect l="0" t="0" r="r" b="b"/>
              <a:pathLst>
                <a:path w="19718" h="18286">
                  <a:moveTo>
                    <a:pt x="3308" y="9069"/>
                  </a:moveTo>
                  <a:cubicBezTo>
                    <a:pt x="2073" y="8807"/>
                    <a:pt x="0" y="9069"/>
                    <a:pt x="0" y="9069"/>
                  </a:cubicBezTo>
                  <a:cubicBezTo>
                    <a:pt x="0" y="9069"/>
                    <a:pt x="71" y="11563"/>
                    <a:pt x="1637" y="11830"/>
                  </a:cubicBezTo>
                  <a:cubicBezTo>
                    <a:pt x="3204" y="12097"/>
                    <a:pt x="3422" y="10484"/>
                    <a:pt x="3422" y="13618"/>
                  </a:cubicBezTo>
                  <a:cubicBezTo>
                    <a:pt x="3422" y="16752"/>
                    <a:pt x="1969" y="19967"/>
                    <a:pt x="4336" y="17286"/>
                  </a:cubicBezTo>
                  <a:cubicBezTo>
                    <a:pt x="6702" y="14605"/>
                    <a:pt x="5765" y="15405"/>
                    <a:pt x="8742" y="13804"/>
                  </a:cubicBezTo>
                  <a:cubicBezTo>
                    <a:pt x="11718" y="12202"/>
                    <a:pt x="12660" y="12202"/>
                    <a:pt x="13787" y="12469"/>
                  </a:cubicBezTo>
                  <a:cubicBezTo>
                    <a:pt x="14913" y="12737"/>
                    <a:pt x="15240" y="10414"/>
                    <a:pt x="16513" y="8360"/>
                  </a:cubicBezTo>
                  <a:cubicBezTo>
                    <a:pt x="17786" y="6306"/>
                    <a:pt x="21600" y="3719"/>
                    <a:pt x="18585" y="2558"/>
                  </a:cubicBezTo>
                  <a:cubicBezTo>
                    <a:pt x="15571" y="1397"/>
                    <a:pt x="14340" y="-1633"/>
                    <a:pt x="12959" y="1130"/>
                  </a:cubicBezTo>
                  <a:cubicBezTo>
                    <a:pt x="11577" y="3892"/>
                    <a:pt x="13536" y="6375"/>
                    <a:pt x="13536" y="7095"/>
                  </a:cubicBezTo>
                  <a:cubicBezTo>
                    <a:pt x="13536" y="7815"/>
                    <a:pt x="13172" y="9149"/>
                    <a:pt x="11245" y="9416"/>
                  </a:cubicBezTo>
                  <a:cubicBezTo>
                    <a:pt x="9319" y="9683"/>
                    <a:pt x="6821" y="9229"/>
                    <a:pt x="6016" y="10483"/>
                  </a:cubicBezTo>
                  <a:cubicBezTo>
                    <a:pt x="5211" y="11737"/>
                    <a:pt x="9461" y="6397"/>
                    <a:pt x="7861" y="4170"/>
                  </a:cubicBezTo>
                  <a:cubicBezTo>
                    <a:pt x="6261" y="1944"/>
                    <a:pt x="5769" y="9590"/>
                    <a:pt x="3308" y="9069"/>
                  </a:cubicBezTo>
                  <a:close/>
                  <a:moveTo>
                    <a:pt x="3308" y="9069"/>
                  </a:moveTo>
                </a:path>
              </a:pathLst>
            </a:custGeom>
            <a:solidFill>
              <a:schemeClr val="bg1"/>
            </a:solidFill>
            <a:ln>
              <a:noFill/>
            </a:ln>
            <a:extLst>
              <a:ext uri="{91240B29-F687-4F45-9708-019B960494DF}">
                <a14:hiddenLine xmlns:a14="http://schemas.microsoft.com/office/drawing/2010/main" w="25400">
                  <a:solidFill>
                    <a:schemeClr val="tx1"/>
                  </a:solidFill>
                  <a:miter lim="800000"/>
                  <a:headEnd type="none" w="med" len="med"/>
                  <a:tailEnd type="none" w="med" len="med"/>
                </a14:hiddenLine>
              </a:ext>
            </a:extLst>
          </p:spPr>
          <p:txBody>
            <a:bodyPr lIns="0" tIns="0" rIns="0" bIns="0"/>
            <a:lstStyle/>
            <a:p>
              <a:endParaRPr lang="en-US" sz="1015"/>
            </a:p>
          </p:txBody>
        </p:sp>
      </p:grpSp>
      <p:sp>
        <p:nvSpPr>
          <p:cNvPr id="53" name="Freeform 14"/>
          <p:cNvSpPr/>
          <p:nvPr/>
        </p:nvSpPr>
        <p:spPr bwMode="auto">
          <a:xfrm>
            <a:off x="3280172" y="2916228"/>
            <a:ext cx="1100499" cy="824916"/>
          </a:xfrm>
          <a:custGeom>
            <a:avLst/>
            <a:gdLst>
              <a:gd name="T0" fmla="+- 0 21600 604"/>
              <a:gd name="T1" fmla="*/ T0 w 20996"/>
              <a:gd name="T2" fmla="+- 0 18575 2579"/>
              <a:gd name="T3" fmla="*/ 18575 h 17236"/>
              <a:gd name="T4" fmla="+- 0 6565 604"/>
              <a:gd name="T5" fmla="*/ T4 w 20996"/>
              <a:gd name="T6" fmla="+- 0 18526 2579"/>
              <a:gd name="T7" fmla="*/ 18526 h 17236"/>
              <a:gd name="T8" fmla="+- 0 1015 604"/>
              <a:gd name="T9" fmla="*/ T8 w 20996"/>
              <a:gd name="T10" fmla="+- 0 4608 2579"/>
              <a:gd name="T11" fmla="*/ 4608 h 17236"/>
              <a:gd name="T12" fmla="+- 0 2428 604"/>
              <a:gd name="T13" fmla="*/ T12 w 20996"/>
              <a:gd name="T14" fmla="+- 0 3811 2579"/>
              <a:gd name="T15" fmla="*/ 3811 h 17236"/>
              <a:gd name="T16" fmla="+- 0 16548 604"/>
              <a:gd name="T17" fmla="*/ T16 w 20996"/>
              <a:gd name="T18" fmla="+- 0 5784 2579"/>
              <a:gd name="T19" fmla="*/ 5784 h 17236"/>
              <a:gd name="T20" fmla="+- 0 21600 604"/>
              <a:gd name="T21" fmla="*/ T20 w 20996"/>
              <a:gd name="T22" fmla="+- 0 18575 2579"/>
              <a:gd name="T23" fmla="*/ 18575 h 17236"/>
              <a:gd name="T24" fmla="+- 0 21600 604"/>
              <a:gd name="T25" fmla="*/ T24 w 20996"/>
              <a:gd name="T26" fmla="+- 0 18575 2579"/>
              <a:gd name="T27" fmla="*/ 18575 h 17236"/>
            </a:gdLst>
            <a:ahLst/>
            <a:cxnLst>
              <a:cxn ang="0">
                <a:pos x="T1" y="T3"/>
              </a:cxn>
              <a:cxn ang="0">
                <a:pos x="T5" y="T7"/>
              </a:cxn>
              <a:cxn ang="0">
                <a:pos x="T9" y="T11"/>
              </a:cxn>
              <a:cxn ang="0">
                <a:pos x="T13" y="T15"/>
              </a:cxn>
              <a:cxn ang="0">
                <a:pos x="T17" y="T19"/>
              </a:cxn>
              <a:cxn ang="0">
                <a:pos x="T21" y="T23"/>
              </a:cxn>
              <a:cxn ang="0">
                <a:pos x="T25" y="T27"/>
              </a:cxn>
            </a:cxnLst>
            <a:rect l="0" t="0" r="r" b="b"/>
            <a:pathLst>
              <a:path w="20996" h="17236">
                <a:moveTo>
                  <a:pt x="20996" y="15996"/>
                </a:moveTo>
                <a:cubicBezTo>
                  <a:pt x="19022" y="15575"/>
                  <a:pt x="11352" y="19021"/>
                  <a:pt x="5961" y="15947"/>
                </a:cubicBezTo>
                <a:cubicBezTo>
                  <a:pt x="570" y="12874"/>
                  <a:pt x="1426" y="3847"/>
                  <a:pt x="411" y="2029"/>
                </a:cubicBezTo>
                <a:cubicBezTo>
                  <a:pt x="-604" y="317"/>
                  <a:pt x="411" y="1232"/>
                  <a:pt x="1824" y="1232"/>
                </a:cubicBezTo>
                <a:cubicBezTo>
                  <a:pt x="3237" y="1232"/>
                  <a:pt x="10375" y="-2579"/>
                  <a:pt x="15944" y="3205"/>
                </a:cubicBezTo>
                <a:cubicBezTo>
                  <a:pt x="19882" y="7305"/>
                  <a:pt x="19473" y="14026"/>
                  <a:pt x="20996" y="15996"/>
                </a:cubicBezTo>
                <a:close/>
                <a:moveTo>
                  <a:pt x="20996" y="15996"/>
                </a:moveTo>
              </a:path>
            </a:pathLst>
          </a:custGeom>
          <a:solidFill>
            <a:srgbClr val="548235"/>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66" name="Freeform 2"/>
          <p:cNvSpPr/>
          <p:nvPr/>
        </p:nvSpPr>
        <p:spPr bwMode="auto">
          <a:xfrm>
            <a:off x="4870870" y="3260248"/>
            <a:ext cx="1086296" cy="845195"/>
          </a:xfrm>
          <a:custGeom>
            <a:avLst/>
            <a:gdLst>
              <a:gd name="T0" fmla="+- 0 449 449"/>
              <a:gd name="T1" fmla="*/ T0 w 21003"/>
              <a:gd name="T2" fmla="+- 0 17833 1814"/>
              <a:gd name="T3" fmla="*/ 17833 h 17825"/>
              <a:gd name="T4" fmla="+- 0 19312 449"/>
              <a:gd name="T5" fmla="*/ T4 w 21003"/>
              <a:gd name="T6" fmla="+- 0 9969 1814"/>
              <a:gd name="T7" fmla="*/ 9969 h 17825"/>
              <a:gd name="T8" fmla="+- 0 21354 449"/>
              <a:gd name="T9" fmla="*/ T8 w 21003"/>
              <a:gd name="T10" fmla="+- 0 3389 1814"/>
              <a:gd name="T11" fmla="*/ 3389 h 17825"/>
              <a:gd name="T12" fmla="+- 0 20083 449"/>
              <a:gd name="T13" fmla="*/ T12 w 21003"/>
              <a:gd name="T14" fmla="+- 0 3056 1814"/>
              <a:gd name="T15" fmla="*/ 3056 h 17825"/>
              <a:gd name="T16" fmla="+- 0 6548 449"/>
              <a:gd name="T17" fmla="*/ T16 w 21003"/>
              <a:gd name="T18" fmla="+- 0 3375 1814"/>
              <a:gd name="T19" fmla="*/ 3375 h 17825"/>
              <a:gd name="T20" fmla="+- 0 449 449"/>
              <a:gd name="T21" fmla="*/ T20 w 21003"/>
              <a:gd name="T22" fmla="+- 0 17833 1814"/>
              <a:gd name="T23" fmla="*/ 17833 h 17825"/>
              <a:gd name="T24" fmla="+- 0 449 449"/>
              <a:gd name="T25" fmla="*/ T24 w 21003"/>
              <a:gd name="T26" fmla="+- 0 17833 1814"/>
              <a:gd name="T27" fmla="*/ 17833 h 17825"/>
            </a:gdLst>
            <a:ahLst/>
            <a:cxnLst>
              <a:cxn ang="0">
                <a:pos x="T1" y="T3"/>
              </a:cxn>
              <a:cxn ang="0">
                <a:pos x="T5" y="T7"/>
              </a:cxn>
              <a:cxn ang="0">
                <a:pos x="T9" y="T11"/>
              </a:cxn>
              <a:cxn ang="0">
                <a:pos x="T13" y="T15"/>
              </a:cxn>
              <a:cxn ang="0">
                <a:pos x="T17" y="T19"/>
              </a:cxn>
              <a:cxn ang="0">
                <a:pos x="T21" y="T23"/>
              </a:cxn>
              <a:cxn ang="0">
                <a:pos x="T25" y="T27"/>
              </a:cxn>
            </a:cxnLst>
            <a:rect l="0" t="0" r="r" b="b"/>
            <a:pathLst>
              <a:path w="21003" h="17825">
                <a:moveTo>
                  <a:pt x="0" y="16019"/>
                </a:moveTo>
                <a:cubicBezTo>
                  <a:pt x="7953" y="18811"/>
                  <a:pt x="15290" y="19786"/>
                  <a:pt x="18863" y="8155"/>
                </a:cubicBezTo>
                <a:cubicBezTo>
                  <a:pt x="19676" y="5451"/>
                  <a:pt x="20261" y="2175"/>
                  <a:pt x="20905" y="1575"/>
                </a:cubicBezTo>
                <a:cubicBezTo>
                  <a:pt x="21098" y="1286"/>
                  <a:pt x="21151" y="1131"/>
                  <a:pt x="19634" y="1242"/>
                </a:cubicBezTo>
                <a:cubicBezTo>
                  <a:pt x="18117" y="1353"/>
                  <a:pt x="11299" y="-1814"/>
                  <a:pt x="6099" y="1561"/>
                </a:cubicBezTo>
                <a:cubicBezTo>
                  <a:pt x="-449" y="5810"/>
                  <a:pt x="1711" y="13199"/>
                  <a:pt x="0" y="16019"/>
                </a:cubicBezTo>
                <a:close/>
                <a:moveTo>
                  <a:pt x="0" y="16019"/>
                </a:moveTo>
              </a:path>
            </a:pathLst>
          </a:custGeom>
          <a:solidFill>
            <a:srgbClr val="548235"/>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70" name="Rectangle 26"/>
          <p:cNvSpPr/>
          <p:nvPr/>
        </p:nvSpPr>
        <p:spPr bwMode="auto">
          <a:xfrm>
            <a:off x="3862536" y="1943803"/>
            <a:ext cx="423878"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pPr algn="ctr"/>
            <a:r>
              <a:rPr lang="en-US" sz="1015" b="1" spc="-113" dirty="0">
                <a:solidFill>
                  <a:schemeClr val="bg1"/>
                </a:solidFill>
                <a:latin typeface="Lato" panose="020F0502020204030203" pitchFamily="34" charset="0"/>
                <a:ea typeface="MS PGothic" panose="020B0600070205080204" charset="-128"/>
                <a:cs typeface="Lato" panose="020F0502020204030203" pitchFamily="34" charset="0"/>
                <a:sym typeface="Bebas Neue" charset="0"/>
              </a:rPr>
              <a:t>35%</a:t>
            </a:r>
            <a:endParaRPr lang="en-US" sz="1015" b="1" spc="-113" dirty="0">
              <a:solidFill>
                <a:schemeClr val="bg1"/>
              </a:solidFill>
              <a:latin typeface="Lato" panose="020F0502020204030203" pitchFamily="34" charset="0"/>
              <a:ea typeface="MS PGothic" panose="020B0600070205080204" charset="-128"/>
              <a:cs typeface="Lato" panose="020F0502020204030203" pitchFamily="34" charset="0"/>
              <a:sym typeface="Bebas Neue" charset="0"/>
            </a:endParaRPr>
          </a:p>
        </p:txBody>
      </p:sp>
      <p:sp>
        <p:nvSpPr>
          <p:cNvPr id="71" name="Rectangle 26"/>
          <p:cNvSpPr/>
          <p:nvPr/>
        </p:nvSpPr>
        <p:spPr bwMode="auto">
          <a:xfrm>
            <a:off x="3503421" y="3074511"/>
            <a:ext cx="423878"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pPr algn="ctr"/>
            <a:r>
              <a:rPr lang="en-US" sz="1800" b="1" spc="-113" dirty="0">
                <a:solidFill>
                  <a:schemeClr val="bg1"/>
                </a:solidFill>
                <a:latin typeface="Lato" panose="020F0502020204030203" pitchFamily="34" charset="0"/>
                <a:ea typeface="MS PGothic" panose="020B0600070205080204" charset="-128"/>
                <a:cs typeface="Lato" panose="020F0502020204030203" pitchFamily="34" charset="0"/>
                <a:sym typeface="Bebas Neue" charset="0"/>
              </a:rPr>
              <a:t>35%</a:t>
            </a:r>
            <a:endParaRPr lang="en-US" sz="1800" b="1" spc="-113" dirty="0">
              <a:solidFill>
                <a:schemeClr val="bg1"/>
              </a:solidFill>
              <a:latin typeface="Lato" panose="020F0502020204030203" pitchFamily="34" charset="0"/>
              <a:ea typeface="MS PGothic" panose="020B0600070205080204" charset="-128"/>
              <a:cs typeface="Lato" panose="020F0502020204030203" pitchFamily="34" charset="0"/>
              <a:sym typeface="Bebas Neue" charset="0"/>
            </a:endParaRPr>
          </a:p>
        </p:txBody>
      </p:sp>
      <p:sp>
        <p:nvSpPr>
          <p:cNvPr id="45" name="Freeform 6"/>
          <p:cNvSpPr/>
          <p:nvPr/>
        </p:nvSpPr>
        <p:spPr bwMode="auto">
          <a:xfrm>
            <a:off x="4384337" y="1237678"/>
            <a:ext cx="1375470" cy="2022571"/>
          </a:xfrm>
          <a:custGeom>
            <a:avLst/>
            <a:gdLst>
              <a:gd name="T0" fmla="+- 0 4181 1625"/>
              <a:gd name="T1" fmla="*/ T0 w 19535"/>
              <a:gd name="T2" fmla="+- 0 21600 247"/>
              <a:gd name="T3" fmla="*/ 21600 h 21353"/>
              <a:gd name="T4" fmla="+- 0 8916 1625"/>
              <a:gd name="T5" fmla="*/ T4 w 19535"/>
              <a:gd name="T6" fmla="+- 0 5181 247"/>
              <a:gd name="T7" fmla="*/ 5181 h 21353"/>
              <a:gd name="T8" fmla="+- 0 18324 1625"/>
              <a:gd name="T9" fmla="*/ T8 w 19535"/>
              <a:gd name="T10" fmla="+- 0 418 247"/>
              <a:gd name="T11" fmla="*/ 418 h 21353"/>
              <a:gd name="T12" fmla="+- 0 18856 1625"/>
              <a:gd name="T13" fmla="*/ T12 w 19535"/>
              <a:gd name="T14" fmla="+- 0 888 247"/>
              <a:gd name="T15" fmla="*/ 888 h 21353"/>
              <a:gd name="T16" fmla="+- 0 21101 1625"/>
              <a:gd name="T17" fmla="*/ T16 w 19535"/>
              <a:gd name="T18" fmla="+- 0 10171 247"/>
              <a:gd name="T19" fmla="*/ 10171 h 21353"/>
              <a:gd name="T20" fmla="+- 0 7468 1625"/>
              <a:gd name="T21" fmla="*/ T20 w 19535"/>
              <a:gd name="T22" fmla="+- 0 20041 247"/>
              <a:gd name="T23" fmla="*/ 20041 h 21353"/>
              <a:gd name="T24" fmla="+- 0 4181 1625"/>
              <a:gd name="T25" fmla="*/ T24 w 19535"/>
              <a:gd name="T26" fmla="+- 0 21600 247"/>
              <a:gd name="T27" fmla="*/ 21600 h 21353"/>
              <a:gd name="T28" fmla="+- 0 4181 1625"/>
              <a:gd name="T29" fmla="*/ T28 w 19535"/>
              <a:gd name="T30" fmla="+- 0 21600 247"/>
              <a:gd name="T31" fmla="*/ 21600 h 21353"/>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19535" h="21353">
                <a:moveTo>
                  <a:pt x="2556" y="21353"/>
                </a:moveTo>
                <a:cubicBezTo>
                  <a:pt x="-1270" y="17889"/>
                  <a:pt x="-1625" y="8998"/>
                  <a:pt x="7291" y="4934"/>
                </a:cubicBezTo>
                <a:cubicBezTo>
                  <a:pt x="16208" y="871"/>
                  <a:pt x="16269" y="589"/>
                  <a:pt x="16699" y="171"/>
                </a:cubicBezTo>
                <a:cubicBezTo>
                  <a:pt x="17128" y="-247"/>
                  <a:pt x="17303" y="175"/>
                  <a:pt x="17231" y="641"/>
                </a:cubicBezTo>
                <a:cubicBezTo>
                  <a:pt x="17159" y="1107"/>
                  <a:pt x="19975" y="5498"/>
                  <a:pt x="19476" y="9924"/>
                </a:cubicBezTo>
                <a:cubicBezTo>
                  <a:pt x="18977" y="14350"/>
                  <a:pt x="12944" y="18027"/>
                  <a:pt x="5843" y="19794"/>
                </a:cubicBezTo>
                <a:cubicBezTo>
                  <a:pt x="4131" y="20182"/>
                  <a:pt x="2875" y="20281"/>
                  <a:pt x="2556" y="21353"/>
                </a:cubicBezTo>
                <a:close/>
                <a:moveTo>
                  <a:pt x="2556" y="21353"/>
                </a:moveTo>
              </a:path>
            </a:pathLst>
          </a:custGeom>
          <a:solidFill>
            <a:srgbClr val="548235"/>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72" name="Rectangle 26"/>
          <p:cNvSpPr/>
          <p:nvPr/>
        </p:nvSpPr>
        <p:spPr bwMode="auto">
          <a:xfrm>
            <a:off x="4676480" y="2019218"/>
            <a:ext cx="77346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pPr algn="ctr"/>
            <a:r>
              <a:rPr lang="en-US" sz="2700" b="1" spc="-113" dirty="0">
                <a:solidFill>
                  <a:schemeClr val="bg1"/>
                </a:solidFill>
                <a:latin typeface="Lato" panose="020F0502020204030203" pitchFamily="34" charset="0"/>
                <a:ea typeface="MS PGothic" panose="020B0600070205080204" charset="-128"/>
                <a:cs typeface="Lato" panose="020F0502020204030203" pitchFamily="34" charset="0"/>
                <a:sym typeface="Bebas Neue" charset="0"/>
              </a:rPr>
              <a:t>35%</a:t>
            </a:r>
            <a:endParaRPr lang="en-US" sz="2700" b="1" spc="-113" dirty="0">
              <a:solidFill>
                <a:schemeClr val="bg1"/>
              </a:solidFill>
              <a:latin typeface="Lato" panose="020F0502020204030203" pitchFamily="34" charset="0"/>
              <a:ea typeface="MS PGothic" panose="020B0600070205080204" charset="-128"/>
              <a:cs typeface="Lato" panose="020F0502020204030203" pitchFamily="34" charset="0"/>
              <a:sym typeface="Bebas Neue" charset="0"/>
            </a:endParaRPr>
          </a:p>
        </p:txBody>
      </p:sp>
      <p:sp>
        <p:nvSpPr>
          <p:cNvPr id="73" name="Rectangle 26"/>
          <p:cNvSpPr/>
          <p:nvPr/>
        </p:nvSpPr>
        <p:spPr bwMode="auto">
          <a:xfrm>
            <a:off x="5026265" y="3343679"/>
            <a:ext cx="77346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pPr algn="ctr"/>
            <a:r>
              <a:rPr lang="en-US" sz="2100" b="1" spc="-113" dirty="0">
                <a:solidFill>
                  <a:schemeClr val="bg1"/>
                </a:solidFill>
                <a:latin typeface="Lato" panose="020F0502020204030203" pitchFamily="34" charset="0"/>
                <a:ea typeface="MS PGothic" panose="020B0600070205080204" charset="-128"/>
                <a:cs typeface="Lato" panose="020F0502020204030203" pitchFamily="34" charset="0"/>
                <a:sym typeface="Bebas Neue" charset="0"/>
              </a:rPr>
              <a:t>35%</a:t>
            </a:r>
            <a:endParaRPr lang="en-US" sz="2100" b="1" spc="-113" dirty="0">
              <a:solidFill>
                <a:schemeClr val="bg1"/>
              </a:solidFill>
              <a:latin typeface="Lato" panose="020F0502020204030203" pitchFamily="34" charset="0"/>
              <a:ea typeface="MS PGothic" panose="020B0600070205080204" charset="-128"/>
              <a:cs typeface="Lato" panose="020F0502020204030203" pitchFamily="34" charset="0"/>
              <a:sym typeface="Bebas Neue" charset="0"/>
            </a:endParaRPr>
          </a:p>
        </p:txBody>
      </p:sp>
      <p:sp>
        <p:nvSpPr>
          <p:cNvPr id="74" name="TextBox 73"/>
          <p:cNvSpPr txBox="1"/>
          <p:nvPr/>
        </p:nvSpPr>
        <p:spPr>
          <a:xfrm>
            <a:off x="3478043" y="3368944"/>
            <a:ext cx="691827" cy="219291"/>
          </a:xfrm>
          <a:prstGeom prst="rect">
            <a:avLst/>
          </a:prstGeom>
          <a:noFill/>
        </p:spPr>
        <p:txBody>
          <a:bodyPr wrap="square" rtlCol="0">
            <a:spAutoFit/>
          </a:bodyPr>
          <a:lstStyle/>
          <a:p>
            <a:pPr algn="ctr"/>
            <a:r>
              <a:rPr lang="en-US" sz="825" dirty="0">
                <a:solidFill>
                  <a:schemeClr val="bg1"/>
                </a:solidFill>
                <a:latin typeface="Lato" panose="020F0502020204030203" pitchFamily="34" charset="0"/>
                <a:ea typeface="Open Sans" panose="020B0606030504020204" pitchFamily="34" charset="0"/>
                <a:cs typeface="Lato" panose="020F0502020204030203" pitchFamily="34" charset="0"/>
              </a:rPr>
              <a:t>PRODUCT</a:t>
            </a:r>
            <a:endParaRPr lang="en-US" sz="825"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75" name="TextBox 74"/>
          <p:cNvSpPr txBox="1"/>
          <p:nvPr/>
        </p:nvSpPr>
        <p:spPr>
          <a:xfrm>
            <a:off x="3763451" y="2226789"/>
            <a:ext cx="691827" cy="207749"/>
          </a:xfrm>
          <a:prstGeom prst="rect">
            <a:avLst/>
          </a:prstGeom>
          <a:noFill/>
        </p:spPr>
        <p:txBody>
          <a:bodyPr wrap="square" rtlCol="0">
            <a:spAutoFit/>
          </a:bodyPr>
          <a:lstStyle/>
          <a:p>
            <a:pPr algn="ctr"/>
            <a:r>
              <a:rPr lang="en-US" sz="750" dirty="0">
                <a:solidFill>
                  <a:schemeClr val="bg1"/>
                </a:solidFill>
                <a:latin typeface="Lato" panose="020F0502020204030203" pitchFamily="34" charset="0"/>
                <a:ea typeface="Open Sans" panose="020B0606030504020204" pitchFamily="34" charset="0"/>
                <a:cs typeface="Lato" panose="020F0502020204030203" pitchFamily="34" charset="0"/>
              </a:rPr>
              <a:t>PRODUCT</a:t>
            </a:r>
            <a:endParaRPr lang="en-US" sz="750"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76" name="TextBox 75"/>
          <p:cNvSpPr txBox="1"/>
          <p:nvPr/>
        </p:nvSpPr>
        <p:spPr>
          <a:xfrm>
            <a:off x="4557180" y="2365513"/>
            <a:ext cx="892765" cy="253916"/>
          </a:xfrm>
          <a:prstGeom prst="rect">
            <a:avLst/>
          </a:prstGeom>
          <a:noFill/>
        </p:spPr>
        <p:txBody>
          <a:bodyPr wrap="square" rtlCol="0">
            <a:spAutoFit/>
          </a:bodyPr>
          <a:lstStyle/>
          <a:p>
            <a:pPr algn="ctr"/>
            <a:r>
              <a:rPr lang="en-US" sz="1050" dirty="0">
                <a:solidFill>
                  <a:schemeClr val="bg1"/>
                </a:solidFill>
                <a:latin typeface="Lato" panose="020F0502020204030203" pitchFamily="34" charset="0"/>
                <a:ea typeface="Open Sans" panose="020B0606030504020204" pitchFamily="34" charset="0"/>
                <a:cs typeface="Lato" panose="020F0502020204030203" pitchFamily="34" charset="0"/>
              </a:rPr>
              <a:t>PRODUCT</a:t>
            </a:r>
            <a:endParaRPr lang="en-US" sz="1050"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77" name="TextBox 76"/>
          <p:cNvSpPr txBox="1"/>
          <p:nvPr/>
        </p:nvSpPr>
        <p:spPr>
          <a:xfrm>
            <a:off x="4884312" y="3693319"/>
            <a:ext cx="892765" cy="253916"/>
          </a:xfrm>
          <a:prstGeom prst="rect">
            <a:avLst/>
          </a:prstGeom>
          <a:noFill/>
        </p:spPr>
        <p:txBody>
          <a:bodyPr wrap="square" rtlCol="0">
            <a:spAutoFit/>
          </a:bodyPr>
          <a:lstStyle/>
          <a:p>
            <a:pPr algn="ctr"/>
            <a:r>
              <a:rPr lang="en-US" sz="1050" dirty="0">
                <a:solidFill>
                  <a:schemeClr val="bg1"/>
                </a:solidFill>
                <a:latin typeface="Lato" panose="020F0502020204030203" pitchFamily="34" charset="0"/>
                <a:ea typeface="Open Sans" panose="020B0606030504020204" pitchFamily="34" charset="0"/>
                <a:cs typeface="Lato" panose="020F0502020204030203" pitchFamily="34" charset="0"/>
              </a:rPr>
              <a:t>PRODUCT</a:t>
            </a:r>
            <a:endParaRPr lang="en-US" sz="1050"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78" name="Freeform 35"/>
          <p:cNvSpPr/>
          <p:nvPr/>
        </p:nvSpPr>
        <p:spPr bwMode="auto">
          <a:xfrm flipH="1">
            <a:off x="2550697" y="2115743"/>
            <a:ext cx="1146572" cy="357188"/>
          </a:xfrm>
          <a:custGeom>
            <a:avLst/>
            <a:gdLst>
              <a:gd name="T0" fmla="*/ 0 w 21600"/>
              <a:gd name="T1" fmla="*/ 21600 h 21600"/>
              <a:gd name="T2" fmla="*/ 17713 w 21600"/>
              <a:gd name="T3" fmla="*/ 21600 h 21600"/>
              <a:gd name="T4" fmla="*/ 21600 w 21600"/>
              <a:gd name="T5" fmla="*/ 0 h 21600"/>
            </a:gdLst>
            <a:ahLst/>
            <a:cxnLst>
              <a:cxn ang="0">
                <a:pos x="T0" y="T1"/>
              </a:cxn>
              <a:cxn ang="0">
                <a:pos x="T2" y="T3"/>
              </a:cxn>
              <a:cxn ang="0">
                <a:pos x="T4" y="T5"/>
              </a:cxn>
            </a:cxnLst>
            <a:rect l="0" t="0" r="r" b="b"/>
            <a:pathLst>
              <a:path w="21600" h="21600">
                <a:moveTo>
                  <a:pt x="0" y="21600"/>
                </a:moveTo>
                <a:lnTo>
                  <a:pt x="17713" y="21600"/>
                </a:lnTo>
                <a:lnTo>
                  <a:pt x="21600" y="0"/>
                </a:lnTo>
              </a:path>
            </a:pathLst>
          </a:custGeom>
          <a:noFill/>
          <a:ln w="12700" cap="flat">
            <a:solidFill>
              <a:srgbClr val="548235"/>
            </a:solidFill>
            <a:prstDash val="sysDot"/>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sz="1015"/>
          </a:p>
        </p:txBody>
      </p:sp>
      <p:sp>
        <p:nvSpPr>
          <p:cNvPr id="79" name="Freeform 37"/>
          <p:cNvSpPr/>
          <p:nvPr/>
        </p:nvSpPr>
        <p:spPr bwMode="auto">
          <a:xfrm flipH="1">
            <a:off x="2432366" y="3253422"/>
            <a:ext cx="967979" cy="357188"/>
          </a:xfrm>
          <a:custGeom>
            <a:avLst/>
            <a:gdLst>
              <a:gd name="T0" fmla="*/ 0 w 21600"/>
              <a:gd name="T1" fmla="*/ 21600 h 21600"/>
              <a:gd name="T2" fmla="*/ 16996 w 21600"/>
              <a:gd name="T3" fmla="*/ 21600 h 21600"/>
              <a:gd name="T4" fmla="*/ 21600 w 21600"/>
              <a:gd name="T5" fmla="*/ 0 h 21600"/>
            </a:gdLst>
            <a:ahLst/>
            <a:cxnLst>
              <a:cxn ang="0">
                <a:pos x="T0" y="T1"/>
              </a:cxn>
              <a:cxn ang="0">
                <a:pos x="T2" y="T3"/>
              </a:cxn>
              <a:cxn ang="0">
                <a:pos x="T4" y="T5"/>
              </a:cxn>
            </a:cxnLst>
            <a:rect l="0" t="0" r="r" b="b"/>
            <a:pathLst>
              <a:path w="21600" h="21600">
                <a:moveTo>
                  <a:pt x="0" y="21600"/>
                </a:moveTo>
                <a:lnTo>
                  <a:pt x="16996" y="21600"/>
                </a:lnTo>
                <a:lnTo>
                  <a:pt x="21600" y="0"/>
                </a:lnTo>
              </a:path>
            </a:pathLst>
          </a:custGeom>
          <a:noFill/>
          <a:ln w="12700" cap="flat">
            <a:solidFill>
              <a:srgbClr val="548235"/>
            </a:solidFill>
            <a:prstDash val="sysDot"/>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sz="1015"/>
          </a:p>
        </p:txBody>
      </p:sp>
      <p:sp>
        <p:nvSpPr>
          <p:cNvPr id="80" name="Freeform 35"/>
          <p:cNvSpPr/>
          <p:nvPr/>
        </p:nvSpPr>
        <p:spPr bwMode="auto">
          <a:xfrm>
            <a:off x="5551846" y="2115743"/>
            <a:ext cx="1146572" cy="357188"/>
          </a:xfrm>
          <a:custGeom>
            <a:avLst/>
            <a:gdLst>
              <a:gd name="T0" fmla="*/ 0 w 21600"/>
              <a:gd name="T1" fmla="*/ 21600 h 21600"/>
              <a:gd name="T2" fmla="*/ 17713 w 21600"/>
              <a:gd name="T3" fmla="*/ 21600 h 21600"/>
              <a:gd name="T4" fmla="*/ 21600 w 21600"/>
              <a:gd name="T5" fmla="*/ 0 h 21600"/>
            </a:gdLst>
            <a:ahLst/>
            <a:cxnLst>
              <a:cxn ang="0">
                <a:pos x="T0" y="T1"/>
              </a:cxn>
              <a:cxn ang="0">
                <a:pos x="T2" y="T3"/>
              </a:cxn>
              <a:cxn ang="0">
                <a:pos x="T4" y="T5"/>
              </a:cxn>
            </a:cxnLst>
            <a:rect l="0" t="0" r="r" b="b"/>
            <a:pathLst>
              <a:path w="21600" h="21600">
                <a:moveTo>
                  <a:pt x="0" y="21600"/>
                </a:moveTo>
                <a:lnTo>
                  <a:pt x="17713" y="21600"/>
                </a:lnTo>
                <a:lnTo>
                  <a:pt x="21600" y="0"/>
                </a:lnTo>
              </a:path>
            </a:pathLst>
          </a:custGeom>
          <a:noFill/>
          <a:ln w="12700" cap="flat">
            <a:solidFill>
              <a:srgbClr val="548235"/>
            </a:solidFill>
            <a:prstDash val="sysDot"/>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sz="1015"/>
          </a:p>
        </p:txBody>
      </p:sp>
      <p:sp>
        <p:nvSpPr>
          <p:cNvPr id="81" name="Freeform 37"/>
          <p:cNvSpPr/>
          <p:nvPr/>
        </p:nvSpPr>
        <p:spPr bwMode="auto">
          <a:xfrm>
            <a:off x="5790518" y="3384736"/>
            <a:ext cx="967979" cy="357188"/>
          </a:xfrm>
          <a:custGeom>
            <a:avLst/>
            <a:gdLst>
              <a:gd name="T0" fmla="*/ 0 w 21600"/>
              <a:gd name="T1" fmla="*/ 21600 h 21600"/>
              <a:gd name="T2" fmla="*/ 16996 w 21600"/>
              <a:gd name="T3" fmla="*/ 21600 h 21600"/>
              <a:gd name="T4" fmla="*/ 21600 w 21600"/>
              <a:gd name="T5" fmla="*/ 0 h 21600"/>
            </a:gdLst>
            <a:ahLst/>
            <a:cxnLst>
              <a:cxn ang="0">
                <a:pos x="T0" y="T1"/>
              </a:cxn>
              <a:cxn ang="0">
                <a:pos x="T2" y="T3"/>
              </a:cxn>
              <a:cxn ang="0">
                <a:pos x="T4" y="T5"/>
              </a:cxn>
            </a:cxnLst>
            <a:rect l="0" t="0" r="r" b="b"/>
            <a:pathLst>
              <a:path w="21600" h="21600">
                <a:moveTo>
                  <a:pt x="0" y="21600"/>
                </a:moveTo>
                <a:lnTo>
                  <a:pt x="16996" y="21600"/>
                </a:lnTo>
                <a:lnTo>
                  <a:pt x="21600" y="0"/>
                </a:lnTo>
              </a:path>
            </a:pathLst>
          </a:custGeom>
          <a:noFill/>
          <a:ln w="12700" cap="flat">
            <a:solidFill>
              <a:srgbClr val="548235"/>
            </a:solidFill>
            <a:prstDash val="sysDot"/>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sz="1015"/>
          </a:p>
        </p:txBody>
      </p:sp>
      <p:sp>
        <p:nvSpPr>
          <p:cNvPr id="83" name="Rectangle 82"/>
          <p:cNvSpPr/>
          <p:nvPr/>
        </p:nvSpPr>
        <p:spPr>
          <a:xfrm>
            <a:off x="6916559" y="1761280"/>
            <a:ext cx="1602137" cy="577338"/>
          </a:xfrm>
          <a:prstGeom prst="rect">
            <a:avLst/>
          </a:prstGeom>
        </p:spPr>
        <p:txBody>
          <a:bodyPr wrap="square">
            <a:spAutoFit/>
          </a:bodyPr>
          <a:lstStyle/>
          <a:p>
            <a:pPr>
              <a:buClr>
                <a:srgbClr val="E24848"/>
              </a:buClr>
            </a:pPr>
            <a:r>
              <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85" name="Rectangle 84"/>
          <p:cNvSpPr/>
          <p:nvPr/>
        </p:nvSpPr>
        <p:spPr>
          <a:xfrm>
            <a:off x="6916559" y="3268571"/>
            <a:ext cx="1602137" cy="577338"/>
          </a:xfrm>
          <a:prstGeom prst="rect">
            <a:avLst/>
          </a:prstGeom>
        </p:spPr>
        <p:txBody>
          <a:bodyPr wrap="square">
            <a:spAutoFit/>
          </a:bodyPr>
          <a:lstStyle/>
          <a:p>
            <a:pPr>
              <a:buClr>
                <a:srgbClr val="E24848"/>
              </a:buClr>
            </a:pPr>
            <a:r>
              <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86" name="Rectangle 85"/>
          <p:cNvSpPr/>
          <p:nvPr/>
        </p:nvSpPr>
        <p:spPr>
          <a:xfrm>
            <a:off x="764047" y="1761280"/>
            <a:ext cx="1602137" cy="577338"/>
          </a:xfrm>
          <a:prstGeom prst="rect">
            <a:avLst/>
          </a:prstGeom>
        </p:spPr>
        <p:txBody>
          <a:bodyPr wrap="square">
            <a:spAutoFit/>
          </a:bodyPr>
          <a:lstStyle/>
          <a:p>
            <a:pPr algn="r">
              <a:buClr>
                <a:srgbClr val="E24848"/>
              </a:buClr>
            </a:pPr>
            <a:r>
              <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87" name="Rectangle 86"/>
          <p:cNvSpPr/>
          <p:nvPr/>
        </p:nvSpPr>
        <p:spPr>
          <a:xfrm>
            <a:off x="764047" y="3268571"/>
            <a:ext cx="1602137" cy="577338"/>
          </a:xfrm>
          <a:prstGeom prst="rect">
            <a:avLst/>
          </a:prstGeom>
        </p:spPr>
        <p:txBody>
          <a:bodyPr wrap="square">
            <a:spAutoFit/>
          </a:bodyPr>
          <a:lstStyle/>
          <a:p>
            <a:pPr algn="r">
              <a:buClr>
                <a:srgbClr val="E24848"/>
              </a:buClr>
            </a:pPr>
            <a:r>
              <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79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94" name="Freeform 100"/>
          <p:cNvSpPr/>
          <p:nvPr/>
        </p:nvSpPr>
        <p:spPr bwMode="auto">
          <a:xfrm>
            <a:off x="2935587" y="2048987"/>
            <a:ext cx="327015" cy="206477"/>
          </a:xfrm>
          <a:custGeom>
            <a:avLst/>
            <a:gdLst>
              <a:gd name="T0" fmla="*/ 957 w 1171"/>
              <a:gd name="T1" fmla="*/ 302 h 741"/>
              <a:gd name="T2" fmla="*/ 954 w 1171"/>
              <a:gd name="T3" fmla="*/ 256 h 741"/>
              <a:gd name="T4" fmla="*/ 944 w 1171"/>
              <a:gd name="T5" fmla="*/ 212 h 741"/>
              <a:gd name="T6" fmla="*/ 928 w 1171"/>
              <a:gd name="T7" fmla="*/ 171 h 741"/>
              <a:gd name="T8" fmla="*/ 905 w 1171"/>
              <a:gd name="T9" fmla="*/ 133 h 741"/>
              <a:gd name="T10" fmla="*/ 879 w 1171"/>
              <a:gd name="T11" fmla="*/ 98 h 741"/>
              <a:gd name="T12" fmla="*/ 847 w 1171"/>
              <a:gd name="T13" fmla="*/ 69 h 741"/>
              <a:gd name="T14" fmla="*/ 811 w 1171"/>
              <a:gd name="T15" fmla="*/ 43 h 741"/>
              <a:gd name="T16" fmla="*/ 772 w 1171"/>
              <a:gd name="T17" fmla="*/ 24 h 741"/>
              <a:gd name="T18" fmla="*/ 730 w 1171"/>
              <a:gd name="T19" fmla="*/ 9 h 741"/>
              <a:gd name="T20" fmla="*/ 686 w 1171"/>
              <a:gd name="T21" fmla="*/ 1 h 741"/>
              <a:gd name="T22" fmla="*/ 633 w 1171"/>
              <a:gd name="T23" fmla="*/ 0 h 741"/>
              <a:gd name="T24" fmla="*/ 568 w 1171"/>
              <a:gd name="T25" fmla="*/ 12 h 741"/>
              <a:gd name="T26" fmla="*/ 510 w 1171"/>
              <a:gd name="T27" fmla="*/ 37 h 741"/>
              <a:gd name="T28" fmla="*/ 458 w 1171"/>
              <a:gd name="T29" fmla="*/ 72 h 741"/>
              <a:gd name="T30" fmla="*/ 415 w 1171"/>
              <a:gd name="T31" fmla="*/ 118 h 741"/>
              <a:gd name="T32" fmla="*/ 382 w 1171"/>
              <a:gd name="T33" fmla="*/ 172 h 741"/>
              <a:gd name="T34" fmla="*/ 340 w 1171"/>
              <a:gd name="T35" fmla="*/ 158 h 741"/>
              <a:gd name="T36" fmla="*/ 312 w 1171"/>
              <a:gd name="T37" fmla="*/ 156 h 741"/>
              <a:gd name="T38" fmla="*/ 270 w 1171"/>
              <a:gd name="T39" fmla="*/ 161 h 741"/>
              <a:gd name="T40" fmla="*/ 232 w 1171"/>
              <a:gd name="T41" fmla="*/ 177 h 741"/>
              <a:gd name="T42" fmla="*/ 201 w 1171"/>
              <a:gd name="T43" fmla="*/ 202 h 741"/>
              <a:gd name="T44" fmla="*/ 177 w 1171"/>
              <a:gd name="T45" fmla="*/ 233 h 741"/>
              <a:gd name="T46" fmla="*/ 161 w 1171"/>
              <a:gd name="T47" fmla="*/ 271 h 741"/>
              <a:gd name="T48" fmla="*/ 125 w 1171"/>
              <a:gd name="T49" fmla="*/ 299 h 741"/>
              <a:gd name="T50" fmla="*/ 81 w 1171"/>
              <a:gd name="T51" fmla="*/ 329 h 741"/>
              <a:gd name="T52" fmla="*/ 44 w 1171"/>
              <a:gd name="T53" fmla="*/ 369 h 741"/>
              <a:gd name="T54" fmla="*/ 18 w 1171"/>
              <a:gd name="T55" fmla="*/ 416 h 741"/>
              <a:gd name="T56" fmla="*/ 3 w 1171"/>
              <a:gd name="T57" fmla="*/ 469 h 741"/>
              <a:gd name="T58" fmla="*/ 0 w 1171"/>
              <a:gd name="T59" fmla="*/ 518 h 741"/>
              <a:gd name="T60" fmla="*/ 4 w 1171"/>
              <a:gd name="T61" fmla="*/ 554 h 741"/>
              <a:gd name="T62" fmla="*/ 14 w 1171"/>
              <a:gd name="T63" fmla="*/ 586 h 741"/>
              <a:gd name="T64" fmla="*/ 28 w 1171"/>
              <a:gd name="T65" fmla="*/ 618 h 741"/>
              <a:gd name="T66" fmla="*/ 53 w 1171"/>
              <a:gd name="T67" fmla="*/ 656 h 741"/>
              <a:gd name="T68" fmla="*/ 104 w 1171"/>
              <a:gd name="T69" fmla="*/ 701 h 741"/>
              <a:gd name="T70" fmla="*/ 133 w 1171"/>
              <a:gd name="T71" fmla="*/ 717 h 741"/>
              <a:gd name="T72" fmla="*/ 164 w 1171"/>
              <a:gd name="T73" fmla="*/ 730 h 741"/>
              <a:gd name="T74" fmla="*/ 199 w 1171"/>
              <a:gd name="T75" fmla="*/ 738 h 741"/>
              <a:gd name="T76" fmla="*/ 234 w 1171"/>
              <a:gd name="T77" fmla="*/ 741 h 741"/>
              <a:gd name="T78" fmla="*/ 980 w 1171"/>
              <a:gd name="T79" fmla="*/ 740 h 741"/>
              <a:gd name="T80" fmla="*/ 1021 w 1171"/>
              <a:gd name="T81" fmla="*/ 731 h 741"/>
              <a:gd name="T82" fmla="*/ 1077 w 1171"/>
              <a:gd name="T83" fmla="*/ 703 h 741"/>
              <a:gd name="T84" fmla="*/ 1122 w 1171"/>
              <a:gd name="T85" fmla="*/ 662 h 741"/>
              <a:gd name="T86" fmla="*/ 1155 w 1171"/>
              <a:gd name="T87" fmla="*/ 609 h 741"/>
              <a:gd name="T88" fmla="*/ 1169 w 1171"/>
              <a:gd name="T89" fmla="*/ 558 h 741"/>
              <a:gd name="T90" fmla="*/ 1171 w 1171"/>
              <a:gd name="T91" fmla="*/ 526 h 741"/>
              <a:gd name="T92" fmla="*/ 1169 w 1171"/>
              <a:gd name="T93" fmla="*/ 494 h 741"/>
              <a:gd name="T94" fmla="*/ 1154 w 1171"/>
              <a:gd name="T95" fmla="*/ 443 h 741"/>
              <a:gd name="T96" fmla="*/ 1122 w 1171"/>
              <a:gd name="T97" fmla="*/ 390 h 741"/>
              <a:gd name="T98" fmla="*/ 1077 w 1171"/>
              <a:gd name="T99" fmla="*/ 348 h 741"/>
              <a:gd name="T100" fmla="*/ 1021 w 1171"/>
              <a:gd name="T101" fmla="*/ 321 h 741"/>
              <a:gd name="T102" fmla="*/ 979 w 1171"/>
              <a:gd name="T103" fmla="*/ 312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71" h="741">
                <a:moveTo>
                  <a:pt x="957" y="311"/>
                </a:moveTo>
                <a:lnTo>
                  <a:pt x="957" y="307"/>
                </a:lnTo>
                <a:lnTo>
                  <a:pt x="957" y="302"/>
                </a:lnTo>
                <a:lnTo>
                  <a:pt x="957" y="286"/>
                </a:lnTo>
                <a:lnTo>
                  <a:pt x="956" y="271"/>
                </a:lnTo>
                <a:lnTo>
                  <a:pt x="954" y="256"/>
                </a:lnTo>
                <a:lnTo>
                  <a:pt x="952" y="241"/>
                </a:lnTo>
                <a:lnTo>
                  <a:pt x="947" y="227"/>
                </a:lnTo>
                <a:lnTo>
                  <a:pt x="944" y="212"/>
                </a:lnTo>
                <a:lnTo>
                  <a:pt x="939" y="198"/>
                </a:lnTo>
                <a:lnTo>
                  <a:pt x="933" y="185"/>
                </a:lnTo>
                <a:lnTo>
                  <a:pt x="928" y="171"/>
                </a:lnTo>
                <a:lnTo>
                  <a:pt x="921" y="158"/>
                </a:lnTo>
                <a:lnTo>
                  <a:pt x="914" y="145"/>
                </a:lnTo>
                <a:lnTo>
                  <a:pt x="905" y="133"/>
                </a:lnTo>
                <a:lnTo>
                  <a:pt x="898" y="121"/>
                </a:lnTo>
                <a:lnTo>
                  <a:pt x="888" y="109"/>
                </a:lnTo>
                <a:lnTo>
                  <a:pt x="879" y="98"/>
                </a:lnTo>
                <a:lnTo>
                  <a:pt x="868" y="89"/>
                </a:lnTo>
                <a:lnTo>
                  <a:pt x="859" y="78"/>
                </a:lnTo>
                <a:lnTo>
                  <a:pt x="847" y="69"/>
                </a:lnTo>
                <a:lnTo>
                  <a:pt x="836" y="59"/>
                </a:lnTo>
                <a:lnTo>
                  <a:pt x="824" y="51"/>
                </a:lnTo>
                <a:lnTo>
                  <a:pt x="811" y="43"/>
                </a:lnTo>
                <a:lnTo>
                  <a:pt x="799" y="36"/>
                </a:lnTo>
                <a:lnTo>
                  <a:pt x="786" y="29"/>
                </a:lnTo>
                <a:lnTo>
                  <a:pt x="772" y="24"/>
                </a:lnTo>
                <a:lnTo>
                  <a:pt x="759" y="18"/>
                </a:lnTo>
                <a:lnTo>
                  <a:pt x="745" y="13"/>
                </a:lnTo>
                <a:lnTo>
                  <a:pt x="730" y="9"/>
                </a:lnTo>
                <a:lnTo>
                  <a:pt x="716" y="5"/>
                </a:lnTo>
                <a:lnTo>
                  <a:pt x="701" y="3"/>
                </a:lnTo>
                <a:lnTo>
                  <a:pt x="686" y="1"/>
                </a:lnTo>
                <a:lnTo>
                  <a:pt x="671" y="0"/>
                </a:lnTo>
                <a:lnTo>
                  <a:pt x="655" y="0"/>
                </a:lnTo>
                <a:lnTo>
                  <a:pt x="633" y="0"/>
                </a:lnTo>
                <a:lnTo>
                  <a:pt x="610" y="3"/>
                </a:lnTo>
                <a:lnTo>
                  <a:pt x="589" y="6"/>
                </a:lnTo>
                <a:lnTo>
                  <a:pt x="568" y="12"/>
                </a:lnTo>
                <a:lnTo>
                  <a:pt x="548" y="19"/>
                </a:lnTo>
                <a:lnTo>
                  <a:pt x="528" y="27"/>
                </a:lnTo>
                <a:lnTo>
                  <a:pt x="510" y="37"/>
                </a:lnTo>
                <a:lnTo>
                  <a:pt x="491" y="48"/>
                </a:lnTo>
                <a:lnTo>
                  <a:pt x="474" y="59"/>
                </a:lnTo>
                <a:lnTo>
                  <a:pt x="458" y="72"/>
                </a:lnTo>
                <a:lnTo>
                  <a:pt x="443" y="86"/>
                </a:lnTo>
                <a:lnTo>
                  <a:pt x="429" y="102"/>
                </a:lnTo>
                <a:lnTo>
                  <a:pt x="415" y="118"/>
                </a:lnTo>
                <a:lnTo>
                  <a:pt x="403" y="135"/>
                </a:lnTo>
                <a:lnTo>
                  <a:pt x="392" y="153"/>
                </a:lnTo>
                <a:lnTo>
                  <a:pt x="382" y="172"/>
                </a:lnTo>
                <a:lnTo>
                  <a:pt x="366" y="165"/>
                </a:lnTo>
                <a:lnTo>
                  <a:pt x="349" y="160"/>
                </a:lnTo>
                <a:lnTo>
                  <a:pt x="340" y="158"/>
                </a:lnTo>
                <a:lnTo>
                  <a:pt x="331" y="157"/>
                </a:lnTo>
                <a:lnTo>
                  <a:pt x="322" y="156"/>
                </a:lnTo>
                <a:lnTo>
                  <a:pt x="312" y="156"/>
                </a:lnTo>
                <a:lnTo>
                  <a:pt x="298" y="156"/>
                </a:lnTo>
                <a:lnTo>
                  <a:pt x="284" y="158"/>
                </a:lnTo>
                <a:lnTo>
                  <a:pt x="270" y="161"/>
                </a:lnTo>
                <a:lnTo>
                  <a:pt x="257" y="165"/>
                </a:lnTo>
                <a:lnTo>
                  <a:pt x="245" y="171"/>
                </a:lnTo>
                <a:lnTo>
                  <a:pt x="232" y="177"/>
                </a:lnTo>
                <a:lnTo>
                  <a:pt x="221" y="184"/>
                </a:lnTo>
                <a:lnTo>
                  <a:pt x="211" y="192"/>
                </a:lnTo>
                <a:lnTo>
                  <a:pt x="201" y="202"/>
                </a:lnTo>
                <a:lnTo>
                  <a:pt x="192" y="212"/>
                </a:lnTo>
                <a:lnTo>
                  <a:pt x="184" y="222"/>
                </a:lnTo>
                <a:lnTo>
                  <a:pt x="177" y="233"/>
                </a:lnTo>
                <a:lnTo>
                  <a:pt x="171" y="245"/>
                </a:lnTo>
                <a:lnTo>
                  <a:pt x="165" y="258"/>
                </a:lnTo>
                <a:lnTo>
                  <a:pt x="161" y="271"/>
                </a:lnTo>
                <a:lnTo>
                  <a:pt x="159" y="285"/>
                </a:lnTo>
                <a:lnTo>
                  <a:pt x="142" y="292"/>
                </a:lnTo>
                <a:lnTo>
                  <a:pt x="125" y="299"/>
                </a:lnTo>
                <a:lnTo>
                  <a:pt x="109" y="308"/>
                </a:lnTo>
                <a:lnTo>
                  <a:pt x="95" y="319"/>
                </a:lnTo>
                <a:lnTo>
                  <a:pt x="81" y="329"/>
                </a:lnTo>
                <a:lnTo>
                  <a:pt x="68" y="341"/>
                </a:lnTo>
                <a:lnTo>
                  <a:pt x="56" y="355"/>
                </a:lnTo>
                <a:lnTo>
                  <a:pt x="44" y="369"/>
                </a:lnTo>
                <a:lnTo>
                  <a:pt x="35" y="383"/>
                </a:lnTo>
                <a:lnTo>
                  <a:pt x="26" y="400"/>
                </a:lnTo>
                <a:lnTo>
                  <a:pt x="18" y="416"/>
                </a:lnTo>
                <a:lnTo>
                  <a:pt x="12" y="433"/>
                </a:lnTo>
                <a:lnTo>
                  <a:pt x="6" y="450"/>
                </a:lnTo>
                <a:lnTo>
                  <a:pt x="3" y="469"/>
                </a:lnTo>
                <a:lnTo>
                  <a:pt x="1" y="487"/>
                </a:lnTo>
                <a:lnTo>
                  <a:pt x="0" y="507"/>
                </a:lnTo>
                <a:lnTo>
                  <a:pt x="0" y="518"/>
                </a:lnTo>
                <a:lnTo>
                  <a:pt x="1" y="530"/>
                </a:lnTo>
                <a:lnTo>
                  <a:pt x="2" y="542"/>
                </a:lnTo>
                <a:lnTo>
                  <a:pt x="4" y="554"/>
                </a:lnTo>
                <a:lnTo>
                  <a:pt x="8" y="565"/>
                </a:lnTo>
                <a:lnTo>
                  <a:pt x="11" y="576"/>
                </a:lnTo>
                <a:lnTo>
                  <a:pt x="14" y="586"/>
                </a:lnTo>
                <a:lnTo>
                  <a:pt x="18" y="597"/>
                </a:lnTo>
                <a:lnTo>
                  <a:pt x="23" y="608"/>
                </a:lnTo>
                <a:lnTo>
                  <a:pt x="28" y="618"/>
                </a:lnTo>
                <a:lnTo>
                  <a:pt x="33" y="627"/>
                </a:lnTo>
                <a:lnTo>
                  <a:pt x="40" y="637"/>
                </a:lnTo>
                <a:lnTo>
                  <a:pt x="53" y="656"/>
                </a:lnTo>
                <a:lnTo>
                  <a:pt x="68" y="672"/>
                </a:lnTo>
                <a:lnTo>
                  <a:pt x="85" y="687"/>
                </a:lnTo>
                <a:lnTo>
                  <a:pt x="104" y="701"/>
                </a:lnTo>
                <a:lnTo>
                  <a:pt x="112" y="706"/>
                </a:lnTo>
                <a:lnTo>
                  <a:pt x="122" y="712"/>
                </a:lnTo>
                <a:lnTo>
                  <a:pt x="133" y="717"/>
                </a:lnTo>
                <a:lnTo>
                  <a:pt x="143" y="723"/>
                </a:lnTo>
                <a:lnTo>
                  <a:pt x="153" y="726"/>
                </a:lnTo>
                <a:lnTo>
                  <a:pt x="164" y="730"/>
                </a:lnTo>
                <a:lnTo>
                  <a:pt x="176" y="733"/>
                </a:lnTo>
                <a:lnTo>
                  <a:pt x="187" y="735"/>
                </a:lnTo>
                <a:lnTo>
                  <a:pt x="199" y="738"/>
                </a:lnTo>
                <a:lnTo>
                  <a:pt x="211" y="740"/>
                </a:lnTo>
                <a:lnTo>
                  <a:pt x="223" y="740"/>
                </a:lnTo>
                <a:lnTo>
                  <a:pt x="234" y="741"/>
                </a:lnTo>
                <a:lnTo>
                  <a:pt x="957" y="741"/>
                </a:lnTo>
                <a:lnTo>
                  <a:pt x="969" y="740"/>
                </a:lnTo>
                <a:lnTo>
                  <a:pt x="980" y="740"/>
                </a:lnTo>
                <a:lnTo>
                  <a:pt x="989" y="738"/>
                </a:lnTo>
                <a:lnTo>
                  <a:pt x="1000" y="735"/>
                </a:lnTo>
                <a:lnTo>
                  <a:pt x="1021" y="731"/>
                </a:lnTo>
                <a:lnTo>
                  <a:pt x="1040" y="724"/>
                </a:lnTo>
                <a:lnTo>
                  <a:pt x="1060" y="714"/>
                </a:lnTo>
                <a:lnTo>
                  <a:pt x="1077" y="703"/>
                </a:lnTo>
                <a:lnTo>
                  <a:pt x="1093" y="691"/>
                </a:lnTo>
                <a:lnTo>
                  <a:pt x="1108" y="677"/>
                </a:lnTo>
                <a:lnTo>
                  <a:pt x="1122" y="662"/>
                </a:lnTo>
                <a:lnTo>
                  <a:pt x="1134" y="646"/>
                </a:lnTo>
                <a:lnTo>
                  <a:pt x="1145" y="627"/>
                </a:lnTo>
                <a:lnTo>
                  <a:pt x="1155" y="609"/>
                </a:lnTo>
                <a:lnTo>
                  <a:pt x="1161" y="590"/>
                </a:lnTo>
                <a:lnTo>
                  <a:pt x="1167" y="569"/>
                </a:lnTo>
                <a:lnTo>
                  <a:pt x="1169" y="558"/>
                </a:lnTo>
                <a:lnTo>
                  <a:pt x="1170" y="548"/>
                </a:lnTo>
                <a:lnTo>
                  <a:pt x="1171" y="537"/>
                </a:lnTo>
                <a:lnTo>
                  <a:pt x="1171" y="526"/>
                </a:lnTo>
                <a:lnTo>
                  <a:pt x="1171" y="515"/>
                </a:lnTo>
                <a:lnTo>
                  <a:pt x="1170" y="504"/>
                </a:lnTo>
                <a:lnTo>
                  <a:pt x="1169" y="494"/>
                </a:lnTo>
                <a:lnTo>
                  <a:pt x="1167" y="483"/>
                </a:lnTo>
                <a:lnTo>
                  <a:pt x="1161" y="462"/>
                </a:lnTo>
                <a:lnTo>
                  <a:pt x="1154" y="443"/>
                </a:lnTo>
                <a:lnTo>
                  <a:pt x="1145" y="423"/>
                </a:lnTo>
                <a:lnTo>
                  <a:pt x="1134" y="406"/>
                </a:lnTo>
                <a:lnTo>
                  <a:pt x="1122" y="390"/>
                </a:lnTo>
                <a:lnTo>
                  <a:pt x="1108" y="375"/>
                </a:lnTo>
                <a:lnTo>
                  <a:pt x="1093" y="361"/>
                </a:lnTo>
                <a:lnTo>
                  <a:pt x="1077" y="348"/>
                </a:lnTo>
                <a:lnTo>
                  <a:pt x="1059" y="337"/>
                </a:lnTo>
                <a:lnTo>
                  <a:pt x="1040" y="328"/>
                </a:lnTo>
                <a:lnTo>
                  <a:pt x="1021" y="321"/>
                </a:lnTo>
                <a:lnTo>
                  <a:pt x="1000" y="315"/>
                </a:lnTo>
                <a:lnTo>
                  <a:pt x="989" y="314"/>
                </a:lnTo>
                <a:lnTo>
                  <a:pt x="979" y="312"/>
                </a:lnTo>
                <a:lnTo>
                  <a:pt x="968" y="311"/>
                </a:lnTo>
                <a:lnTo>
                  <a:pt x="957" y="311"/>
                </a:lnTo>
                <a:close/>
              </a:path>
            </a:pathLst>
          </a:custGeom>
          <a:solidFill>
            <a:srgbClr val="548235"/>
          </a:solidFill>
          <a:ln>
            <a:noFill/>
          </a:ln>
        </p:spPr>
        <p:txBody>
          <a:bodyPr vert="horz" wrap="square" lIns="68580" tIns="34290" rIns="68580" bIns="34290" numCol="1" anchor="t" anchorCtr="0" compatLnSpc="1"/>
          <a:lstStyle/>
          <a:p>
            <a:endParaRPr lang="en-US" sz="1015"/>
          </a:p>
        </p:txBody>
      </p:sp>
      <p:sp>
        <p:nvSpPr>
          <p:cNvPr id="95" name="Freeform 124"/>
          <p:cNvSpPr>
            <a:spLocks noEditPoints="1"/>
          </p:cNvSpPr>
          <p:nvPr/>
        </p:nvSpPr>
        <p:spPr bwMode="auto">
          <a:xfrm>
            <a:off x="2879599" y="3205481"/>
            <a:ext cx="283369" cy="261938"/>
          </a:xfrm>
          <a:custGeom>
            <a:avLst/>
            <a:gdLst>
              <a:gd name="T0" fmla="*/ 776 w 952"/>
              <a:gd name="T1" fmla="*/ 35 h 881"/>
              <a:gd name="T2" fmla="*/ 879 w 952"/>
              <a:gd name="T3" fmla="*/ 35 h 881"/>
              <a:gd name="T4" fmla="*/ 890 w 952"/>
              <a:gd name="T5" fmla="*/ 36 h 881"/>
              <a:gd name="T6" fmla="*/ 906 w 952"/>
              <a:gd name="T7" fmla="*/ 46 h 881"/>
              <a:gd name="T8" fmla="*/ 916 w 952"/>
              <a:gd name="T9" fmla="*/ 63 h 881"/>
              <a:gd name="T10" fmla="*/ 914 w 952"/>
              <a:gd name="T11" fmla="*/ 84 h 881"/>
              <a:gd name="T12" fmla="*/ 176 w 952"/>
              <a:gd name="T13" fmla="*/ 227 h 881"/>
              <a:gd name="T14" fmla="*/ 38 w 952"/>
              <a:gd name="T15" fmla="*/ 84 h 881"/>
              <a:gd name="T16" fmla="*/ 36 w 952"/>
              <a:gd name="T17" fmla="*/ 63 h 881"/>
              <a:gd name="T18" fmla="*/ 44 w 952"/>
              <a:gd name="T19" fmla="*/ 46 h 881"/>
              <a:gd name="T20" fmla="*/ 62 w 952"/>
              <a:gd name="T21" fmla="*/ 36 h 881"/>
              <a:gd name="T22" fmla="*/ 72 w 952"/>
              <a:gd name="T23" fmla="*/ 35 h 881"/>
              <a:gd name="T24" fmla="*/ 176 w 952"/>
              <a:gd name="T25" fmla="*/ 35 h 881"/>
              <a:gd name="T26" fmla="*/ 879 w 952"/>
              <a:gd name="T27" fmla="*/ 0 h 881"/>
              <a:gd name="T28" fmla="*/ 176 w 952"/>
              <a:gd name="T29" fmla="*/ 0 h 881"/>
              <a:gd name="T30" fmla="*/ 70 w 952"/>
              <a:gd name="T31" fmla="*/ 0 h 881"/>
              <a:gd name="T32" fmla="*/ 49 w 952"/>
              <a:gd name="T33" fmla="*/ 3 h 881"/>
              <a:gd name="T34" fmla="*/ 30 w 952"/>
              <a:gd name="T35" fmla="*/ 12 h 881"/>
              <a:gd name="T36" fmla="*/ 15 w 952"/>
              <a:gd name="T37" fmla="*/ 26 h 881"/>
              <a:gd name="T38" fmla="*/ 5 w 952"/>
              <a:gd name="T39" fmla="*/ 43 h 881"/>
              <a:gd name="T40" fmla="*/ 0 w 952"/>
              <a:gd name="T41" fmla="*/ 63 h 881"/>
              <a:gd name="T42" fmla="*/ 1 w 952"/>
              <a:gd name="T43" fmla="*/ 85 h 881"/>
              <a:gd name="T44" fmla="*/ 8 w 952"/>
              <a:gd name="T45" fmla="*/ 105 h 881"/>
              <a:gd name="T46" fmla="*/ 20 w 952"/>
              <a:gd name="T47" fmla="*/ 121 h 881"/>
              <a:gd name="T48" fmla="*/ 176 w 952"/>
              <a:gd name="T49" fmla="*/ 279 h 881"/>
              <a:gd name="T50" fmla="*/ 181 w 952"/>
              <a:gd name="T51" fmla="*/ 323 h 881"/>
              <a:gd name="T52" fmla="*/ 192 w 952"/>
              <a:gd name="T53" fmla="*/ 364 h 881"/>
              <a:gd name="T54" fmla="*/ 210 w 952"/>
              <a:gd name="T55" fmla="*/ 403 h 881"/>
              <a:gd name="T56" fmla="*/ 231 w 952"/>
              <a:gd name="T57" fmla="*/ 438 h 881"/>
              <a:gd name="T58" fmla="*/ 258 w 952"/>
              <a:gd name="T59" fmla="*/ 471 h 881"/>
              <a:gd name="T60" fmla="*/ 288 w 952"/>
              <a:gd name="T61" fmla="*/ 499 h 881"/>
              <a:gd name="T62" fmla="*/ 323 w 952"/>
              <a:gd name="T63" fmla="*/ 522 h 881"/>
              <a:gd name="T64" fmla="*/ 361 w 952"/>
              <a:gd name="T65" fmla="*/ 541 h 881"/>
              <a:gd name="T66" fmla="*/ 401 w 952"/>
              <a:gd name="T67" fmla="*/ 555 h 881"/>
              <a:gd name="T68" fmla="*/ 443 w 952"/>
              <a:gd name="T69" fmla="*/ 562 h 881"/>
              <a:gd name="T70" fmla="*/ 316 w 952"/>
              <a:gd name="T71" fmla="*/ 846 h 881"/>
              <a:gd name="T72" fmla="*/ 634 w 952"/>
              <a:gd name="T73" fmla="*/ 846 h 881"/>
              <a:gd name="T74" fmla="*/ 508 w 952"/>
              <a:gd name="T75" fmla="*/ 562 h 881"/>
              <a:gd name="T76" fmla="*/ 551 w 952"/>
              <a:gd name="T77" fmla="*/ 555 h 881"/>
              <a:gd name="T78" fmla="*/ 591 w 952"/>
              <a:gd name="T79" fmla="*/ 541 h 881"/>
              <a:gd name="T80" fmla="*/ 629 w 952"/>
              <a:gd name="T81" fmla="*/ 522 h 881"/>
              <a:gd name="T82" fmla="*/ 663 w 952"/>
              <a:gd name="T83" fmla="*/ 499 h 881"/>
              <a:gd name="T84" fmla="*/ 693 w 952"/>
              <a:gd name="T85" fmla="*/ 471 h 881"/>
              <a:gd name="T86" fmla="*/ 719 w 952"/>
              <a:gd name="T87" fmla="*/ 438 h 881"/>
              <a:gd name="T88" fmla="*/ 742 w 952"/>
              <a:gd name="T89" fmla="*/ 403 h 881"/>
              <a:gd name="T90" fmla="*/ 758 w 952"/>
              <a:gd name="T91" fmla="*/ 364 h 881"/>
              <a:gd name="T92" fmla="*/ 770 w 952"/>
              <a:gd name="T93" fmla="*/ 323 h 881"/>
              <a:gd name="T94" fmla="*/ 776 w 952"/>
              <a:gd name="T95" fmla="*/ 279 h 881"/>
              <a:gd name="T96" fmla="*/ 931 w 952"/>
              <a:gd name="T97" fmla="*/ 121 h 881"/>
              <a:gd name="T98" fmla="*/ 943 w 952"/>
              <a:gd name="T99" fmla="*/ 105 h 881"/>
              <a:gd name="T100" fmla="*/ 950 w 952"/>
              <a:gd name="T101" fmla="*/ 85 h 881"/>
              <a:gd name="T102" fmla="*/ 952 w 952"/>
              <a:gd name="T103" fmla="*/ 63 h 881"/>
              <a:gd name="T104" fmla="*/ 946 w 952"/>
              <a:gd name="T105" fmla="*/ 43 h 881"/>
              <a:gd name="T106" fmla="*/ 935 w 952"/>
              <a:gd name="T107" fmla="*/ 26 h 881"/>
              <a:gd name="T108" fmla="*/ 920 w 952"/>
              <a:gd name="T109" fmla="*/ 12 h 881"/>
              <a:gd name="T110" fmla="*/ 902 w 952"/>
              <a:gd name="T111" fmla="*/ 3 h 881"/>
              <a:gd name="T112" fmla="*/ 881 w 952"/>
              <a:gd name="T113" fmla="*/ 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2" h="881">
                <a:moveTo>
                  <a:pt x="906" y="96"/>
                </a:moveTo>
                <a:lnTo>
                  <a:pt x="776" y="227"/>
                </a:lnTo>
                <a:lnTo>
                  <a:pt x="776" y="35"/>
                </a:lnTo>
                <a:lnTo>
                  <a:pt x="877" y="35"/>
                </a:lnTo>
                <a:lnTo>
                  <a:pt x="878" y="35"/>
                </a:lnTo>
                <a:lnTo>
                  <a:pt x="879" y="35"/>
                </a:lnTo>
                <a:lnTo>
                  <a:pt x="881" y="35"/>
                </a:lnTo>
                <a:lnTo>
                  <a:pt x="882" y="35"/>
                </a:lnTo>
                <a:lnTo>
                  <a:pt x="890" y="36"/>
                </a:lnTo>
                <a:lnTo>
                  <a:pt x="895" y="39"/>
                </a:lnTo>
                <a:lnTo>
                  <a:pt x="902" y="42"/>
                </a:lnTo>
                <a:lnTo>
                  <a:pt x="906" y="46"/>
                </a:lnTo>
                <a:lnTo>
                  <a:pt x="911" y="52"/>
                </a:lnTo>
                <a:lnTo>
                  <a:pt x="914" y="57"/>
                </a:lnTo>
                <a:lnTo>
                  <a:pt x="916" y="63"/>
                </a:lnTo>
                <a:lnTo>
                  <a:pt x="917" y="71"/>
                </a:lnTo>
                <a:lnTo>
                  <a:pt x="916" y="78"/>
                </a:lnTo>
                <a:lnTo>
                  <a:pt x="914" y="84"/>
                </a:lnTo>
                <a:lnTo>
                  <a:pt x="911" y="90"/>
                </a:lnTo>
                <a:lnTo>
                  <a:pt x="906" y="96"/>
                </a:lnTo>
                <a:close/>
                <a:moveTo>
                  <a:pt x="176" y="227"/>
                </a:moveTo>
                <a:lnTo>
                  <a:pt x="45" y="96"/>
                </a:lnTo>
                <a:lnTo>
                  <a:pt x="41" y="90"/>
                </a:lnTo>
                <a:lnTo>
                  <a:pt x="38" y="84"/>
                </a:lnTo>
                <a:lnTo>
                  <a:pt x="36" y="78"/>
                </a:lnTo>
                <a:lnTo>
                  <a:pt x="35" y="71"/>
                </a:lnTo>
                <a:lnTo>
                  <a:pt x="36" y="63"/>
                </a:lnTo>
                <a:lnTo>
                  <a:pt x="38" y="57"/>
                </a:lnTo>
                <a:lnTo>
                  <a:pt x="40" y="52"/>
                </a:lnTo>
                <a:lnTo>
                  <a:pt x="44" y="46"/>
                </a:lnTo>
                <a:lnTo>
                  <a:pt x="50" y="42"/>
                </a:lnTo>
                <a:lnTo>
                  <a:pt x="55" y="39"/>
                </a:lnTo>
                <a:lnTo>
                  <a:pt x="62" y="36"/>
                </a:lnTo>
                <a:lnTo>
                  <a:pt x="68" y="35"/>
                </a:lnTo>
                <a:lnTo>
                  <a:pt x="70" y="35"/>
                </a:lnTo>
                <a:lnTo>
                  <a:pt x="72" y="35"/>
                </a:lnTo>
                <a:lnTo>
                  <a:pt x="72" y="35"/>
                </a:lnTo>
                <a:lnTo>
                  <a:pt x="73" y="35"/>
                </a:lnTo>
                <a:lnTo>
                  <a:pt x="176" y="35"/>
                </a:lnTo>
                <a:lnTo>
                  <a:pt x="176" y="227"/>
                </a:lnTo>
                <a:close/>
                <a:moveTo>
                  <a:pt x="881" y="0"/>
                </a:moveTo>
                <a:lnTo>
                  <a:pt x="879" y="0"/>
                </a:lnTo>
                <a:lnTo>
                  <a:pt x="877" y="0"/>
                </a:lnTo>
                <a:lnTo>
                  <a:pt x="776" y="0"/>
                </a:lnTo>
                <a:lnTo>
                  <a:pt x="176" y="0"/>
                </a:lnTo>
                <a:lnTo>
                  <a:pt x="73" y="0"/>
                </a:lnTo>
                <a:lnTo>
                  <a:pt x="72" y="0"/>
                </a:lnTo>
                <a:lnTo>
                  <a:pt x="70" y="0"/>
                </a:lnTo>
                <a:lnTo>
                  <a:pt x="63" y="1"/>
                </a:lnTo>
                <a:lnTo>
                  <a:pt x="56" y="2"/>
                </a:lnTo>
                <a:lnTo>
                  <a:pt x="49" y="3"/>
                </a:lnTo>
                <a:lnTo>
                  <a:pt x="42" y="5"/>
                </a:lnTo>
                <a:lnTo>
                  <a:pt x="37" y="8"/>
                </a:lnTo>
                <a:lnTo>
                  <a:pt x="30" y="12"/>
                </a:lnTo>
                <a:lnTo>
                  <a:pt x="25" y="16"/>
                </a:lnTo>
                <a:lnTo>
                  <a:pt x="20" y="20"/>
                </a:lnTo>
                <a:lnTo>
                  <a:pt x="15" y="26"/>
                </a:lnTo>
                <a:lnTo>
                  <a:pt x="12" y="31"/>
                </a:lnTo>
                <a:lnTo>
                  <a:pt x="8" y="36"/>
                </a:lnTo>
                <a:lnTo>
                  <a:pt x="5" y="43"/>
                </a:lnTo>
                <a:lnTo>
                  <a:pt x="2" y="49"/>
                </a:lnTo>
                <a:lnTo>
                  <a:pt x="1" y="56"/>
                </a:lnTo>
                <a:lnTo>
                  <a:pt x="0" y="63"/>
                </a:lnTo>
                <a:lnTo>
                  <a:pt x="0" y="71"/>
                </a:lnTo>
                <a:lnTo>
                  <a:pt x="0" y="78"/>
                </a:lnTo>
                <a:lnTo>
                  <a:pt x="1" y="85"/>
                </a:lnTo>
                <a:lnTo>
                  <a:pt x="2" y="92"/>
                </a:lnTo>
                <a:lnTo>
                  <a:pt x="5" y="98"/>
                </a:lnTo>
                <a:lnTo>
                  <a:pt x="8" y="105"/>
                </a:lnTo>
                <a:lnTo>
                  <a:pt x="12" y="110"/>
                </a:lnTo>
                <a:lnTo>
                  <a:pt x="16" y="115"/>
                </a:lnTo>
                <a:lnTo>
                  <a:pt x="20" y="121"/>
                </a:lnTo>
                <a:lnTo>
                  <a:pt x="176" y="276"/>
                </a:lnTo>
                <a:lnTo>
                  <a:pt x="176" y="264"/>
                </a:lnTo>
                <a:lnTo>
                  <a:pt x="176" y="279"/>
                </a:lnTo>
                <a:lnTo>
                  <a:pt x="177" y="295"/>
                </a:lnTo>
                <a:lnTo>
                  <a:pt x="179" y="309"/>
                </a:lnTo>
                <a:lnTo>
                  <a:pt x="181" y="323"/>
                </a:lnTo>
                <a:lnTo>
                  <a:pt x="185" y="337"/>
                </a:lnTo>
                <a:lnTo>
                  <a:pt x="188" y="351"/>
                </a:lnTo>
                <a:lnTo>
                  <a:pt x="192" y="364"/>
                </a:lnTo>
                <a:lnTo>
                  <a:pt x="198" y="378"/>
                </a:lnTo>
                <a:lnTo>
                  <a:pt x="203" y="391"/>
                </a:lnTo>
                <a:lnTo>
                  <a:pt x="210" y="403"/>
                </a:lnTo>
                <a:lnTo>
                  <a:pt x="216" y="416"/>
                </a:lnTo>
                <a:lnTo>
                  <a:pt x="224" y="426"/>
                </a:lnTo>
                <a:lnTo>
                  <a:pt x="231" y="438"/>
                </a:lnTo>
                <a:lnTo>
                  <a:pt x="240" y="449"/>
                </a:lnTo>
                <a:lnTo>
                  <a:pt x="248" y="460"/>
                </a:lnTo>
                <a:lnTo>
                  <a:pt x="258" y="471"/>
                </a:lnTo>
                <a:lnTo>
                  <a:pt x="268" y="480"/>
                </a:lnTo>
                <a:lnTo>
                  <a:pt x="278" y="490"/>
                </a:lnTo>
                <a:lnTo>
                  <a:pt x="288" y="499"/>
                </a:lnTo>
                <a:lnTo>
                  <a:pt x="299" y="507"/>
                </a:lnTo>
                <a:lnTo>
                  <a:pt x="311" y="515"/>
                </a:lnTo>
                <a:lnTo>
                  <a:pt x="323" y="522"/>
                </a:lnTo>
                <a:lnTo>
                  <a:pt x="335" y="529"/>
                </a:lnTo>
                <a:lnTo>
                  <a:pt x="348" y="535"/>
                </a:lnTo>
                <a:lnTo>
                  <a:pt x="361" y="541"/>
                </a:lnTo>
                <a:lnTo>
                  <a:pt x="374" y="546"/>
                </a:lnTo>
                <a:lnTo>
                  <a:pt x="387" y="551"/>
                </a:lnTo>
                <a:lnTo>
                  <a:pt x="401" y="555"/>
                </a:lnTo>
                <a:lnTo>
                  <a:pt x="415" y="558"/>
                </a:lnTo>
                <a:lnTo>
                  <a:pt x="429" y="560"/>
                </a:lnTo>
                <a:lnTo>
                  <a:pt x="443" y="562"/>
                </a:lnTo>
                <a:lnTo>
                  <a:pt x="458" y="564"/>
                </a:lnTo>
                <a:lnTo>
                  <a:pt x="458" y="846"/>
                </a:lnTo>
                <a:lnTo>
                  <a:pt x="316" y="846"/>
                </a:lnTo>
                <a:lnTo>
                  <a:pt x="316" y="881"/>
                </a:lnTo>
                <a:lnTo>
                  <a:pt x="634" y="881"/>
                </a:lnTo>
                <a:lnTo>
                  <a:pt x="634" y="846"/>
                </a:lnTo>
                <a:lnTo>
                  <a:pt x="494" y="846"/>
                </a:lnTo>
                <a:lnTo>
                  <a:pt x="494" y="564"/>
                </a:lnTo>
                <a:lnTo>
                  <a:pt x="508" y="562"/>
                </a:lnTo>
                <a:lnTo>
                  <a:pt x="523" y="560"/>
                </a:lnTo>
                <a:lnTo>
                  <a:pt x="537" y="558"/>
                </a:lnTo>
                <a:lnTo>
                  <a:pt x="551" y="555"/>
                </a:lnTo>
                <a:lnTo>
                  <a:pt x="564" y="551"/>
                </a:lnTo>
                <a:lnTo>
                  <a:pt x="578" y="546"/>
                </a:lnTo>
                <a:lnTo>
                  <a:pt x="591" y="541"/>
                </a:lnTo>
                <a:lnTo>
                  <a:pt x="604" y="535"/>
                </a:lnTo>
                <a:lnTo>
                  <a:pt x="617" y="529"/>
                </a:lnTo>
                <a:lnTo>
                  <a:pt x="629" y="522"/>
                </a:lnTo>
                <a:lnTo>
                  <a:pt x="640" y="515"/>
                </a:lnTo>
                <a:lnTo>
                  <a:pt x="651" y="507"/>
                </a:lnTo>
                <a:lnTo>
                  <a:pt x="663" y="499"/>
                </a:lnTo>
                <a:lnTo>
                  <a:pt x="673" y="490"/>
                </a:lnTo>
                <a:lnTo>
                  <a:pt x="684" y="480"/>
                </a:lnTo>
                <a:lnTo>
                  <a:pt x="693" y="471"/>
                </a:lnTo>
                <a:lnTo>
                  <a:pt x="703" y="460"/>
                </a:lnTo>
                <a:lnTo>
                  <a:pt x="712" y="449"/>
                </a:lnTo>
                <a:lnTo>
                  <a:pt x="719" y="438"/>
                </a:lnTo>
                <a:lnTo>
                  <a:pt x="728" y="426"/>
                </a:lnTo>
                <a:lnTo>
                  <a:pt x="734" y="416"/>
                </a:lnTo>
                <a:lnTo>
                  <a:pt x="742" y="403"/>
                </a:lnTo>
                <a:lnTo>
                  <a:pt x="747" y="391"/>
                </a:lnTo>
                <a:lnTo>
                  <a:pt x="754" y="378"/>
                </a:lnTo>
                <a:lnTo>
                  <a:pt x="758" y="364"/>
                </a:lnTo>
                <a:lnTo>
                  <a:pt x="763" y="351"/>
                </a:lnTo>
                <a:lnTo>
                  <a:pt x="767" y="337"/>
                </a:lnTo>
                <a:lnTo>
                  <a:pt x="770" y="323"/>
                </a:lnTo>
                <a:lnTo>
                  <a:pt x="772" y="309"/>
                </a:lnTo>
                <a:lnTo>
                  <a:pt x="774" y="295"/>
                </a:lnTo>
                <a:lnTo>
                  <a:pt x="776" y="279"/>
                </a:lnTo>
                <a:lnTo>
                  <a:pt x="776" y="264"/>
                </a:lnTo>
                <a:lnTo>
                  <a:pt x="776" y="276"/>
                </a:lnTo>
                <a:lnTo>
                  <a:pt x="931" y="121"/>
                </a:lnTo>
                <a:lnTo>
                  <a:pt x="935" y="115"/>
                </a:lnTo>
                <a:lnTo>
                  <a:pt x="940" y="110"/>
                </a:lnTo>
                <a:lnTo>
                  <a:pt x="943" y="105"/>
                </a:lnTo>
                <a:lnTo>
                  <a:pt x="946" y="98"/>
                </a:lnTo>
                <a:lnTo>
                  <a:pt x="948" y="92"/>
                </a:lnTo>
                <a:lnTo>
                  <a:pt x="950" y="85"/>
                </a:lnTo>
                <a:lnTo>
                  <a:pt x="952" y="78"/>
                </a:lnTo>
                <a:lnTo>
                  <a:pt x="952" y="71"/>
                </a:lnTo>
                <a:lnTo>
                  <a:pt x="952" y="63"/>
                </a:lnTo>
                <a:lnTo>
                  <a:pt x="950" y="56"/>
                </a:lnTo>
                <a:lnTo>
                  <a:pt x="948" y="49"/>
                </a:lnTo>
                <a:lnTo>
                  <a:pt x="946" y="43"/>
                </a:lnTo>
                <a:lnTo>
                  <a:pt x="943" y="36"/>
                </a:lnTo>
                <a:lnTo>
                  <a:pt x="940" y="31"/>
                </a:lnTo>
                <a:lnTo>
                  <a:pt x="935" y="26"/>
                </a:lnTo>
                <a:lnTo>
                  <a:pt x="931" y="20"/>
                </a:lnTo>
                <a:lnTo>
                  <a:pt x="926" y="16"/>
                </a:lnTo>
                <a:lnTo>
                  <a:pt x="920" y="12"/>
                </a:lnTo>
                <a:lnTo>
                  <a:pt x="915" y="8"/>
                </a:lnTo>
                <a:lnTo>
                  <a:pt x="908" y="5"/>
                </a:lnTo>
                <a:lnTo>
                  <a:pt x="902" y="3"/>
                </a:lnTo>
                <a:lnTo>
                  <a:pt x="895" y="2"/>
                </a:lnTo>
                <a:lnTo>
                  <a:pt x="889" y="1"/>
                </a:lnTo>
                <a:lnTo>
                  <a:pt x="881" y="0"/>
                </a:lnTo>
                <a:close/>
              </a:path>
            </a:pathLst>
          </a:custGeom>
          <a:solidFill>
            <a:srgbClr val="548235"/>
          </a:solidFill>
          <a:ln>
            <a:noFill/>
          </a:ln>
        </p:spPr>
        <p:txBody>
          <a:bodyPr vert="horz" wrap="square" lIns="68580" tIns="34290" rIns="68580" bIns="34290" numCol="1" anchor="t" anchorCtr="0" compatLnSpc="1"/>
          <a:lstStyle/>
          <a:p>
            <a:endParaRPr lang="en-US" sz="1015"/>
          </a:p>
        </p:txBody>
      </p:sp>
      <p:sp>
        <p:nvSpPr>
          <p:cNvPr id="96" name="Freeform 149"/>
          <p:cNvSpPr/>
          <p:nvPr/>
        </p:nvSpPr>
        <p:spPr bwMode="auto">
          <a:xfrm>
            <a:off x="6161519" y="3366880"/>
            <a:ext cx="282179" cy="282179"/>
          </a:xfrm>
          <a:custGeom>
            <a:avLst/>
            <a:gdLst>
              <a:gd name="T0" fmla="*/ 758 w 946"/>
              <a:gd name="T1" fmla="*/ 585 h 947"/>
              <a:gd name="T2" fmla="*/ 535 w 946"/>
              <a:gd name="T3" fmla="*/ 510 h 947"/>
              <a:gd name="T4" fmla="*/ 715 w 946"/>
              <a:gd name="T5" fmla="*/ 368 h 947"/>
              <a:gd name="T6" fmla="*/ 765 w 946"/>
              <a:gd name="T7" fmla="*/ 370 h 947"/>
              <a:gd name="T8" fmla="*/ 818 w 946"/>
              <a:gd name="T9" fmla="*/ 357 h 947"/>
              <a:gd name="T10" fmla="*/ 863 w 946"/>
              <a:gd name="T11" fmla="*/ 329 h 947"/>
              <a:gd name="T12" fmla="*/ 896 w 946"/>
              <a:gd name="T13" fmla="*/ 295 h 947"/>
              <a:gd name="T14" fmla="*/ 916 w 946"/>
              <a:gd name="T15" fmla="*/ 260 h 947"/>
              <a:gd name="T16" fmla="*/ 928 w 946"/>
              <a:gd name="T17" fmla="*/ 221 h 947"/>
              <a:gd name="T18" fmla="*/ 931 w 946"/>
              <a:gd name="T19" fmla="*/ 180 h 947"/>
              <a:gd name="T20" fmla="*/ 926 w 946"/>
              <a:gd name="T21" fmla="*/ 139 h 947"/>
              <a:gd name="T22" fmla="*/ 906 w 946"/>
              <a:gd name="T23" fmla="*/ 88 h 947"/>
              <a:gd name="T24" fmla="*/ 762 w 946"/>
              <a:gd name="T25" fmla="*/ 107 h 947"/>
              <a:gd name="T26" fmla="*/ 802 w 946"/>
              <a:gd name="T27" fmla="*/ 9 h 947"/>
              <a:gd name="T28" fmla="*/ 746 w 946"/>
              <a:gd name="T29" fmla="*/ 0 h 947"/>
              <a:gd name="T30" fmla="*/ 692 w 946"/>
              <a:gd name="T31" fmla="*/ 8 h 947"/>
              <a:gd name="T32" fmla="*/ 644 w 946"/>
              <a:gd name="T33" fmla="*/ 31 h 947"/>
              <a:gd name="T34" fmla="*/ 606 w 946"/>
              <a:gd name="T35" fmla="*/ 64 h 947"/>
              <a:gd name="T36" fmla="*/ 583 w 946"/>
              <a:gd name="T37" fmla="*/ 97 h 947"/>
              <a:gd name="T38" fmla="*/ 568 w 946"/>
              <a:gd name="T39" fmla="*/ 132 h 947"/>
              <a:gd name="T40" fmla="*/ 562 w 946"/>
              <a:gd name="T41" fmla="*/ 170 h 947"/>
              <a:gd name="T42" fmla="*/ 563 w 946"/>
              <a:gd name="T43" fmla="*/ 209 h 947"/>
              <a:gd name="T44" fmla="*/ 572 w 946"/>
              <a:gd name="T45" fmla="*/ 248 h 947"/>
              <a:gd name="T46" fmla="*/ 236 w 946"/>
              <a:gd name="T47" fmla="*/ 160 h 947"/>
              <a:gd name="T48" fmla="*/ 160 w 946"/>
              <a:gd name="T49" fmla="*/ 235 h 947"/>
              <a:gd name="T50" fmla="*/ 247 w 946"/>
              <a:gd name="T51" fmla="*/ 572 h 947"/>
              <a:gd name="T52" fmla="*/ 201 w 946"/>
              <a:gd name="T53" fmla="*/ 562 h 947"/>
              <a:gd name="T54" fmla="*/ 148 w 946"/>
              <a:gd name="T55" fmla="*/ 565 h 947"/>
              <a:gd name="T56" fmla="*/ 97 w 946"/>
              <a:gd name="T57" fmla="*/ 583 h 947"/>
              <a:gd name="T58" fmla="*/ 54 w 946"/>
              <a:gd name="T59" fmla="*/ 615 h 947"/>
              <a:gd name="T60" fmla="*/ 28 w 946"/>
              <a:gd name="T61" fmla="*/ 648 h 947"/>
              <a:gd name="T62" fmla="*/ 10 w 946"/>
              <a:gd name="T63" fmla="*/ 685 h 947"/>
              <a:gd name="T64" fmla="*/ 1 w 946"/>
              <a:gd name="T65" fmla="*/ 725 h 947"/>
              <a:gd name="T66" fmla="*/ 1 w 946"/>
              <a:gd name="T67" fmla="*/ 766 h 947"/>
              <a:gd name="T68" fmla="*/ 10 w 946"/>
              <a:gd name="T69" fmla="*/ 807 h 947"/>
              <a:gd name="T70" fmla="*/ 107 w 946"/>
              <a:gd name="T71" fmla="*/ 762 h 947"/>
              <a:gd name="T72" fmla="*/ 88 w 946"/>
              <a:gd name="T73" fmla="*/ 907 h 947"/>
              <a:gd name="T74" fmla="*/ 148 w 946"/>
              <a:gd name="T75" fmla="*/ 928 h 947"/>
              <a:gd name="T76" fmla="*/ 203 w 946"/>
              <a:gd name="T77" fmla="*/ 930 h 947"/>
              <a:gd name="T78" fmla="*/ 256 w 946"/>
              <a:gd name="T79" fmla="*/ 917 h 947"/>
              <a:gd name="T80" fmla="*/ 303 w 946"/>
              <a:gd name="T81" fmla="*/ 889 h 947"/>
              <a:gd name="T82" fmla="*/ 334 w 946"/>
              <a:gd name="T83" fmla="*/ 857 h 947"/>
              <a:gd name="T84" fmla="*/ 353 w 946"/>
              <a:gd name="T85" fmla="*/ 823 h 947"/>
              <a:gd name="T86" fmla="*/ 366 w 946"/>
              <a:gd name="T87" fmla="*/ 787 h 947"/>
              <a:gd name="T88" fmla="*/ 371 w 946"/>
              <a:gd name="T89" fmla="*/ 749 h 947"/>
              <a:gd name="T90" fmla="*/ 366 w 946"/>
              <a:gd name="T91" fmla="*/ 710 h 947"/>
              <a:gd name="T92" fmla="*/ 510 w 946"/>
              <a:gd name="T93" fmla="*/ 535 h 947"/>
              <a:gd name="T94" fmla="*/ 584 w 946"/>
              <a:gd name="T95" fmla="*/ 759 h 947"/>
              <a:gd name="T96" fmla="*/ 803 w 946"/>
              <a:gd name="T97" fmla="*/ 927 h 947"/>
              <a:gd name="T98" fmla="*/ 824 w 946"/>
              <a:gd name="T99" fmla="*/ 940 h 947"/>
              <a:gd name="T100" fmla="*/ 850 w 946"/>
              <a:gd name="T101" fmla="*/ 947 h 947"/>
              <a:gd name="T102" fmla="*/ 876 w 946"/>
              <a:gd name="T103" fmla="*/ 945 h 947"/>
              <a:gd name="T104" fmla="*/ 900 w 946"/>
              <a:gd name="T105" fmla="*/ 937 h 947"/>
              <a:gd name="T106" fmla="*/ 920 w 946"/>
              <a:gd name="T107" fmla="*/ 921 h 947"/>
              <a:gd name="T108" fmla="*/ 937 w 946"/>
              <a:gd name="T109" fmla="*/ 900 h 947"/>
              <a:gd name="T110" fmla="*/ 945 w 946"/>
              <a:gd name="T111" fmla="*/ 875 h 947"/>
              <a:gd name="T112" fmla="*/ 946 w 946"/>
              <a:gd name="T113" fmla="*/ 850 h 947"/>
              <a:gd name="T114" fmla="*/ 940 w 946"/>
              <a:gd name="T115" fmla="*/ 826 h 947"/>
              <a:gd name="T116" fmla="*/ 927 w 946"/>
              <a:gd name="T117" fmla="*/ 803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6" h="947">
                <a:moveTo>
                  <a:pt x="920" y="796"/>
                </a:moveTo>
                <a:lnTo>
                  <a:pt x="734" y="610"/>
                </a:lnTo>
                <a:lnTo>
                  <a:pt x="758" y="585"/>
                </a:lnTo>
                <a:lnTo>
                  <a:pt x="734" y="560"/>
                </a:lnTo>
                <a:lnTo>
                  <a:pt x="659" y="634"/>
                </a:lnTo>
                <a:lnTo>
                  <a:pt x="535" y="510"/>
                </a:lnTo>
                <a:lnTo>
                  <a:pt x="684" y="360"/>
                </a:lnTo>
                <a:lnTo>
                  <a:pt x="699" y="364"/>
                </a:lnTo>
                <a:lnTo>
                  <a:pt x="715" y="368"/>
                </a:lnTo>
                <a:lnTo>
                  <a:pt x="730" y="370"/>
                </a:lnTo>
                <a:lnTo>
                  <a:pt x="746" y="371"/>
                </a:lnTo>
                <a:lnTo>
                  <a:pt x="765" y="370"/>
                </a:lnTo>
                <a:lnTo>
                  <a:pt x="783" y="367"/>
                </a:lnTo>
                <a:lnTo>
                  <a:pt x="800" y="362"/>
                </a:lnTo>
                <a:lnTo>
                  <a:pt x="818" y="357"/>
                </a:lnTo>
                <a:lnTo>
                  <a:pt x="834" y="348"/>
                </a:lnTo>
                <a:lnTo>
                  <a:pt x="849" y="340"/>
                </a:lnTo>
                <a:lnTo>
                  <a:pt x="863" y="329"/>
                </a:lnTo>
                <a:lnTo>
                  <a:pt x="877" y="316"/>
                </a:lnTo>
                <a:lnTo>
                  <a:pt x="887" y="306"/>
                </a:lnTo>
                <a:lnTo>
                  <a:pt x="896" y="295"/>
                </a:lnTo>
                <a:lnTo>
                  <a:pt x="903" y="283"/>
                </a:lnTo>
                <a:lnTo>
                  <a:pt x="911" y="272"/>
                </a:lnTo>
                <a:lnTo>
                  <a:pt x="916" y="260"/>
                </a:lnTo>
                <a:lnTo>
                  <a:pt x="921" y="247"/>
                </a:lnTo>
                <a:lnTo>
                  <a:pt x="925" y="234"/>
                </a:lnTo>
                <a:lnTo>
                  <a:pt x="928" y="221"/>
                </a:lnTo>
                <a:lnTo>
                  <a:pt x="930" y="207"/>
                </a:lnTo>
                <a:lnTo>
                  <a:pt x="931" y="194"/>
                </a:lnTo>
                <a:lnTo>
                  <a:pt x="931" y="180"/>
                </a:lnTo>
                <a:lnTo>
                  <a:pt x="930" y="166"/>
                </a:lnTo>
                <a:lnTo>
                  <a:pt x="928" y="153"/>
                </a:lnTo>
                <a:lnTo>
                  <a:pt x="926" y="139"/>
                </a:lnTo>
                <a:lnTo>
                  <a:pt x="921" y="126"/>
                </a:lnTo>
                <a:lnTo>
                  <a:pt x="916" y="112"/>
                </a:lnTo>
                <a:lnTo>
                  <a:pt x="906" y="88"/>
                </a:lnTo>
                <a:lnTo>
                  <a:pt x="825" y="169"/>
                </a:lnTo>
                <a:lnTo>
                  <a:pt x="761" y="170"/>
                </a:lnTo>
                <a:lnTo>
                  <a:pt x="762" y="107"/>
                </a:lnTo>
                <a:lnTo>
                  <a:pt x="844" y="26"/>
                </a:lnTo>
                <a:lnTo>
                  <a:pt x="820" y="16"/>
                </a:lnTo>
                <a:lnTo>
                  <a:pt x="802" y="9"/>
                </a:lnTo>
                <a:lnTo>
                  <a:pt x="783" y="4"/>
                </a:lnTo>
                <a:lnTo>
                  <a:pt x="765" y="2"/>
                </a:lnTo>
                <a:lnTo>
                  <a:pt x="746" y="0"/>
                </a:lnTo>
                <a:lnTo>
                  <a:pt x="728" y="2"/>
                </a:lnTo>
                <a:lnTo>
                  <a:pt x="710" y="4"/>
                </a:lnTo>
                <a:lnTo>
                  <a:pt x="692" y="8"/>
                </a:lnTo>
                <a:lnTo>
                  <a:pt x="675" y="14"/>
                </a:lnTo>
                <a:lnTo>
                  <a:pt x="659" y="22"/>
                </a:lnTo>
                <a:lnTo>
                  <a:pt x="644" y="31"/>
                </a:lnTo>
                <a:lnTo>
                  <a:pt x="629" y="43"/>
                </a:lnTo>
                <a:lnTo>
                  <a:pt x="616" y="54"/>
                </a:lnTo>
                <a:lnTo>
                  <a:pt x="606" y="64"/>
                </a:lnTo>
                <a:lnTo>
                  <a:pt x="597" y="75"/>
                </a:lnTo>
                <a:lnTo>
                  <a:pt x="590" y="86"/>
                </a:lnTo>
                <a:lnTo>
                  <a:pt x="583" y="97"/>
                </a:lnTo>
                <a:lnTo>
                  <a:pt x="578" y="108"/>
                </a:lnTo>
                <a:lnTo>
                  <a:pt x="573" y="120"/>
                </a:lnTo>
                <a:lnTo>
                  <a:pt x="568" y="132"/>
                </a:lnTo>
                <a:lnTo>
                  <a:pt x="565" y="145"/>
                </a:lnTo>
                <a:lnTo>
                  <a:pt x="563" y="158"/>
                </a:lnTo>
                <a:lnTo>
                  <a:pt x="562" y="170"/>
                </a:lnTo>
                <a:lnTo>
                  <a:pt x="561" y="183"/>
                </a:lnTo>
                <a:lnTo>
                  <a:pt x="562" y="196"/>
                </a:lnTo>
                <a:lnTo>
                  <a:pt x="563" y="209"/>
                </a:lnTo>
                <a:lnTo>
                  <a:pt x="565" y="222"/>
                </a:lnTo>
                <a:lnTo>
                  <a:pt x="568" y="235"/>
                </a:lnTo>
                <a:lnTo>
                  <a:pt x="572" y="248"/>
                </a:lnTo>
                <a:lnTo>
                  <a:pt x="422" y="398"/>
                </a:lnTo>
                <a:lnTo>
                  <a:pt x="210" y="185"/>
                </a:lnTo>
                <a:lnTo>
                  <a:pt x="236" y="160"/>
                </a:lnTo>
                <a:lnTo>
                  <a:pt x="98" y="23"/>
                </a:lnTo>
                <a:lnTo>
                  <a:pt x="23" y="98"/>
                </a:lnTo>
                <a:lnTo>
                  <a:pt x="160" y="235"/>
                </a:lnTo>
                <a:lnTo>
                  <a:pt x="185" y="210"/>
                </a:lnTo>
                <a:lnTo>
                  <a:pt x="398" y="423"/>
                </a:lnTo>
                <a:lnTo>
                  <a:pt x="247" y="572"/>
                </a:lnTo>
                <a:lnTo>
                  <a:pt x="232" y="567"/>
                </a:lnTo>
                <a:lnTo>
                  <a:pt x="216" y="564"/>
                </a:lnTo>
                <a:lnTo>
                  <a:pt x="201" y="562"/>
                </a:lnTo>
                <a:lnTo>
                  <a:pt x="185" y="561"/>
                </a:lnTo>
                <a:lnTo>
                  <a:pt x="166" y="562"/>
                </a:lnTo>
                <a:lnTo>
                  <a:pt x="148" y="565"/>
                </a:lnTo>
                <a:lnTo>
                  <a:pt x="131" y="570"/>
                </a:lnTo>
                <a:lnTo>
                  <a:pt x="115" y="575"/>
                </a:lnTo>
                <a:lnTo>
                  <a:pt x="97" y="583"/>
                </a:lnTo>
                <a:lnTo>
                  <a:pt x="82" y="592"/>
                </a:lnTo>
                <a:lnTo>
                  <a:pt x="68" y="603"/>
                </a:lnTo>
                <a:lnTo>
                  <a:pt x="54" y="615"/>
                </a:lnTo>
                <a:lnTo>
                  <a:pt x="44" y="626"/>
                </a:lnTo>
                <a:lnTo>
                  <a:pt x="36" y="637"/>
                </a:lnTo>
                <a:lnTo>
                  <a:pt x="28" y="648"/>
                </a:lnTo>
                <a:lnTo>
                  <a:pt x="21" y="660"/>
                </a:lnTo>
                <a:lnTo>
                  <a:pt x="15" y="672"/>
                </a:lnTo>
                <a:lnTo>
                  <a:pt x="10" y="685"/>
                </a:lnTo>
                <a:lnTo>
                  <a:pt x="7" y="698"/>
                </a:lnTo>
                <a:lnTo>
                  <a:pt x="3" y="712"/>
                </a:lnTo>
                <a:lnTo>
                  <a:pt x="1" y="725"/>
                </a:lnTo>
                <a:lnTo>
                  <a:pt x="0" y="739"/>
                </a:lnTo>
                <a:lnTo>
                  <a:pt x="0" y="752"/>
                </a:lnTo>
                <a:lnTo>
                  <a:pt x="1" y="766"/>
                </a:lnTo>
                <a:lnTo>
                  <a:pt x="3" y="780"/>
                </a:lnTo>
                <a:lnTo>
                  <a:pt x="6" y="793"/>
                </a:lnTo>
                <a:lnTo>
                  <a:pt x="10" y="807"/>
                </a:lnTo>
                <a:lnTo>
                  <a:pt x="15" y="820"/>
                </a:lnTo>
                <a:lnTo>
                  <a:pt x="26" y="844"/>
                </a:lnTo>
                <a:lnTo>
                  <a:pt x="107" y="762"/>
                </a:lnTo>
                <a:lnTo>
                  <a:pt x="170" y="761"/>
                </a:lnTo>
                <a:lnTo>
                  <a:pt x="169" y="826"/>
                </a:lnTo>
                <a:lnTo>
                  <a:pt x="88" y="907"/>
                </a:lnTo>
                <a:lnTo>
                  <a:pt x="111" y="916"/>
                </a:lnTo>
                <a:lnTo>
                  <a:pt x="130" y="923"/>
                </a:lnTo>
                <a:lnTo>
                  <a:pt x="148" y="928"/>
                </a:lnTo>
                <a:lnTo>
                  <a:pt x="166" y="930"/>
                </a:lnTo>
                <a:lnTo>
                  <a:pt x="185" y="931"/>
                </a:lnTo>
                <a:lnTo>
                  <a:pt x="203" y="930"/>
                </a:lnTo>
                <a:lnTo>
                  <a:pt x="222" y="928"/>
                </a:lnTo>
                <a:lnTo>
                  <a:pt x="239" y="924"/>
                </a:lnTo>
                <a:lnTo>
                  <a:pt x="256" y="917"/>
                </a:lnTo>
                <a:lnTo>
                  <a:pt x="272" y="910"/>
                </a:lnTo>
                <a:lnTo>
                  <a:pt x="287" y="900"/>
                </a:lnTo>
                <a:lnTo>
                  <a:pt x="303" y="889"/>
                </a:lnTo>
                <a:lnTo>
                  <a:pt x="316" y="877"/>
                </a:lnTo>
                <a:lnTo>
                  <a:pt x="325" y="868"/>
                </a:lnTo>
                <a:lnTo>
                  <a:pt x="334" y="857"/>
                </a:lnTo>
                <a:lnTo>
                  <a:pt x="341" y="846"/>
                </a:lnTo>
                <a:lnTo>
                  <a:pt x="348" y="835"/>
                </a:lnTo>
                <a:lnTo>
                  <a:pt x="353" y="823"/>
                </a:lnTo>
                <a:lnTo>
                  <a:pt x="359" y="812"/>
                </a:lnTo>
                <a:lnTo>
                  <a:pt x="363" y="800"/>
                </a:lnTo>
                <a:lnTo>
                  <a:pt x="366" y="787"/>
                </a:lnTo>
                <a:lnTo>
                  <a:pt x="368" y="775"/>
                </a:lnTo>
                <a:lnTo>
                  <a:pt x="370" y="762"/>
                </a:lnTo>
                <a:lnTo>
                  <a:pt x="371" y="749"/>
                </a:lnTo>
                <a:lnTo>
                  <a:pt x="370" y="736"/>
                </a:lnTo>
                <a:lnTo>
                  <a:pt x="368" y="723"/>
                </a:lnTo>
                <a:lnTo>
                  <a:pt x="366" y="710"/>
                </a:lnTo>
                <a:lnTo>
                  <a:pt x="363" y="697"/>
                </a:lnTo>
                <a:lnTo>
                  <a:pt x="360" y="684"/>
                </a:lnTo>
                <a:lnTo>
                  <a:pt x="510" y="535"/>
                </a:lnTo>
                <a:lnTo>
                  <a:pt x="634" y="659"/>
                </a:lnTo>
                <a:lnTo>
                  <a:pt x="560" y="734"/>
                </a:lnTo>
                <a:lnTo>
                  <a:pt x="584" y="759"/>
                </a:lnTo>
                <a:lnTo>
                  <a:pt x="609" y="734"/>
                </a:lnTo>
                <a:lnTo>
                  <a:pt x="796" y="921"/>
                </a:lnTo>
                <a:lnTo>
                  <a:pt x="803" y="927"/>
                </a:lnTo>
                <a:lnTo>
                  <a:pt x="809" y="932"/>
                </a:lnTo>
                <a:lnTo>
                  <a:pt x="817" y="937"/>
                </a:lnTo>
                <a:lnTo>
                  <a:pt x="824" y="940"/>
                </a:lnTo>
                <a:lnTo>
                  <a:pt x="833" y="943"/>
                </a:lnTo>
                <a:lnTo>
                  <a:pt x="842" y="945"/>
                </a:lnTo>
                <a:lnTo>
                  <a:pt x="850" y="947"/>
                </a:lnTo>
                <a:lnTo>
                  <a:pt x="859" y="947"/>
                </a:lnTo>
                <a:lnTo>
                  <a:pt x="867" y="947"/>
                </a:lnTo>
                <a:lnTo>
                  <a:pt x="876" y="945"/>
                </a:lnTo>
                <a:lnTo>
                  <a:pt x="885" y="943"/>
                </a:lnTo>
                <a:lnTo>
                  <a:pt x="892" y="940"/>
                </a:lnTo>
                <a:lnTo>
                  <a:pt x="900" y="937"/>
                </a:lnTo>
                <a:lnTo>
                  <a:pt x="907" y="932"/>
                </a:lnTo>
                <a:lnTo>
                  <a:pt x="914" y="927"/>
                </a:lnTo>
                <a:lnTo>
                  <a:pt x="920" y="921"/>
                </a:lnTo>
                <a:lnTo>
                  <a:pt x="927" y="914"/>
                </a:lnTo>
                <a:lnTo>
                  <a:pt x="932" y="908"/>
                </a:lnTo>
                <a:lnTo>
                  <a:pt x="937" y="900"/>
                </a:lnTo>
                <a:lnTo>
                  <a:pt x="940" y="891"/>
                </a:lnTo>
                <a:lnTo>
                  <a:pt x="943" y="884"/>
                </a:lnTo>
                <a:lnTo>
                  <a:pt x="945" y="875"/>
                </a:lnTo>
                <a:lnTo>
                  <a:pt x="946" y="868"/>
                </a:lnTo>
                <a:lnTo>
                  <a:pt x="946" y="859"/>
                </a:lnTo>
                <a:lnTo>
                  <a:pt x="946" y="850"/>
                </a:lnTo>
                <a:lnTo>
                  <a:pt x="945" y="842"/>
                </a:lnTo>
                <a:lnTo>
                  <a:pt x="943" y="833"/>
                </a:lnTo>
                <a:lnTo>
                  <a:pt x="940" y="826"/>
                </a:lnTo>
                <a:lnTo>
                  <a:pt x="937" y="818"/>
                </a:lnTo>
                <a:lnTo>
                  <a:pt x="932" y="810"/>
                </a:lnTo>
                <a:lnTo>
                  <a:pt x="927" y="803"/>
                </a:lnTo>
                <a:lnTo>
                  <a:pt x="920" y="796"/>
                </a:lnTo>
                <a:close/>
              </a:path>
            </a:pathLst>
          </a:custGeom>
          <a:solidFill>
            <a:srgbClr val="548235"/>
          </a:solidFill>
          <a:ln>
            <a:noFill/>
          </a:ln>
        </p:spPr>
        <p:txBody>
          <a:bodyPr vert="horz" wrap="square" lIns="68580" tIns="34290" rIns="68580" bIns="34290" numCol="1" anchor="t" anchorCtr="0" compatLnSpc="1"/>
          <a:lstStyle/>
          <a:p>
            <a:endParaRPr lang="en-US" sz="1015"/>
          </a:p>
        </p:txBody>
      </p:sp>
      <p:grpSp>
        <p:nvGrpSpPr>
          <p:cNvPr id="97" name="Group 96"/>
          <p:cNvGrpSpPr/>
          <p:nvPr/>
        </p:nvGrpSpPr>
        <p:grpSpPr>
          <a:xfrm>
            <a:off x="6116909" y="1967586"/>
            <a:ext cx="209550" cy="304800"/>
            <a:chOff x="1038225" y="5818188"/>
            <a:chExt cx="279400" cy="406400"/>
          </a:xfrm>
          <a:solidFill>
            <a:srgbClr val="548235"/>
          </a:solidFill>
        </p:grpSpPr>
        <p:sp>
          <p:nvSpPr>
            <p:cNvPr id="98" name="Freeform 169"/>
            <p:cNvSpPr/>
            <p:nvPr/>
          </p:nvSpPr>
          <p:spPr bwMode="auto">
            <a:xfrm>
              <a:off x="1038225" y="5818188"/>
              <a:ext cx="279400" cy="334963"/>
            </a:xfrm>
            <a:custGeom>
              <a:avLst/>
              <a:gdLst>
                <a:gd name="T0" fmla="*/ 145 w 705"/>
                <a:gd name="T1" fmla="*/ 637 h 846"/>
                <a:gd name="T2" fmla="*/ 156 w 705"/>
                <a:gd name="T3" fmla="*/ 647 h 846"/>
                <a:gd name="T4" fmla="*/ 188 w 705"/>
                <a:gd name="T5" fmla="*/ 690 h 846"/>
                <a:gd name="T6" fmla="*/ 202 w 705"/>
                <a:gd name="T7" fmla="*/ 718 h 846"/>
                <a:gd name="T8" fmla="*/ 210 w 705"/>
                <a:gd name="T9" fmla="*/ 752 h 846"/>
                <a:gd name="T10" fmla="*/ 212 w 705"/>
                <a:gd name="T11" fmla="*/ 846 h 846"/>
                <a:gd name="T12" fmla="*/ 324 w 705"/>
                <a:gd name="T13" fmla="*/ 416 h 846"/>
                <a:gd name="T14" fmla="*/ 297 w 705"/>
                <a:gd name="T15" fmla="*/ 395 h 846"/>
                <a:gd name="T16" fmla="*/ 283 w 705"/>
                <a:gd name="T17" fmla="*/ 364 h 846"/>
                <a:gd name="T18" fmla="*/ 283 w 705"/>
                <a:gd name="T19" fmla="*/ 338 h 846"/>
                <a:gd name="T20" fmla="*/ 291 w 705"/>
                <a:gd name="T21" fmla="*/ 319 h 846"/>
                <a:gd name="T22" fmla="*/ 303 w 705"/>
                <a:gd name="T23" fmla="*/ 302 h 846"/>
                <a:gd name="T24" fmla="*/ 319 w 705"/>
                <a:gd name="T25" fmla="*/ 289 h 846"/>
                <a:gd name="T26" fmla="*/ 338 w 705"/>
                <a:gd name="T27" fmla="*/ 283 h 846"/>
                <a:gd name="T28" fmla="*/ 360 w 705"/>
                <a:gd name="T29" fmla="*/ 282 h 846"/>
                <a:gd name="T30" fmla="*/ 380 w 705"/>
                <a:gd name="T31" fmla="*/ 287 h 846"/>
                <a:gd name="T32" fmla="*/ 398 w 705"/>
                <a:gd name="T33" fmla="*/ 297 h 846"/>
                <a:gd name="T34" fmla="*/ 411 w 705"/>
                <a:gd name="T35" fmla="*/ 312 h 846"/>
                <a:gd name="T36" fmla="*/ 420 w 705"/>
                <a:gd name="T37" fmla="*/ 330 h 846"/>
                <a:gd name="T38" fmla="*/ 424 w 705"/>
                <a:gd name="T39" fmla="*/ 352 h 846"/>
                <a:gd name="T40" fmla="*/ 415 w 705"/>
                <a:gd name="T41" fmla="*/ 385 h 846"/>
                <a:gd name="T42" fmla="*/ 391 w 705"/>
                <a:gd name="T43" fmla="*/ 410 h 846"/>
                <a:gd name="T44" fmla="*/ 371 w 705"/>
                <a:gd name="T45" fmla="*/ 846 h 846"/>
                <a:gd name="T46" fmla="*/ 494 w 705"/>
                <a:gd name="T47" fmla="*/ 762 h 846"/>
                <a:gd name="T48" fmla="*/ 500 w 705"/>
                <a:gd name="T49" fmla="*/ 727 h 846"/>
                <a:gd name="T50" fmla="*/ 513 w 705"/>
                <a:gd name="T51" fmla="*/ 695 h 846"/>
                <a:gd name="T52" fmla="*/ 540 w 705"/>
                <a:gd name="T53" fmla="*/ 654 h 846"/>
                <a:gd name="T54" fmla="*/ 564 w 705"/>
                <a:gd name="T55" fmla="*/ 634 h 846"/>
                <a:gd name="T56" fmla="*/ 609 w 705"/>
                <a:gd name="T57" fmla="*/ 594 h 846"/>
                <a:gd name="T58" fmla="*/ 646 w 705"/>
                <a:gd name="T59" fmla="*/ 547 h 846"/>
                <a:gd name="T60" fmla="*/ 675 w 705"/>
                <a:gd name="T61" fmla="*/ 495 h 846"/>
                <a:gd name="T62" fmla="*/ 696 w 705"/>
                <a:gd name="T63" fmla="*/ 436 h 846"/>
                <a:gd name="T64" fmla="*/ 704 w 705"/>
                <a:gd name="T65" fmla="*/ 374 h 846"/>
                <a:gd name="T66" fmla="*/ 703 w 705"/>
                <a:gd name="T67" fmla="*/ 316 h 846"/>
                <a:gd name="T68" fmla="*/ 695 w 705"/>
                <a:gd name="T69" fmla="*/ 265 h 846"/>
                <a:gd name="T70" fmla="*/ 677 w 705"/>
                <a:gd name="T71" fmla="*/ 215 h 846"/>
                <a:gd name="T72" fmla="*/ 655 w 705"/>
                <a:gd name="T73" fmla="*/ 169 h 846"/>
                <a:gd name="T74" fmla="*/ 624 w 705"/>
                <a:gd name="T75" fmla="*/ 128 h 846"/>
                <a:gd name="T76" fmla="*/ 590 w 705"/>
                <a:gd name="T77" fmla="*/ 92 h 846"/>
                <a:gd name="T78" fmla="*/ 550 w 705"/>
                <a:gd name="T79" fmla="*/ 60 h 846"/>
                <a:gd name="T80" fmla="*/ 506 w 705"/>
                <a:gd name="T81" fmla="*/ 34 h 846"/>
                <a:gd name="T82" fmla="*/ 457 w 705"/>
                <a:gd name="T83" fmla="*/ 15 h 846"/>
                <a:gd name="T84" fmla="*/ 406 w 705"/>
                <a:gd name="T85" fmla="*/ 3 h 846"/>
                <a:gd name="T86" fmla="*/ 352 w 705"/>
                <a:gd name="T87" fmla="*/ 0 h 846"/>
                <a:gd name="T88" fmla="*/ 299 w 705"/>
                <a:gd name="T89" fmla="*/ 3 h 846"/>
                <a:gd name="T90" fmla="*/ 247 w 705"/>
                <a:gd name="T91" fmla="*/ 15 h 846"/>
                <a:gd name="T92" fmla="*/ 200 w 705"/>
                <a:gd name="T93" fmla="*/ 34 h 846"/>
                <a:gd name="T94" fmla="*/ 156 w 705"/>
                <a:gd name="T95" fmla="*/ 60 h 846"/>
                <a:gd name="T96" fmla="*/ 116 w 705"/>
                <a:gd name="T97" fmla="*/ 92 h 846"/>
                <a:gd name="T98" fmla="*/ 80 w 705"/>
                <a:gd name="T99" fmla="*/ 128 h 846"/>
                <a:gd name="T100" fmla="*/ 51 w 705"/>
                <a:gd name="T101" fmla="*/ 169 h 846"/>
                <a:gd name="T102" fmla="*/ 27 w 705"/>
                <a:gd name="T103" fmla="*/ 215 h 846"/>
                <a:gd name="T104" fmla="*/ 11 w 705"/>
                <a:gd name="T105" fmla="*/ 265 h 846"/>
                <a:gd name="T106" fmla="*/ 1 w 705"/>
                <a:gd name="T107" fmla="*/ 316 h 846"/>
                <a:gd name="T108" fmla="*/ 0 w 705"/>
                <a:gd name="T109" fmla="*/ 374 h 846"/>
                <a:gd name="T110" fmla="*/ 10 w 705"/>
                <a:gd name="T111" fmla="*/ 435 h 846"/>
                <a:gd name="T112" fmla="*/ 29 w 705"/>
                <a:gd name="T113" fmla="*/ 493 h 846"/>
                <a:gd name="T114" fmla="*/ 58 w 705"/>
                <a:gd name="T115" fmla="*/ 546 h 846"/>
                <a:gd name="T116" fmla="*/ 95 w 705"/>
                <a:gd name="T117" fmla="*/ 593 h 846"/>
                <a:gd name="T118" fmla="*/ 139 w 705"/>
                <a:gd name="T119" fmla="*/ 633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5" h="846">
                  <a:moveTo>
                    <a:pt x="139" y="633"/>
                  </a:moveTo>
                  <a:lnTo>
                    <a:pt x="142" y="635"/>
                  </a:lnTo>
                  <a:lnTo>
                    <a:pt x="145" y="637"/>
                  </a:lnTo>
                  <a:lnTo>
                    <a:pt x="145" y="637"/>
                  </a:lnTo>
                  <a:lnTo>
                    <a:pt x="145" y="637"/>
                  </a:lnTo>
                  <a:lnTo>
                    <a:pt x="156" y="647"/>
                  </a:lnTo>
                  <a:lnTo>
                    <a:pt x="166" y="659"/>
                  </a:lnTo>
                  <a:lnTo>
                    <a:pt x="178" y="673"/>
                  </a:lnTo>
                  <a:lnTo>
                    <a:pt x="188" y="690"/>
                  </a:lnTo>
                  <a:lnTo>
                    <a:pt x="193" y="699"/>
                  </a:lnTo>
                  <a:lnTo>
                    <a:pt x="198" y="708"/>
                  </a:lnTo>
                  <a:lnTo>
                    <a:pt x="202" y="718"/>
                  </a:lnTo>
                  <a:lnTo>
                    <a:pt x="205" y="729"/>
                  </a:lnTo>
                  <a:lnTo>
                    <a:pt x="207" y="740"/>
                  </a:lnTo>
                  <a:lnTo>
                    <a:pt x="210" y="752"/>
                  </a:lnTo>
                  <a:lnTo>
                    <a:pt x="211" y="763"/>
                  </a:lnTo>
                  <a:lnTo>
                    <a:pt x="212" y="775"/>
                  </a:lnTo>
                  <a:lnTo>
                    <a:pt x="212" y="846"/>
                  </a:lnTo>
                  <a:lnTo>
                    <a:pt x="335" y="846"/>
                  </a:lnTo>
                  <a:lnTo>
                    <a:pt x="335" y="420"/>
                  </a:lnTo>
                  <a:lnTo>
                    <a:pt x="324" y="416"/>
                  </a:lnTo>
                  <a:lnTo>
                    <a:pt x="313" y="410"/>
                  </a:lnTo>
                  <a:lnTo>
                    <a:pt x="305" y="404"/>
                  </a:lnTo>
                  <a:lnTo>
                    <a:pt x="297" y="395"/>
                  </a:lnTo>
                  <a:lnTo>
                    <a:pt x="291" y="385"/>
                  </a:lnTo>
                  <a:lnTo>
                    <a:pt x="286" y="375"/>
                  </a:lnTo>
                  <a:lnTo>
                    <a:pt x="283" y="364"/>
                  </a:lnTo>
                  <a:lnTo>
                    <a:pt x="282" y="352"/>
                  </a:lnTo>
                  <a:lnTo>
                    <a:pt x="282" y="344"/>
                  </a:lnTo>
                  <a:lnTo>
                    <a:pt x="283" y="338"/>
                  </a:lnTo>
                  <a:lnTo>
                    <a:pt x="285" y="330"/>
                  </a:lnTo>
                  <a:lnTo>
                    <a:pt x="287" y="324"/>
                  </a:lnTo>
                  <a:lnTo>
                    <a:pt x="291" y="319"/>
                  </a:lnTo>
                  <a:lnTo>
                    <a:pt x="294" y="312"/>
                  </a:lnTo>
                  <a:lnTo>
                    <a:pt x="298" y="307"/>
                  </a:lnTo>
                  <a:lnTo>
                    <a:pt x="303" y="302"/>
                  </a:lnTo>
                  <a:lnTo>
                    <a:pt x="308" y="297"/>
                  </a:lnTo>
                  <a:lnTo>
                    <a:pt x="313" y="294"/>
                  </a:lnTo>
                  <a:lnTo>
                    <a:pt x="319" y="289"/>
                  </a:lnTo>
                  <a:lnTo>
                    <a:pt x="325" y="287"/>
                  </a:lnTo>
                  <a:lnTo>
                    <a:pt x="332" y="284"/>
                  </a:lnTo>
                  <a:lnTo>
                    <a:pt x="338" y="283"/>
                  </a:lnTo>
                  <a:lnTo>
                    <a:pt x="346" y="282"/>
                  </a:lnTo>
                  <a:lnTo>
                    <a:pt x="352" y="281"/>
                  </a:lnTo>
                  <a:lnTo>
                    <a:pt x="360" y="282"/>
                  </a:lnTo>
                  <a:lnTo>
                    <a:pt x="366" y="283"/>
                  </a:lnTo>
                  <a:lnTo>
                    <a:pt x="374" y="284"/>
                  </a:lnTo>
                  <a:lnTo>
                    <a:pt x="380" y="287"/>
                  </a:lnTo>
                  <a:lnTo>
                    <a:pt x="386" y="289"/>
                  </a:lnTo>
                  <a:lnTo>
                    <a:pt x="392" y="294"/>
                  </a:lnTo>
                  <a:lnTo>
                    <a:pt x="398" y="297"/>
                  </a:lnTo>
                  <a:lnTo>
                    <a:pt x="403" y="302"/>
                  </a:lnTo>
                  <a:lnTo>
                    <a:pt x="407" y="307"/>
                  </a:lnTo>
                  <a:lnTo>
                    <a:pt x="411" y="312"/>
                  </a:lnTo>
                  <a:lnTo>
                    <a:pt x="415" y="319"/>
                  </a:lnTo>
                  <a:lnTo>
                    <a:pt x="417" y="324"/>
                  </a:lnTo>
                  <a:lnTo>
                    <a:pt x="420" y="330"/>
                  </a:lnTo>
                  <a:lnTo>
                    <a:pt x="421" y="338"/>
                  </a:lnTo>
                  <a:lnTo>
                    <a:pt x="422" y="344"/>
                  </a:lnTo>
                  <a:lnTo>
                    <a:pt x="424" y="352"/>
                  </a:lnTo>
                  <a:lnTo>
                    <a:pt x="422" y="364"/>
                  </a:lnTo>
                  <a:lnTo>
                    <a:pt x="419" y="375"/>
                  </a:lnTo>
                  <a:lnTo>
                    <a:pt x="415" y="385"/>
                  </a:lnTo>
                  <a:lnTo>
                    <a:pt x="408" y="395"/>
                  </a:lnTo>
                  <a:lnTo>
                    <a:pt x="400" y="404"/>
                  </a:lnTo>
                  <a:lnTo>
                    <a:pt x="391" y="410"/>
                  </a:lnTo>
                  <a:lnTo>
                    <a:pt x="381" y="416"/>
                  </a:lnTo>
                  <a:lnTo>
                    <a:pt x="371" y="420"/>
                  </a:lnTo>
                  <a:lnTo>
                    <a:pt x="371" y="846"/>
                  </a:lnTo>
                  <a:lnTo>
                    <a:pt x="494" y="846"/>
                  </a:lnTo>
                  <a:lnTo>
                    <a:pt x="494" y="775"/>
                  </a:lnTo>
                  <a:lnTo>
                    <a:pt x="494" y="762"/>
                  </a:lnTo>
                  <a:lnTo>
                    <a:pt x="496" y="751"/>
                  </a:lnTo>
                  <a:lnTo>
                    <a:pt x="498" y="738"/>
                  </a:lnTo>
                  <a:lnTo>
                    <a:pt x="500" y="727"/>
                  </a:lnTo>
                  <a:lnTo>
                    <a:pt x="505" y="716"/>
                  </a:lnTo>
                  <a:lnTo>
                    <a:pt x="508" y="705"/>
                  </a:lnTo>
                  <a:lnTo>
                    <a:pt x="513" y="695"/>
                  </a:lnTo>
                  <a:lnTo>
                    <a:pt x="517" y="686"/>
                  </a:lnTo>
                  <a:lnTo>
                    <a:pt x="528" y="670"/>
                  </a:lnTo>
                  <a:lnTo>
                    <a:pt x="540" y="654"/>
                  </a:lnTo>
                  <a:lnTo>
                    <a:pt x="553" y="644"/>
                  </a:lnTo>
                  <a:lnTo>
                    <a:pt x="564" y="634"/>
                  </a:lnTo>
                  <a:lnTo>
                    <a:pt x="564" y="634"/>
                  </a:lnTo>
                  <a:lnTo>
                    <a:pt x="580" y="622"/>
                  </a:lnTo>
                  <a:lnTo>
                    <a:pt x="595" y="608"/>
                  </a:lnTo>
                  <a:lnTo>
                    <a:pt x="609" y="594"/>
                  </a:lnTo>
                  <a:lnTo>
                    <a:pt x="622" y="579"/>
                  </a:lnTo>
                  <a:lnTo>
                    <a:pt x="635" y="564"/>
                  </a:lnTo>
                  <a:lnTo>
                    <a:pt x="646" y="547"/>
                  </a:lnTo>
                  <a:lnTo>
                    <a:pt x="657" y="530"/>
                  </a:lnTo>
                  <a:lnTo>
                    <a:pt x="667" y="512"/>
                  </a:lnTo>
                  <a:lnTo>
                    <a:pt x="675" y="495"/>
                  </a:lnTo>
                  <a:lnTo>
                    <a:pt x="683" y="475"/>
                  </a:lnTo>
                  <a:lnTo>
                    <a:pt x="690" y="456"/>
                  </a:lnTo>
                  <a:lnTo>
                    <a:pt x="696" y="436"/>
                  </a:lnTo>
                  <a:lnTo>
                    <a:pt x="700" y="416"/>
                  </a:lnTo>
                  <a:lnTo>
                    <a:pt x="703" y="395"/>
                  </a:lnTo>
                  <a:lnTo>
                    <a:pt x="704" y="374"/>
                  </a:lnTo>
                  <a:lnTo>
                    <a:pt x="705" y="352"/>
                  </a:lnTo>
                  <a:lnTo>
                    <a:pt x="704" y="334"/>
                  </a:lnTo>
                  <a:lnTo>
                    <a:pt x="703" y="316"/>
                  </a:lnTo>
                  <a:lnTo>
                    <a:pt x="701" y="299"/>
                  </a:lnTo>
                  <a:lnTo>
                    <a:pt x="698" y="281"/>
                  </a:lnTo>
                  <a:lnTo>
                    <a:pt x="695" y="265"/>
                  </a:lnTo>
                  <a:lnTo>
                    <a:pt x="689" y="247"/>
                  </a:lnTo>
                  <a:lnTo>
                    <a:pt x="684" y="231"/>
                  </a:lnTo>
                  <a:lnTo>
                    <a:pt x="677" y="215"/>
                  </a:lnTo>
                  <a:lnTo>
                    <a:pt x="671" y="200"/>
                  </a:lnTo>
                  <a:lnTo>
                    <a:pt x="662" y="185"/>
                  </a:lnTo>
                  <a:lnTo>
                    <a:pt x="655" y="169"/>
                  </a:lnTo>
                  <a:lnTo>
                    <a:pt x="645" y="155"/>
                  </a:lnTo>
                  <a:lnTo>
                    <a:pt x="635" y="141"/>
                  </a:lnTo>
                  <a:lnTo>
                    <a:pt x="624" y="128"/>
                  </a:lnTo>
                  <a:lnTo>
                    <a:pt x="614" y="115"/>
                  </a:lnTo>
                  <a:lnTo>
                    <a:pt x="602" y="103"/>
                  </a:lnTo>
                  <a:lnTo>
                    <a:pt x="590" y="92"/>
                  </a:lnTo>
                  <a:lnTo>
                    <a:pt x="577" y="80"/>
                  </a:lnTo>
                  <a:lnTo>
                    <a:pt x="564" y="70"/>
                  </a:lnTo>
                  <a:lnTo>
                    <a:pt x="550" y="60"/>
                  </a:lnTo>
                  <a:lnTo>
                    <a:pt x="536" y="51"/>
                  </a:lnTo>
                  <a:lnTo>
                    <a:pt x="521" y="42"/>
                  </a:lnTo>
                  <a:lnTo>
                    <a:pt x="506" y="34"/>
                  </a:lnTo>
                  <a:lnTo>
                    <a:pt x="489" y="27"/>
                  </a:lnTo>
                  <a:lnTo>
                    <a:pt x="474" y="22"/>
                  </a:lnTo>
                  <a:lnTo>
                    <a:pt x="457" y="15"/>
                  </a:lnTo>
                  <a:lnTo>
                    <a:pt x="441" y="11"/>
                  </a:lnTo>
                  <a:lnTo>
                    <a:pt x="424" y="6"/>
                  </a:lnTo>
                  <a:lnTo>
                    <a:pt x="406" y="3"/>
                  </a:lnTo>
                  <a:lnTo>
                    <a:pt x="389" y="1"/>
                  </a:lnTo>
                  <a:lnTo>
                    <a:pt x="371" y="0"/>
                  </a:lnTo>
                  <a:lnTo>
                    <a:pt x="352" y="0"/>
                  </a:lnTo>
                  <a:lnTo>
                    <a:pt x="335" y="0"/>
                  </a:lnTo>
                  <a:lnTo>
                    <a:pt x="317" y="1"/>
                  </a:lnTo>
                  <a:lnTo>
                    <a:pt x="299" y="3"/>
                  </a:lnTo>
                  <a:lnTo>
                    <a:pt x="282" y="6"/>
                  </a:lnTo>
                  <a:lnTo>
                    <a:pt x="265" y="11"/>
                  </a:lnTo>
                  <a:lnTo>
                    <a:pt x="247" y="15"/>
                  </a:lnTo>
                  <a:lnTo>
                    <a:pt x="231" y="22"/>
                  </a:lnTo>
                  <a:lnTo>
                    <a:pt x="215" y="27"/>
                  </a:lnTo>
                  <a:lnTo>
                    <a:pt x="200" y="34"/>
                  </a:lnTo>
                  <a:lnTo>
                    <a:pt x="185" y="42"/>
                  </a:lnTo>
                  <a:lnTo>
                    <a:pt x="170" y="51"/>
                  </a:lnTo>
                  <a:lnTo>
                    <a:pt x="156" y="60"/>
                  </a:lnTo>
                  <a:lnTo>
                    <a:pt x="142" y="70"/>
                  </a:lnTo>
                  <a:lnTo>
                    <a:pt x="129" y="80"/>
                  </a:lnTo>
                  <a:lnTo>
                    <a:pt x="116" y="92"/>
                  </a:lnTo>
                  <a:lnTo>
                    <a:pt x="103" y="103"/>
                  </a:lnTo>
                  <a:lnTo>
                    <a:pt x="92" y="115"/>
                  </a:lnTo>
                  <a:lnTo>
                    <a:pt x="80" y="128"/>
                  </a:lnTo>
                  <a:lnTo>
                    <a:pt x="70" y="141"/>
                  </a:lnTo>
                  <a:lnTo>
                    <a:pt x="61" y="155"/>
                  </a:lnTo>
                  <a:lnTo>
                    <a:pt x="51" y="169"/>
                  </a:lnTo>
                  <a:lnTo>
                    <a:pt x="42" y="185"/>
                  </a:lnTo>
                  <a:lnTo>
                    <a:pt x="35" y="200"/>
                  </a:lnTo>
                  <a:lnTo>
                    <a:pt x="27" y="215"/>
                  </a:lnTo>
                  <a:lnTo>
                    <a:pt x="22" y="231"/>
                  </a:lnTo>
                  <a:lnTo>
                    <a:pt x="15" y="247"/>
                  </a:lnTo>
                  <a:lnTo>
                    <a:pt x="11" y="265"/>
                  </a:lnTo>
                  <a:lnTo>
                    <a:pt x="7" y="281"/>
                  </a:lnTo>
                  <a:lnTo>
                    <a:pt x="4" y="299"/>
                  </a:lnTo>
                  <a:lnTo>
                    <a:pt x="1" y="316"/>
                  </a:lnTo>
                  <a:lnTo>
                    <a:pt x="0" y="334"/>
                  </a:lnTo>
                  <a:lnTo>
                    <a:pt x="0" y="352"/>
                  </a:lnTo>
                  <a:lnTo>
                    <a:pt x="0" y="374"/>
                  </a:lnTo>
                  <a:lnTo>
                    <a:pt x="2" y="395"/>
                  </a:lnTo>
                  <a:lnTo>
                    <a:pt x="6" y="416"/>
                  </a:lnTo>
                  <a:lnTo>
                    <a:pt x="10" y="435"/>
                  </a:lnTo>
                  <a:lnTo>
                    <a:pt x="15" y="456"/>
                  </a:lnTo>
                  <a:lnTo>
                    <a:pt x="22" y="475"/>
                  </a:lnTo>
                  <a:lnTo>
                    <a:pt x="29" y="493"/>
                  </a:lnTo>
                  <a:lnTo>
                    <a:pt x="38" y="512"/>
                  </a:lnTo>
                  <a:lnTo>
                    <a:pt x="48" y="529"/>
                  </a:lnTo>
                  <a:lnTo>
                    <a:pt x="58" y="546"/>
                  </a:lnTo>
                  <a:lnTo>
                    <a:pt x="69" y="563"/>
                  </a:lnTo>
                  <a:lnTo>
                    <a:pt x="82" y="578"/>
                  </a:lnTo>
                  <a:lnTo>
                    <a:pt x="95" y="593"/>
                  </a:lnTo>
                  <a:lnTo>
                    <a:pt x="109" y="607"/>
                  </a:lnTo>
                  <a:lnTo>
                    <a:pt x="124" y="621"/>
                  </a:lnTo>
                  <a:lnTo>
                    <a:pt x="139" y="633"/>
                  </a:lnTo>
                  <a:lnTo>
                    <a:pt x="139" y="63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99" name="Rectangle 170"/>
            <p:cNvSpPr>
              <a:spLocks noChangeArrowheads="1"/>
            </p:cNvSpPr>
            <p:nvPr/>
          </p:nvSpPr>
          <p:spPr bwMode="auto">
            <a:xfrm>
              <a:off x="1122362" y="6167438"/>
              <a:ext cx="1111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en-US" sz="1015"/>
            </a:p>
          </p:txBody>
        </p:sp>
      </p:gr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278279" y="7566"/>
            <a:ext cx="3885248" cy="5141701"/>
          </a:xfrm>
          <a:prstGeom prst="rect">
            <a:avLst/>
          </a:prstGeom>
        </p:spPr>
      </p:pic>
      <p:sp>
        <p:nvSpPr>
          <p:cNvPr id="5" name="矩形 4"/>
          <p:cNvSpPr/>
          <p:nvPr/>
        </p:nvSpPr>
        <p:spPr>
          <a:xfrm>
            <a:off x="476" y="1245870"/>
            <a:ext cx="5964555" cy="247935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 name="文本框 5"/>
          <p:cNvSpPr txBox="1"/>
          <p:nvPr/>
        </p:nvSpPr>
        <p:spPr>
          <a:xfrm>
            <a:off x="357188" y="1648777"/>
            <a:ext cx="4508183" cy="923330"/>
          </a:xfrm>
          <a:prstGeom prst="rect">
            <a:avLst/>
          </a:prstGeom>
          <a:noFill/>
        </p:spPr>
        <p:txBody>
          <a:bodyPr wrap="square" rtlCol="0">
            <a:spAutoFit/>
          </a:bodyPr>
          <a:lstStyle/>
          <a:p>
            <a:pPr algn="dist"/>
            <a:r>
              <a:rPr lang="en-US" altLang="zh-CN" sz="5400" dirty="0">
                <a:solidFill>
                  <a:schemeClr val="bg1"/>
                </a:solidFill>
                <a:latin typeface="LeviBrush" panose="00000400000000000000" charset="0"/>
                <a:ea typeface="方正清刻本悦宋简体" panose="02000000000000000000" charset="-122"/>
                <a:cs typeface="LeviBrush" panose="00000400000000000000" charset="0"/>
                <a:sym typeface="+mn-ea"/>
              </a:rPr>
              <a:t>PART </a:t>
            </a:r>
            <a:r>
              <a:rPr lang="en-US" altLang="zh-CN" sz="5400" dirty="0" smtClean="0">
                <a:solidFill>
                  <a:schemeClr val="bg1"/>
                </a:solidFill>
                <a:latin typeface="LeviBrush" panose="00000400000000000000" charset="0"/>
                <a:ea typeface="方正清刻本悦宋简体" panose="02000000000000000000" charset="-122"/>
                <a:cs typeface="LeviBrush" panose="00000400000000000000" charset="0"/>
                <a:sym typeface="+mn-ea"/>
              </a:rPr>
              <a:t>FOUR</a:t>
            </a:r>
            <a:endParaRPr lang="en-US" altLang="zh-CN" sz="5400" dirty="0">
              <a:solidFill>
                <a:schemeClr val="bg1"/>
              </a:solidFill>
              <a:latin typeface="LeviBrush" panose="00000400000000000000" charset="0"/>
              <a:ea typeface="方正清刻本悦宋简体" panose="02000000000000000000" charset="-122"/>
              <a:cs typeface="LeviBrush" panose="00000400000000000000" charset="0"/>
              <a:sym typeface="+mn-ea"/>
            </a:endParaRPr>
          </a:p>
        </p:txBody>
      </p:sp>
      <p:sp>
        <p:nvSpPr>
          <p:cNvPr id="7" name="文本框 6"/>
          <p:cNvSpPr txBox="1"/>
          <p:nvPr/>
        </p:nvSpPr>
        <p:spPr>
          <a:xfrm>
            <a:off x="369094" y="2945130"/>
            <a:ext cx="5183029"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00000"/>
              </a:lnSpc>
            </a:pP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endParaRPr lang="en-US" altLang="zh-CN" sz="600" kern="0" dirty="0">
              <a:solidFill>
                <a:schemeClr val="bg1"/>
              </a:solidFill>
              <a:ea typeface="微软雅黑" panose="020B0503020204020204" charset="-122"/>
              <a:sym typeface="Arial" panose="020B0604020202020204" pitchFamily="34" charset="0"/>
            </a:endParaRPr>
          </a:p>
        </p:txBody>
      </p:sp>
      <p:sp>
        <p:nvSpPr>
          <p:cNvPr id="8" name="文本框 7"/>
          <p:cNvSpPr txBox="1"/>
          <p:nvPr/>
        </p:nvSpPr>
        <p:spPr>
          <a:xfrm>
            <a:off x="417196" y="2461261"/>
            <a:ext cx="3566636" cy="507831"/>
          </a:xfrm>
          <a:prstGeom prst="rect">
            <a:avLst/>
          </a:prstGeom>
          <a:noFill/>
        </p:spPr>
        <p:txBody>
          <a:bodyPr wrap="square" rtlCol="0">
            <a:spAutoFit/>
          </a:bodyPr>
          <a:lstStyle/>
          <a:p>
            <a:pPr algn="l"/>
            <a:r>
              <a:rPr lang="en-US" altLang="zh-CN" sz="2700" dirty="0">
                <a:solidFill>
                  <a:schemeClr val="bg1"/>
                </a:solidFill>
                <a:ea typeface="方正清刻本悦宋简体" panose="02000000000000000000" charset="-122"/>
                <a:cs typeface="+mn-lt"/>
                <a:sym typeface="+mn-ea"/>
              </a:rPr>
              <a:t>ADD YOUR TEXT HERE</a:t>
            </a:r>
            <a:endParaRPr lang="en-US" altLang="zh-CN" sz="2700" dirty="0">
              <a:solidFill>
                <a:schemeClr val="bg1"/>
              </a:solidFill>
              <a:ea typeface="方正清刻本悦宋简体" panose="02000000000000000000" charset="-122"/>
              <a:cs typeface="+mn-lt"/>
              <a:sym typeface="+mn-ea"/>
            </a:endParaRPr>
          </a:p>
        </p:txBody>
      </p:sp>
      <p:grpSp>
        <p:nvGrpSpPr>
          <p:cNvPr id="9" name="组合 8"/>
          <p:cNvGrpSpPr/>
          <p:nvPr/>
        </p:nvGrpSpPr>
        <p:grpSpPr>
          <a:xfrm>
            <a:off x="5714048" y="1710214"/>
            <a:ext cx="509111" cy="145733"/>
            <a:chOff x="7833" y="2869"/>
            <a:chExt cx="1614" cy="426"/>
          </a:xfrm>
        </p:grpSpPr>
        <p:sp>
          <p:nvSpPr>
            <p:cNvPr id="10" name="任意多边形 9"/>
            <p:cNvSpPr/>
            <p:nvPr/>
          </p:nvSpPr>
          <p:spPr>
            <a:xfrm>
              <a:off x="7833" y="2869"/>
              <a:ext cx="1615" cy="142"/>
            </a:xfrm>
            <a:custGeom>
              <a:avLst/>
              <a:gdLst>
                <a:gd name="connisteX0" fmla="*/ 0 w 1025320"/>
                <a:gd name="connsiteY0" fmla="*/ 51640 h 90133"/>
                <a:gd name="connisteX1" fmla="*/ 95250 w 1025320"/>
                <a:gd name="connsiteY1" fmla="*/ 840 h 90133"/>
                <a:gd name="connisteX2" fmla="*/ 209550 w 1025320"/>
                <a:gd name="connsiteY2" fmla="*/ 89740 h 90133"/>
                <a:gd name="connisteX3" fmla="*/ 425450 w 1025320"/>
                <a:gd name="connsiteY3" fmla="*/ 840 h 90133"/>
                <a:gd name="connisteX4" fmla="*/ 565150 w 1025320"/>
                <a:gd name="connsiteY4" fmla="*/ 77040 h 90133"/>
                <a:gd name="connisteX5" fmla="*/ 781050 w 1025320"/>
                <a:gd name="connsiteY5" fmla="*/ 13540 h 90133"/>
                <a:gd name="connisteX6" fmla="*/ 914400 w 1025320"/>
                <a:gd name="connsiteY6" fmla="*/ 89740 h 90133"/>
                <a:gd name="connisteX7" fmla="*/ 1016000 w 1025320"/>
                <a:gd name="connsiteY7" fmla="*/ 38940 h 90133"/>
                <a:gd name="connisteX8" fmla="*/ 1016000 w 1025320"/>
                <a:gd name="connsiteY8" fmla="*/ 38940 h 90133"/>
                <a:gd name="connisteX9" fmla="*/ 1009650 w 1025320"/>
                <a:gd name="connsiteY9" fmla="*/ 38940 h 901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025320" h="90133">
                  <a:moveTo>
                    <a:pt x="0" y="51641"/>
                  </a:moveTo>
                  <a:cubicBezTo>
                    <a:pt x="16510" y="39576"/>
                    <a:pt x="53340" y="-6779"/>
                    <a:pt x="95250" y="841"/>
                  </a:cubicBezTo>
                  <a:cubicBezTo>
                    <a:pt x="137160" y="8461"/>
                    <a:pt x="143510" y="89741"/>
                    <a:pt x="209550" y="89741"/>
                  </a:cubicBezTo>
                  <a:cubicBezTo>
                    <a:pt x="275590" y="89741"/>
                    <a:pt x="354330" y="3381"/>
                    <a:pt x="425450" y="841"/>
                  </a:cubicBezTo>
                  <a:cubicBezTo>
                    <a:pt x="496570" y="-1699"/>
                    <a:pt x="494030" y="74501"/>
                    <a:pt x="565150" y="77041"/>
                  </a:cubicBezTo>
                  <a:cubicBezTo>
                    <a:pt x="636270" y="79581"/>
                    <a:pt x="711200" y="11001"/>
                    <a:pt x="781050" y="13541"/>
                  </a:cubicBezTo>
                  <a:cubicBezTo>
                    <a:pt x="850900" y="16081"/>
                    <a:pt x="867410" y="84661"/>
                    <a:pt x="914400" y="89741"/>
                  </a:cubicBezTo>
                  <a:cubicBezTo>
                    <a:pt x="961390" y="94821"/>
                    <a:pt x="995680" y="49101"/>
                    <a:pt x="1016000" y="38941"/>
                  </a:cubicBezTo>
                  <a:cubicBezTo>
                    <a:pt x="1036320" y="28781"/>
                    <a:pt x="1017270" y="38941"/>
                    <a:pt x="1016000" y="38941"/>
                  </a:cubicBezTo>
                  <a:cubicBezTo>
                    <a:pt x="1014730" y="38941"/>
                    <a:pt x="1010920" y="38941"/>
                    <a:pt x="1009650" y="38941"/>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任意多边形 10"/>
            <p:cNvSpPr/>
            <p:nvPr/>
          </p:nvSpPr>
          <p:spPr>
            <a:xfrm>
              <a:off x="7833" y="3011"/>
              <a:ext cx="1615" cy="142"/>
            </a:xfrm>
            <a:custGeom>
              <a:avLst/>
              <a:gdLst>
                <a:gd name="connisteX0" fmla="*/ 0 w 1025320"/>
                <a:gd name="connsiteY0" fmla="*/ 51640 h 90133"/>
                <a:gd name="connisteX1" fmla="*/ 95250 w 1025320"/>
                <a:gd name="connsiteY1" fmla="*/ 840 h 90133"/>
                <a:gd name="connisteX2" fmla="*/ 209550 w 1025320"/>
                <a:gd name="connsiteY2" fmla="*/ 89740 h 90133"/>
                <a:gd name="connisteX3" fmla="*/ 425450 w 1025320"/>
                <a:gd name="connsiteY3" fmla="*/ 840 h 90133"/>
                <a:gd name="connisteX4" fmla="*/ 565150 w 1025320"/>
                <a:gd name="connsiteY4" fmla="*/ 77040 h 90133"/>
                <a:gd name="connisteX5" fmla="*/ 781050 w 1025320"/>
                <a:gd name="connsiteY5" fmla="*/ 13540 h 90133"/>
                <a:gd name="connisteX6" fmla="*/ 914400 w 1025320"/>
                <a:gd name="connsiteY6" fmla="*/ 89740 h 90133"/>
                <a:gd name="connisteX7" fmla="*/ 1016000 w 1025320"/>
                <a:gd name="connsiteY7" fmla="*/ 38940 h 90133"/>
                <a:gd name="connisteX8" fmla="*/ 1016000 w 1025320"/>
                <a:gd name="connsiteY8" fmla="*/ 38940 h 90133"/>
                <a:gd name="connisteX9" fmla="*/ 1009650 w 1025320"/>
                <a:gd name="connsiteY9" fmla="*/ 38940 h 901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025320" h="90133">
                  <a:moveTo>
                    <a:pt x="0" y="51641"/>
                  </a:moveTo>
                  <a:cubicBezTo>
                    <a:pt x="16510" y="39576"/>
                    <a:pt x="53340" y="-6779"/>
                    <a:pt x="95250" y="841"/>
                  </a:cubicBezTo>
                  <a:cubicBezTo>
                    <a:pt x="137160" y="8461"/>
                    <a:pt x="143510" y="89741"/>
                    <a:pt x="209550" y="89741"/>
                  </a:cubicBezTo>
                  <a:cubicBezTo>
                    <a:pt x="275590" y="89741"/>
                    <a:pt x="354330" y="3381"/>
                    <a:pt x="425450" y="841"/>
                  </a:cubicBezTo>
                  <a:cubicBezTo>
                    <a:pt x="496570" y="-1699"/>
                    <a:pt x="494030" y="74501"/>
                    <a:pt x="565150" y="77041"/>
                  </a:cubicBezTo>
                  <a:cubicBezTo>
                    <a:pt x="636270" y="79581"/>
                    <a:pt x="711200" y="11001"/>
                    <a:pt x="781050" y="13541"/>
                  </a:cubicBezTo>
                  <a:cubicBezTo>
                    <a:pt x="850900" y="16081"/>
                    <a:pt x="867410" y="84661"/>
                    <a:pt x="914400" y="89741"/>
                  </a:cubicBezTo>
                  <a:cubicBezTo>
                    <a:pt x="961390" y="94821"/>
                    <a:pt x="995680" y="49101"/>
                    <a:pt x="1016000" y="38941"/>
                  </a:cubicBezTo>
                  <a:cubicBezTo>
                    <a:pt x="1036320" y="28781"/>
                    <a:pt x="1017270" y="38941"/>
                    <a:pt x="1016000" y="38941"/>
                  </a:cubicBezTo>
                  <a:cubicBezTo>
                    <a:pt x="1014730" y="38941"/>
                    <a:pt x="1010920" y="38941"/>
                    <a:pt x="1009650" y="38941"/>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 name="任意多边形 11"/>
            <p:cNvSpPr/>
            <p:nvPr/>
          </p:nvSpPr>
          <p:spPr>
            <a:xfrm>
              <a:off x="7833" y="3153"/>
              <a:ext cx="1615" cy="142"/>
            </a:xfrm>
            <a:custGeom>
              <a:avLst/>
              <a:gdLst>
                <a:gd name="connisteX0" fmla="*/ 0 w 1025320"/>
                <a:gd name="connsiteY0" fmla="*/ 51640 h 90133"/>
                <a:gd name="connisteX1" fmla="*/ 95250 w 1025320"/>
                <a:gd name="connsiteY1" fmla="*/ 840 h 90133"/>
                <a:gd name="connisteX2" fmla="*/ 209550 w 1025320"/>
                <a:gd name="connsiteY2" fmla="*/ 89740 h 90133"/>
                <a:gd name="connisteX3" fmla="*/ 425450 w 1025320"/>
                <a:gd name="connsiteY3" fmla="*/ 840 h 90133"/>
                <a:gd name="connisteX4" fmla="*/ 565150 w 1025320"/>
                <a:gd name="connsiteY4" fmla="*/ 77040 h 90133"/>
                <a:gd name="connisteX5" fmla="*/ 781050 w 1025320"/>
                <a:gd name="connsiteY5" fmla="*/ 13540 h 90133"/>
                <a:gd name="connisteX6" fmla="*/ 914400 w 1025320"/>
                <a:gd name="connsiteY6" fmla="*/ 89740 h 90133"/>
                <a:gd name="connisteX7" fmla="*/ 1016000 w 1025320"/>
                <a:gd name="connsiteY7" fmla="*/ 38940 h 90133"/>
                <a:gd name="connisteX8" fmla="*/ 1016000 w 1025320"/>
                <a:gd name="connsiteY8" fmla="*/ 38940 h 90133"/>
                <a:gd name="connisteX9" fmla="*/ 1009650 w 1025320"/>
                <a:gd name="connsiteY9" fmla="*/ 38940 h 901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025320" h="90133">
                  <a:moveTo>
                    <a:pt x="0" y="51641"/>
                  </a:moveTo>
                  <a:cubicBezTo>
                    <a:pt x="16510" y="39576"/>
                    <a:pt x="53340" y="-6779"/>
                    <a:pt x="95250" y="841"/>
                  </a:cubicBezTo>
                  <a:cubicBezTo>
                    <a:pt x="137160" y="8461"/>
                    <a:pt x="143510" y="89741"/>
                    <a:pt x="209550" y="89741"/>
                  </a:cubicBezTo>
                  <a:cubicBezTo>
                    <a:pt x="275590" y="89741"/>
                    <a:pt x="354330" y="3381"/>
                    <a:pt x="425450" y="841"/>
                  </a:cubicBezTo>
                  <a:cubicBezTo>
                    <a:pt x="496570" y="-1699"/>
                    <a:pt x="494030" y="74501"/>
                    <a:pt x="565150" y="77041"/>
                  </a:cubicBezTo>
                  <a:cubicBezTo>
                    <a:pt x="636270" y="79581"/>
                    <a:pt x="711200" y="11001"/>
                    <a:pt x="781050" y="13541"/>
                  </a:cubicBezTo>
                  <a:cubicBezTo>
                    <a:pt x="850900" y="16081"/>
                    <a:pt x="867410" y="84661"/>
                    <a:pt x="914400" y="89741"/>
                  </a:cubicBezTo>
                  <a:cubicBezTo>
                    <a:pt x="961390" y="94821"/>
                    <a:pt x="995680" y="49101"/>
                    <a:pt x="1016000" y="38941"/>
                  </a:cubicBezTo>
                  <a:cubicBezTo>
                    <a:pt x="1036320" y="28781"/>
                    <a:pt x="1017270" y="38941"/>
                    <a:pt x="1016000" y="38941"/>
                  </a:cubicBezTo>
                  <a:cubicBezTo>
                    <a:pt x="1014730" y="38941"/>
                    <a:pt x="1010920" y="38941"/>
                    <a:pt x="1009650" y="38941"/>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图片 37"/>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4642962" y="505779"/>
            <a:ext cx="3999071" cy="2666522"/>
          </a:xfrm>
          <a:prstGeom prst="rect">
            <a:avLst/>
          </a:prstGeom>
        </p:spPr>
      </p:pic>
      <p:pic>
        <p:nvPicPr>
          <p:cNvPr id="39" name="图片 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7682" y="505778"/>
            <a:ext cx="3999548" cy="2666523"/>
          </a:xfrm>
          <a:prstGeom prst="rect">
            <a:avLst/>
          </a:prstGeom>
        </p:spPr>
      </p:pic>
      <p:sp>
        <p:nvSpPr>
          <p:cNvPr id="40" name="矩形 39"/>
          <p:cNvSpPr/>
          <p:nvPr/>
        </p:nvSpPr>
        <p:spPr>
          <a:xfrm>
            <a:off x="387668" y="2513172"/>
            <a:ext cx="301466" cy="1527334"/>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1" name="TextBox 1210"/>
          <p:cNvSpPr/>
          <p:nvPr/>
        </p:nvSpPr>
        <p:spPr>
          <a:xfrm>
            <a:off x="804863" y="3499009"/>
            <a:ext cx="2659380" cy="369332"/>
          </a:xfrm>
          <a:prstGeom prst="rect">
            <a:avLst/>
          </a:prstGeom>
          <a:noFill/>
          <a:ln w="9525">
            <a:noFill/>
            <a:miter/>
          </a:ln>
        </p:spPr>
        <p:txBody>
          <a:bodyPr wrap="square">
            <a:spAutoFit/>
          </a:bodyPr>
          <a:lstStyle/>
          <a:p>
            <a:pPr algn="l"/>
            <a:r>
              <a:rPr lang="en-US" altLang="zh-CN" sz="1800" dirty="0">
                <a:solidFill>
                  <a:schemeClr val="tx1">
                    <a:lumMod val="85000"/>
                    <a:lumOff val="15000"/>
                  </a:schemeClr>
                </a:solidFill>
                <a:latin typeface="LeviBrush" panose="00000400000000000000" charset="0"/>
                <a:ea typeface="方正舒体" panose="02010601030101010101" pitchFamily="2" charset="-122"/>
                <a:cs typeface="LeviBrush" panose="00000400000000000000" charset="0"/>
                <a:sym typeface="+mn-ea"/>
              </a:rPr>
              <a:t>ADD YOUR TEXT HERE</a:t>
            </a:r>
            <a:endParaRPr lang="en-US" altLang="zh-CN" sz="1800" dirty="0">
              <a:solidFill>
                <a:schemeClr val="tx1">
                  <a:lumMod val="85000"/>
                  <a:lumOff val="15000"/>
                </a:schemeClr>
              </a:solidFill>
              <a:latin typeface="LeviBrush" panose="00000400000000000000" charset="0"/>
              <a:ea typeface="方正舒体" panose="02010601030101010101" pitchFamily="2" charset="-122"/>
              <a:cs typeface="LeviBrush" panose="00000400000000000000" charset="0"/>
              <a:sym typeface="+mn-ea"/>
            </a:endParaRPr>
          </a:p>
        </p:txBody>
      </p:sp>
      <p:sp>
        <p:nvSpPr>
          <p:cNvPr id="42" name="TextBox 1210"/>
          <p:cNvSpPr/>
          <p:nvPr/>
        </p:nvSpPr>
        <p:spPr>
          <a:xfrm>
            <a:off x="804863" y="3844291"/>
            <a:ext cx="3594259" cy="784830"/>
          </a:xfrm>
          <a:prstGeom prst="rect">
            <a:avLst/>
          </a:prstGeom>
          <a:noFill/>
          <a:ln w="9525">
            <a:noFill/>
            <a:miter/>
          </a:ln>
        </p:spPr>
        <p:txBody>
          <a:bodyPr wrap="square">
            <a:spAutoFit/>
          </a:bodyPr>
          <a:lstStyle/>
          <a:p>
            <a:pPr>
              <a:lnSpc>
                <a:spcPct val="200000"/>
              </a:lnSpc>
              <a:spcAft>
                <a:spcPts val="450"/>
              </a:spcAft>
            </a:pP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endParaRPr lang="en-US" altLang="zh-CN" sz="450" dirty="0">
              <a:solidFill>
                <a:schemeClr val="tx1">
                  <a:lumMod val="50000"/>
                  <a:lumOff val="50000"/>
                </a:schemeClr>
              </a:solidFill>
              <a:ea typeface="微软雅黑" panose="020B0503020204020204" charset="-122"/>
              <a:sym typeface="Arial" panose="020B0604020202020204" pitchFamily="34" charset="0"/>
            </a:endParaRPr>
          </a:p>
        </p:txBody>
      </p:sp>
      <p:sp>
        <p:nvSpPr>
          <p:cNvPr id="43" name="矩形 42"/>
          <p:cNvSpPr/>
          <p:nvPr/>
        </p:nvSpPr>
        <p:spPr>
          <a:xfrm>
            <a:off x="4642962" y="2513172"/>
            <a:ext cx="301466" cy="1527334"/>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4" name="TextBox 1210"/>
          <p:cNvSpPr/>
          <p:nvPr/>
        </p:nvSpPr>
        <p:spPr>
          <a:xfrm>
            <a:off x="5078254" y="3499009"/>
            <a:ext cx="2659380" cy="369332"/>
          </a:xfrm>
          <a:prstGeom prst="rect">
            <a:avLst/>
          </a:prstGeom>
          <a:noFill/>
          <a:ln w="9525">
            <a:noFill/>
            <a:miter/>
          </a:ln>
        </p:spPr>
        <p:txBody>
          <a:bodyPr wrap="square">
            <a:spAutoFit/>
          </a:bodyPr>
          <a:lstStyle/>
          <a:p>
            <a:pPr algn="l"/>
            <a:r>
              <a:rPr lang="en-US" altLang="zh-CN" sz="1800" dirty="0">
                <a:solidFill>
                  <a:schemeClr val="tx1">
                    <a:lumMod val="85000"/>
                    <a:lumOff val="15000"/>
                  </a:schemeClr>
                </a:solidFill>
                <a:latin typeface="LeviBrush" panose="00000400000000000000" charset="0"/>
                <a:ea typeface="方正舒体" panose="02010601030101010101" pitchFamily="2" charset="-122"/>
                <a:cs typeface="LeviBrush" panose="00000400000000000000" charset="0"/>
                <a:sym typeface="+mn-ea"/>
              </a:rPr>
              <a:t>ADD YOUR TEXT HERE</a:t>
            </a:r>
            <a:endParaRPr lang="en-US" altLang="zh-CN" sz="1800" dirty="0">
              <a:solidFill>
                <a:schemeClr val="tx1">
                  <a:lumMod val="85000"/>
                  <a:lumOff val="15000"/>
                </a:schemeClr>
              </a:solidFill>
              <a:latin typeface="LeviBrush" panose="00000400000000000000" charset="0"/>
              <a:ea typeface="方正舒体" panose="02010601030101010101" pitchFamily="2" charset="-122"/>
              <a:cs typeface="LeviBrush" panose="00000400000000000000" charset="0"/>
              <a:sym typeface="+mn-ea"/>
            </a:endParaRPr>
          </a:p>
        </p:txBody>
      </p:sp>
      <p:sp>
        <p:nvSpPr>
          <p:cNvPr id="45" name="TextBox 1210"/>
          <p:cNvSpPr/>
          <p:nvPr/>
        </p:nvSpPr>
        <p:spPr>
          <a:xfrm>
            <a:off x="5078254" y="3844291"/>
            <a:ext cx="3594259" cy="784830"/>
          </a:xfrm>
          <a:prstGeom prst="rect">
            <a:avLst/>
          </a:prstGeom>
          <a:noFill/>
          <a:ln w="9525">
            <a:noFill/>
            <a:miter/>
          </a:ln>
        </p:spPr>
        <p:txBody>
          <a:bodyPr wrap="square">
            <a:spAutoFit/>
          </a:bodyPr>
          <a:lstStyle/>
          <a:p>
            <a:pPr>
              <a:lnSpc>
                <a:spcPct val="200000"/>
              </a:lnSpc>
              <a:spcAft>
                <a:spcPts val="450"/>
              </a:spcAft>
            </a:pP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endParaRPr lang="en-US" altLang="zh-CN" sz="450" dirty="0">
              <a:solidFill>
                <a:schemeClr val="tx1">
                  <a:lumMod val="50000"/>
                  <a:lumOff val="50000"/>
                </a:schemeClr>
              </a:solidFill>
              <a:ea typeface="微软雅黑" panose="020B050302020402020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图片 3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94336" y="0"/>
            <a:ext cx="2772251" cy="519225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70922" y="460397"/>
            <a:ext cx="3087053" cy="1849683"/>
          </a:xfrm>
          <a:prstGeom prst="rect">
            <a:avLst/>
          </a:prstGeom>
        </p:spPr>
      </p:pic>
      <p:sp>
        <p:nvSpPr>
          <p:cNvPr id="41" name="文本框 40"/>
          <p:cNvSpPr txBox="1"/>
          <p:nvPr/>
        </p:nvSpPr>
        <p:spPr>
          <a:xfrm>
            <a:off x="6893243" y="784384"/>
            <a:ext cx="1901666" cy="1338828"/>
          </a:xfrm>
          <a:prstGeom prst="rect">
            <a:avLst/>
          </a:prstGeom>
          <a:noFill/>
        </p:spPr>
        <p:txBody>
          <a:bodyPr wrap="square" rtlCol="0">
            <a:spAutoFit/>
          </a:bodyPr>
          <a:lstStyle/>
          <a:p>
            <a:pPr algn="l" fontAlgn="auto"/>
            <a:r>
              <a:rPr lang="en-US" altLang="zh-CN" sz="4050">
                <a:solidFill>
                  <a:srgbClr val="548235"/>
                </a:solidFill>
                <a:latin typeface="LeviBrush" panose="00000400000000000000" charset="0"/>
                <a:ea typeface="MStream HKS Bold" panose="00000800000000000000" charset="-120"/>
                <a:cs typeface="LeviBrush" panose="00000400000000000000" charset="0"/>
              </a:rPr>
              <a:t>GREEN </a:t>
            </a:r>
            <a:endParaRPr lang="en-US" altLang="zh-CN" sz="4050">
              <a:solidFill>
                <a:srgbClr val="548235"/>
              </a:solidFill>
              <a:latin typeface="LeviBrush" panose="00000400000000000000" charset="0"/>
              <a:ea typeface="MStream HKS Bold" panose="00000800000000000000" charset="-120"/>
              <a:cs typeface="LeviBrush" panose="00000400000000000000" charset="0"/>
            </a:endParaRPr>
          </a:p>
          <a:p>
            <a:pPr algn="l" fontAlgn="auto"/>
            <a:r>
              <a:rPr lang="en-US" altLang="zh-CN" sz="4050">
                <a:solidFill>
                  <a:srgbClr val="548235"/>
                </a:solidFill>
                <a:latin typeface="LeviBrush" panose="00000400000000000000" charset="0"/>
                <a:ea typeface="MStream HKS Bold" panose="00000800000000000000" charset="-120"/>
                <a:cs typeface="LeviBrush" panose="00000400000000000000" charset="0"/>
              </a:rPr>
              <a:t>PLANT</a:t>
            </a:r>
            <a:endParaRPr lang="en-US" altLang="zh-CN" sz="4050">
              <a:solidFill>
                <a:srgbClr val="548235"/>
              </a:solidFill>
              <a:latin typeface="LeviBrush" panose="00000400000000000000" charset="0"/>
              <a:ea typeface="MStream HKS Bold" panose="00000800000000000000" charset="-120"/>
              <a:cs typeface="LeviBrush" panose="00000400000000000000" charset="0"/>
            </a:endParaRPr>
          </a:p>
        </p:txBody>
      </p:sp>
      <p:sp>
        <p:nvSpPr>
          <p:cNvPr id="43" name="TextBox 1210"/>
          <p:cNvSpPr/>
          <p:nvPr/>
        </p:nvSpPr>
        <p:spPr>
          <a:xfrm>
            <a:off x="3469005" y="2789397"/>
            <a:ext cx="2659380" cy="248209"/>
          </a:xfrm>
          <a:prstGeom prst="rect">
            <a:avLst/>
          </a:prstGeom>
          <a:noFill/>
          <a:ln w="9525">
            <a:noFill/>
            <a:miter/>
          </a:ln>
        </p:spPr>
        <p:txBody>
          <a:bodyPr wrap="square">
            <a:spAutoFit/>
          </a:bodyPr>
          <a:lstStyle/>
          <a:p>
            <a:pPr algn="l"/>
            <a:r>
              <a:rPr lang="en-US" altLang="zh-CN" sz="1015" dirty="0">
                <a:solidFill>
                  <a:schemeClr val="tx1">
                    <a:lumMod val="85000"/>
                    <a:lumOff val="15000"/>
                  </a:schemeClr>
                </a:solidFill>
                <a:ea typeface="方正舒体" panose="02010601030101010101" pitchFamily="2" charset="-122"/>
                <a:cs typeface="+mn-lt"/>
                <a:sym typeface="+mn-ea"/>
              </a:rPr>
              <a:t>ADD YOUR TEXT HERE</a:t>
            </a:r>
            <a:endParaRPr lang="en-US" altLang="zh-CN" sz="1015" dirty="0">
              <a:solidFill>
                <a:schemeClr val="tx1">
                  <a:lumMod val="85000"/>
                  <a:lumOff val="15000"/>
                </a:schemeClr>
              </a:solidFill>
              <a:ea typeface="方正舒体" panose="02010601030101010101" pitchFamily="2" charset="-122"/>
              <a:cs typeface="+mn-lt"/>
              <a:sym typeface="+mn-ea"/>
            </a:endParaRPr>
          </a:p>
        </p:txBody>
      </p:sp>
      <p:sp>
        <p:nvSpPr>
          <p:cNvPr id="44" name="TextBox 1210"/>
          <p:cNvSpPr/>
          <p:nvPr/>
        </p:nvSpPr>
        <p:spPr>
          <a:xfrm>
            <a:off x="3469005" y="3134678"/>
            <a:ext cx="4716304" cy="507831"/>
          </a:xfrm>
          <a:prstGeom prst="rect">
            <a:avLst/>
          </a:prstGeom>
          <a:noFill/>
          <a:ln w="9525">
            <a:noFill/>
            <a:miter/>
          </a:ln>
        </p:spPr>
        <p:txBody>
          <a:bodyPr wrap="square">
            <a:spAutoFit/>
          </a:bodyPr>
          <a:lstStyle/>
          <a:p>
            <a:pPr>
              <a:lnSpc>
                <a:spcPct val="200000"/>
              </a:lnSpc>
              <a:spcAft>
                <a:spcPts val="450"/>
              </a:spcAft>
            </a:pP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endParaRPr lang="en-US" altLang="zh-CN" sz="450" dirty="0">
              <a:solidFill>
                <a:schemeClr val="tx1">
                  <a:lumMod val="50000"/>
                  <a:lumOff val="50000"/>
                </a:schemeClr>
              </a:solidFill>
              <a:ea typeface="微软雅黑" panose="020B0503020204020204" charset="-122"/>
              <a:sym typeface="Arial" panose="020B0604020202020204" pitchFamily="34" charset="0"/>
            </a:endParaRPr>
          </a:p>
        </p:txBody>
      </p:sp>
      <p:sp>
        <p:nvSpPr>
          <p:cNvPr id="46" name="TextBox 1210"/>
          <p:cNvSpPr/>
          <p:nvPr/>
        </p:nvSpPr>
        <p:spPr>
          <a:xfrm>
            <a:off x="3469005" y="3791903"/>
            <a:ext cx="2659380" cy="248209"/>
          </a:xfrm>
          <a:prstGeom prst="rect">
            <a:avLst/>
          </a:prstGeom>
          <a:noFill/>
          <a:ln w="9525">
            <a:noFill/>
            <a:miter/>
          </a:ln>
        </p:spPr>
        <p:txBody>
          <a:bodyPr wrap="square">
            <a:spAutoFit/>
          </a:bodyPr>
          <a:lstStyle/>
          <a:p>
            <a:pPr algn="l"/>
            <a:r>
              <a:rPr lang="en-US" altLang="zh-CN" sz="1015" dirty="0">
                <a:solidFill>
                  <a:schemeClr val="tx1">
                    <a:lumMod val="85000"/>
                    <a:lumOff val="15000"/>
                  </a:schemeClr>
                </a:solidFill>
                <a:ea typeface="方正舒体" panose="02010601030101010101" pitchFamily="2" charset="-122"/>
                <a:cs typeface="+mn-lt"/>
                <a:sym typeface="+mn-ea"/>
              </a:rPr>
              <a:t>ADD YOUR TEXT HERE</a:t>
            </a:r>
            <a:endParaRPr lang="en-US" altLang="zh-CN" sz="1015" dirty="0">
              <a:solidFill>
                <a:schemeClr val="tx1">
                  <a:lumMod val="85000"/>
                  <a:lumOff val="15000"/>
                </a:schemeClr>
              </a:solidFill>
              <a:ea typeface="方正舒体" panose="02010601030101010101" pitchFamily="2" charset="-122"/>
              <a:cs typeface="+mn-lt"/>
              <a:sym typeface="+mn-ea"/>
            </a:endParaRPr>
          </a:p>
        </p:txBody>
      </p:sp>
      <p:sp>
        <p:nvSpPr>
          <p:cNvPr id="47" name="TextBox 1210"/>
          <p:cNvSpPr/>
          <p:nvPr/>
        </p:nvSpPr>
        <p:spPr>
          <a:xfrm>
            <a:off x="3469005" y="4137184"/>
            <a:ext cx="4716304" cy="507831"/>
          </a:xfrm>
          <a:prstGeom prst="rect">
            <a:avLst/>
          </a:prstGeom>
          <a:noFill/>
          <a:ln w="9525">
            <a:noFill/>
            <a:miter/>
          </a:ln>
        </p:spPr>
        <p:txBody>
          <a:bodyPr wrap="square">
            <a:spAutoFit/>
          </a:bodyPr>
          <a:lstStyle/>
          <a:p>
            <a:pPr>
              <a:lnSpc>
                <a:spcPct val="200000"/>
              </a:lnSpc>
              <a:spcAft>
                <a:spcPts val="450"/>
              </a:spcAft>
            </a:pP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r>
              <a:rPr lang="zh-CN" altLang="en-US" sz="450" dirty="0">
                <a:solidFill>
                  <a:schemeClr val="tx1">
                    <a:lumMod val="50000"/>
                    <a:lumOff val="50000"/>
                  </a:schemeClr>
                </a:solidFill>
                <a:ea typeface="微软雅黑" panose="020B0503020204020204" charset="-122"/>
                <a:sym typeface="Arial" panose="020B0604020202020204" pitchFamily="34" charset="0"/>
              </a:rPr>
              <a:t>Click here to enter your text</a:t>
            </a:r>
            <a:r>
              <a:rPr lang="en-US" altLang="zh-CN" sz="450" dirty="0">
                <a:solidFill>
                  <a:schemeClr val="tx1">
                    <a:lumMod val="50000"/>
                    <a:lumOff val="50000"/>
                  </a:schemeClr>
                </a:solidFill>
                <a:ea typeface="微软雅黑" panose="020B0503020204020204" charset="-122"/>
                <a:sym typeface="Arial" panose="020B0604020202020204" pitchFamily="34" charset="0"/>
              </a:rPr>
              <a:t>.</a:t>
            </a:r>
            <a:endParaRPr lang="en-US" altLang="zh-CN" sz="450" dirty="0">
              <a:solidFill>
                <a:schemeClr val="tx1">
                  <a:lumMod val="50000"/>
                  <a:lumOff val="50000"/>
                </a:schemeClr>
              </a:solidFill>
              <a:ea typeface="微软雅黑" panose="020B050302020402020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9" name="Title 1"/>
          <p:cNvSpPr txBox="1"/>
          <p:nvPr/>
        </p:nvSpPr>
        <p:spPr>
          <a:xfrm>
            <a:off x="678676" y="483253"/>
            <a:ext cx="3264674" cy="48474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2700" b="1" spc="-113" dirty="0">
                <a:solidFill>
                  <a:srgbClr val="548235"/>
                </a:solidFill>
                <a:latin typeface="Lato" panose="020F0502020204030203" pitchFamily="34" charset="0"/>
                <a:ea typeface="Open Sans" panose="020B0606030504020204" pitchFamily="34" charset="0"/>
                <a:cs typeface="Lato" panose="020F0502020204030203" pitchFamily="34" charset="0"/>
              </a:rPr>
              <a:t>Marketing</a:t>
            </a:r>
            <a:r>
              <a:rPr lang="en-US" sz="2700" b="1" spc="-113" dirty="0">
                <a:solidFill>
                  <a:schemeClr val="accent1"/>
                </a:solidFill>
                <a:latin typeface="Lato" panose="020F0502020204030203" pitchFamily="34" charset="0"/>
                <a:ea typeface="Open Sans" panose="020B0606030504020204" pitchFamily="34" charset="0"/>
                <a:cs typeface="Lato" panose="020F0502020204030203" pitchFamily="34" charset="0"/>
              </a:rPr>
              <a:t> </a:t>
            </a:r>
            <a:r>
              <a:rPr lang="en-US" sz="2700" spc="-113" dirty="0">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rPr>
              <a:t>Infographic </a:t>
            </a:r>
            <a:endParaRPr lang="en-US" sz="2700" spc="-113" dirty="0">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endParaRPr>
          </a:p>
        </p:txBody>
      </p:sp>
      <p:sp>
        <p:nvSpPr>
          <p:cNvPr id="440" name="Rectangle 439"/>
          <p:cNvSpPr/>
          <p:nvPr/>
        </p:nvSpPr>
        <p:spPr>
          <a:xfrm>
            <a:off x="719019" y="968001"/>
            <a:ext cx="1617008" cy="219291"/>
          </a:xfrm>
          <a:prstGeom prst="rect">
            <a:avLst/>
          </a:prstGeom>
        </p:spPr>
        <p:txBody>
          <a:bodyPr wrap="square">
            <a:spAutoFit/>
          </a:bodyPr>
          <a:lstStyle/>
          <a:p>
            <a:pP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4" name="Rounded Rectangle 3"/>
          <p:cNvSpPr/>
          <p:nvPr/>
        </p:nvSpPr>
        <p:spPr>
          <a:xfrm>
            <a:off x="690589" y="1868032"/>
            <a:ext cx="1245290" cy="1245290"/>
          </a:xfrm>
          <a:prstGeom prst="roundRect">
            <a:avLst>
              <a:gd name="adj" fmla="val 5556"/>
            </a:avLst>
          </a:prstGeom>
          <a:solidFill>
            <a:srgbClr val="548235"/>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38" name="Rounded Rectangle 137"/>
          <p:cNvSpPr/>
          <p:nvPr/>
        </p:nvSpPr>
        <p:spPr>
          <a:xfrm>
            <a:off x="2411217" y="1868032"/>
            <a:ext cx="1245290" cy="1245290"/>
          </a:xfrm>
          <a:prstGeom prst="roundRect">
            <a:avLst>
              <a:gd name="adj" fmla="val 5556"/>
            </a:avLst>
          </a:prstGeom>
          <a:solidFill>
            <a:srgbClr val="548235"/>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39" name="Rounded Rectangle 138"/>
          <p:cNvSpPr/>
          <p:nvPr/>
        </p:nvSpPr>
        <p:spPr>
          <a:xfrm>
            <a:off x="4069398" y="1868032"/>
            <a:ext cx="1245290" cy="1245290"/>
          </a:xfrm>
          <a:prstGeom prst="roundRect">
            <a:avLst>
              <a:gd name="adj" fmla="val 5556"/>
            </a:avLst>
          </a:prstGeom>
          <a:solidFill>
            <a:srgbClr val="548235"/>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0" name="Rounded Rectangle 139"/>
          <p:cNvSpPr/>
          <p:nvPr/>
        </p:nvSpPr>
        <p:spPr>
          <a:xfrm>
            <a:off x="5790026" y="1868032"/>
            <a:ext cx="1245290" cy="1245290"/>
          </a:xfrm>
          <a:prstGeom prst="roundRect">
            <a:avLst>
              <a:gd name="adj" fmla="val 5556"/>
            </a:avLst>
          </a:prstGeom>
          <a:solidFill>
            <a:srgbClr val="548235"/>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1" name="Rounded Rectangle 140"/>
          <p:cNvSpPr/>
          <p:nvPr/>
        </p:nvSpPr>
        <p:spPr>
          <a:xfrm>
            <a:off x="7520740" y="1868032"/>
            <a:ext cx="1245290" cy="1245290"/>
          </a:xfrm>
          <a:prstGeom prst="roundRect">
            <a:avLst>
              <a:gd name="adj" fmla="val 5556"/>
            </a:avLst>
          </a:prstGeom>
          <a:solidFill>
            <a:srgbClr val="548235"/>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42" name="TextBox 141"/>
          <p:cNvSpPr txBox="1"/>
          <p:nvPr/>
        </p:nvSpPr>
        <p:spPr>
          <a:xfrm>
            <a:off x="732303" y="3508878"/>
            <a:ext cx="891270" cy="138499"/>
          </a:xfrm>
          <a:prstGeom prst="rect">
            <a:avLst/>
          </a:prstGeom>
          <a:noFill/>
        </p:spPr>
        <p:txBody>
          <a:bodyPr wrap="none" lIns="0" tIns="0" rIns="0" bIns="0" rtlCol="0" anchor="ctr">
            <a:spAutoFit/>
          </a:bodyPr>
          <a:lstStyle/>
          <a:p>
            <a:r>
              <a:rPr lang="en-US" sz="900" b="1" dirty="0">
                <a:solidFill>
                  <a:schemeClr val="tx1">
                    <a:lumMod val="85000"/>
                    <a:lumOff val="15000"/>
                  </a:schemeClr>
                </a:solidFill>
                <a:latin typeface="Lato" panose="020F0502020204030203" pitchFamily="34" charset="0"/>
                <a:cs typeface="Lato" panose="020F0502020204030203" pitchFamily="34" charset="0"/>
              </a:rPr>
              <a:t>Market Assessment</a:t>
            </a:r>
            <a:endParaRPr lang="en-US" sz="900" b="1" dirty="0">
              <a:solidFill>
                <a:schemeClr val="tx1">
                  <a:lumMod val="85000"/>
                  <a:lumOff val="15000"/>
                </a:schemeClr>
              </a:solidFill>
              <a:latin typeface="Lato" panose="020F0502020204030203" pitchFamily="34" charset="0"/>
              <a:cs typeface="Lato" panose="020F0502020204030203" pitchFamily="34" charset="0"/>
            </a:endParaRPr>
          </a:p>
        </p:txBody>
      </p:sp>
      <p:sp>
        <p:nvSpPr>
          <p:cNvPr id="148" name="TextBox 147"/>
          <p:cNvSpPr txBox="1"/>
          <p:nvPr/>
        </p:nvSpPr>
        <p:spPr>
          <a:xfrm>
            <a:off x="2411216" y="3508878"/>
            <a:ext cx="891270" cy="138499"/>
          </a:xfrm>
          <a:prstGeom prst="rect">
            <a:avLst/>
          </a:prstGeom>
          <a:noFill/>
        </p:spPr>
        <p:txBody>
          <a:bodyPr wrap="none" lIns="0" tIns="0" rIns="0" bIns="0" rtlCol="0" anchor="ctr">
            <a:spAutoFit/>
          </a:bodyPr>
          <a:lstStyle/>
          <a:p>
            <a:r>
              <a:rPr lang="en-US" sz="900" b="1" dirty="0">
                <a:solidFill>
                  <a:schemeClr val="tx1">
                    <a:lumMod val="85000"/>
                    <a:lumOff val="15000"/>
                  </a:schemeClr>
                </a:solidFill>
                <a:latin typeface="Lato" panose="020F0502020204030203" pitchFamily="34" charset="0"/>
                <a:cs typeface="Lato" panose="020F0502020204030203" pitchFamily="34" charset="0"/>
              </a:rPr>
              <a:t>Market Assessment</a:t>
            </a:r>
            <a:endParaRPr lang="en-US" sz="900" b="1" dirty="0">
              <a:solidFill>
                <a:schemeClr val="tx1">
                  <a:lumMod val="85000"/>
                  <a:lumOff val="15000"/>
                </a:schemeClr>
              </a:solidFill>
              <a:latin typeface="Lato" panose="020F0502020204030203" pitchFamily="34" charset="0"/>
              <a:cs typeface="Lato" panose="020F0502020204030203" pitchFamily="34" charset="0"/>
            </a:endParaRPr>
          </a:p>
        </p:txBody>
      </p:sp>
      <p:sp>
        <p:nvSpPr>
          <p:cNvPr id="149" name="TextBox 148"/>
          <p:cNvSpPr txBox="1"/>
          <p:nvPr/>
        </p:nvSpPr>
        <p:spPr>
          <a:xfrm>
            <a:off x="2411217" y="3766491"/>
            <a:ext cx="1245290" cy="507831"/>
          </a:xfrm>
          <a:prstGeom prst="rect">
            <a:avLst/>
          </a:prstGeom>
          <a:noFill/>
        </p:spPr>
        <p:txBody>
          <a:bodyPr wrap="square" lIns="0" tIns="0" rIns="0" bIns="0" rtlCol="0" anchor="t">
            <a:spAutoFit/>
          </a:bodyPr>
          <a:lstStyle/>
          <a:p>
            <a:pPr defTabSz="913765">
              <a:spcBef>
                <a:spcPct val="20000"/>
              </a:spcBef>
              <a:defRPr/>
            </a:pPr>
            <a:r>
              <a:rPr lang="en-US" sz="825" dirty="0">
                <a:solidFill>
                  <a:schemeClr val="tx1">
                    <a:lumMod val="85000"/>
                    <a:lumOff val="15000"/>
                  </a:schemeClr>
                </a:solidFill>
              </a:rPr>
              <a:t>There are many variations of passages of lorem ipsum available, but the majority suffered</a:t>
            </a:r>
            <a:endParaRPr lang="en-US" sz="825" dirty="0">
              <a:solidFill>
                <a:schemeClr val="tx1">
                  <a:lumMod val="85000"/>
                  <a:lumOff val="15000"/>
                </a:schemeClr>
              </a:solidFill>
            </a:endParaRPr>
          </a:p>
        </p:txBody>
      </p:sp>
      <p:sp>
        <p:nvSpPr>
          <p:cNvPr id="150" name="TextBox 149"/>
          <p:cNvSpPr txBox="1"/>
          <p:nvPr/>
        </p:nvSpPr>
        <p:spPr>
          <a:xfrm>
            <a:off x="767062" y="3766491"/>
            <a:ext cx="1245290" cy="507831"/>
          </a:xfrm>
          <a:prstGeom prst="rect">
            <a:avLst/>
          </a:prstGeom>
          <a:noFill/>
        </p:spPr>
        <p:txBody>
          <a:bodyPr wrap="square" lIns="0" tIns="0" rIns="0" bIns="0" rtlCol="0" anchor="t">
            <a:spAutoFit/>
          </a:bodyPr>
          <a:lstStyle/>
          <a:p>
            <a:pPr defTabSz="913765">
              <a:spcBef>
                <a:spcPct val="20000"/>
              </a:spcBef>
              <a:defRPr/>
            </a:pPr>
            <a:r>
              <a:rPr lang="en-US" sz="825" dirty="0">
                <a:solidFill>
                  <a:schemeClr val="tx1">
                    <a:lumMod val="85000"/>
                    <a:lumOff val="15000"/>
                  </a:schemeClr>
                </a:solidFill>
              </a:rPr>
              <a:t>There are many variations of passages of lorem ipsum available, but the majority suffered</a:t>
            </a:r>
            <a:endParaRPr lang="en-US" sz="825" dirty="0">
              <a:solidFill>
                <a:schemeClr val="tx1">
                  <a:lumMod val="85000"/>
                  <a:lumOff val="15000"/>
                </a:schemeClr>
              </a:solidFill>
            </a:endParaRPr>
          </a:p>
        </p:txBody>
      </p:sp>
      <p:sp>
        <p:nvSpPr>
          <p:cNvPr id="151" name="TextBox 150"/>
          <p:cNvSpPr txBox="1"/>
          <p:nvPr/>
        </p:nvSpPr>
        <p:spPr>
          <a:xfrm>
            <a:off x="4067809" y="3508878"/>
            <a:ext cx="891270" cy="138499"/>
          </a:xfrm>
          <a:prstGeom prst="rect">
            <a:avLst/>
          </a:prstGeom>
          <a:noFill/>
        </p:spPr>
        <p:txBody>
          <a:bodyPr wrap="none" lIns="0" tIns="0" rIns="0" bIns="0" rtlCol="0" anchor="ctr">
            <a:spAutoFit/>
          </a:bodyPr>
          <a:lstStyle/>
          <a:p>
            <a:r>
              <a:rPr lang="en-US" sz="900" b="1" dirty="0">
                <a:solidFill>
                  <a:schemeClr val="tx1">
                    <a:lumMod val="85000"/>
                    <a:lumOff val="15000"/>
                  </a:schemeClr>
                </a:solidFill>
                <a:latin typeface="Lato" panose="020F0502020204030203" pitchFamily="34" charset="0"/>
                <a:cs typeface="Lato" panose="020F0502020204030203" pitchFamily="34" charset="0"/>
              </a:rPr>
              <a:t>Market Assessment</a:t>
            </a:r>
            <a:endParaRPr lang="en-US" sz="900" b="1" dirty="0">
              <a:solidFill>
                <a:schemeClr val="tx1">
                  <a:lumMod val="85000"/>
                  <a:lumOff val="15000"/>
                </a:schemeClr>
              </a:solidFill>
              <a:latin typeface="Lato" panose="020F0502020204030203" pitchFamily="34" charset="0"/>
              <a:cs typeface="Lato" panose="020F0502020204030203" pitchFamily="34" charset="0"/>
            </a:endParaRPr>
          </a:p>
        </p:txBody>
      </p:sp>
      <p:sp>
        <p:nvSpPr>
          <p:cNvPr id="152" name="TextBox 151"/>
          <p:cNvSpPr txBox="1"/>
          <p:nvPr/>
        </p:nvSpPr>
        <p:spPr>
          <a:xfrm>
            <a:off x="4067809" y="3766491"/>
            <a:ext cx="1245290" cy="507831"/>
          </a:xfrm>
          <a:prstGeom prst="rect">
            <a:avLst/>
          </a:prstGeom>
          <a:noFill/>
        </p:spPr>
        <p:txBody>
          <a:bodyPr wrap="square" lIns="0" tIns="0" rIns="0" bIns="0" rtlCol="0" anchor="t">
            <a:spAutoFit/>
          </a:bodyPr>
          <a:lstStyle/>
          <a:p>
            <a:pPr defTabSz="913765">
              <a:spcBef>
                <a:spcPct val="20000"/>
              </a:spcBef>
              <a:defRPr/>
            </a:pPr>
            <a:r>
              <a:rPr lang="en-US" sz="825" dirty="0">
                <a:solidFill>
                  <a:schemeClr val="tx1">
                    <a:lumMod val="85000"/>
                    <a:lumOff val="15000"/>
                  </a:schemeClr>
                </a:solidFill>
              </a:rPr>
              <a:t>There are many variations of passages of lorem ipsum available, but the majority suffered</a:t>
            </a:r>
            <a:endParaRPr lang="en-US" sz="825" dirty="0">
              <a:solidFill>
                <a:schemeClr val="tx1">
                  <a:lumMod val="85000"/>
                  <a:lumOff val="15000"/>
                </a:schemeClr>
              </a:solidFill>
            </a:endParaRPr>
          </a:p>
        </p:txBody>
      </p:sp>
      <p:sp>
        <p:nvSpPr>
          <p:cNvPr id="153" name="TextBox 152"/>
          <p:cNvSpPr txBox="1"/>
          <p:nvPr/>
        </p:nvSpPr>
        <p:spPr>
          <a:xfrm>
            <a:off x="5790025" y="3508878"/>
            <a:ext cx="891270" cy="138499"/>
          </a:xfrm>
          <a:prstGeom prst="rect">
            <a:avLst/>
          </a:prstGeom>
          <a:noFill/>
        </p:spPr>
        <p:txBody>
          <a:bodyPr wrap="none" lIns="0" tIns="0" rIns="0" bIns="0" rtlCol="0" anchor="ctr">
            <a:spAutoFit/>
          </a:bodyPr>
          <a:lstStyle/>
          <a:p>
            <a:r>
              <a:rPr lang="en-US" sz="900" b="1" dirty="0">
                <a:solidFill>
                  <a:schemeClr val="tx1">
                    <a:lumMod val="85000"/>
                    <a:lumOff val="15000"/>
                  </a:schemeClr>
                </a:solidFill>
                <a:latin typeface="Lato" panose="020F0502020204030203" pitchFamily="34" charset="0"/>
                <a:cs typeface="Lato" panose="020F0502020204030203" pitchFamily="34" charset="0"/>
              </a:rPr>
              <a:t>Market Assessment</a:t>
            </a:r>
            <a:endParaRPr lang="en-US" sz="900" b="1" dirty="0">
              <a:solidFill>
                <a:schemeClr val="tx1">
                  <a:lumMod val="85000"/>
                  <a:lumOff val="15000"/>
                </a:schemeClr>
              </a:solidFill>
              <a:latin typeface="Lato" panose="020F0502020204030203" pitchFamily="34" charset="0"/>
              <a:cs typeface="Lato" panose="020F0502020204030203" pitchFamily="34" charset="0"/>
            </a:endParaRPr>
          </a:p>
        </p:txBody>
      </p:sp>
      <p:sp>
        <p:nvSpPr>
          <p:cNvPr id="154" name="TextBox 153"/>
          <p:cNvSpPr txBox="1"/>
          <p:nvPr/>
        </p:nvSpPr>
        <p:spPr>
          <a:xfrm>
            <a:off x="5790026" y="3766491"/>
            <a:ext cx="1245290" cy="507831"/>
          </a:xfrm>
          <a:prstGeom prst="rect">
            <a:avLst/>
          </a:prstGeom>
          <a:noFill/>
        </p:spPr>
        <p:txBody>
          <a:bodyPr wrap="square" lIns="0" tIns="0" rIns="0" bIns="0" rtlCol="0" anchor="t">
            <a:spAutoFit/>
          </a:bodyPr>
          <a:lstStyle/>
          <a:p>
            <a:pPr defTabSz="913765">
              <a:spcBef>
                <a:spcPct val="20000"/>
              </a:spcBef>
              <a:defRPr/>
            </a:pPr>
            <a:r>
              <a:rPr lang="en-US" sz="825" dirty="0">
                <a:solidFill>
                  <a:schemeClr val="tx1">
                    <a:lumMod val="85000"/>
                    <a:lumOff val="15000"/>
                  </a:schemeClr>
                </a:solidFill>
              </a:rPr>
              <a:t>There are many variations of passages of lorem ipsum available, but the majority suffered</a:t>
            </a:r>
            <a:endParaRPr lang="en-US" sz="825" dirty="0">
              <a:solidFill>
                <a:schemeClr val="tx1">
                  <a:lumMod val="85000"/>
                  <a:lumOff val="15000"/>
                </a:schemeClr>
              </a:solidFill>
            </a:endParaRPr>
          </a:p>
        </p:txBody>
      </p:sp>
      <p:sp>
        <p:nvSpPr>
          <p:cNvPr id="155" name="TextBox 154"/>
          <p:cNvSpPr txBox="1"/>
          <p:nvPr/>
        </p:nvSpPr>
        <p:spPr>
          <a:xfrm>
            <a:off x="7520740" y="3508878"/>
            <a:ext cx="891270" cy="138499"/>
          </a:xfrm>
          <a:prstGeom prst="rect">
            <a:avLst/>
          </a:prstGeom>
          <a:noFill/>
        </p:spPr>
        <p:txBody>
          <a:bodyPr wrap="none" lIns="0" tIns="0" rIns="0" bIns="0" rtlCol="0" anchor="ctr">
            <a:spAutoFit/>
          </a:bodyPr>
          <a:lstStyle/>
          <a:p>
            <a:r>
              <a:rPr lang="en-US" sz="900" b="1" dirty="0">
                <a:solidFill>
                  <a:schemeClr val="tx1">
                    <a:lumMod val="85000"/>
                    <a:lumOff val="15000"/>
                  </a:schemeClr>
                </a:solidFill>
                <a:latin typeface="Lato" panose="020F0502020204030203" pitchFamily="34" charset="0"/>
                <a:cs typeface="Lato" panose="020F0502020204030203" pitchFamily="34" charset="0"/>
              </a:rPr>
              <a:t>Market Assessment</a:t>
            </a:r>
            <a:endParaRPr lang="en-US" sz="900" b="1" dirty="0">
              <a:solidFill>
                <a:schemeClr val="tx1">
                  <a:lumMod val="85000"/>
                  <a:lumOff val="15000"/>
                </a:schemeClr>
              </a:solidFill>
              <a:latin typeface="Lato" panose="020F0502020204030203" pitchFamily="34" charset="0"/>
              <a:cs typeface="Lato" panose="020F0502020204030203" pitchFamily="34" charset="0"/>
            </a:endParaRPr>
          </a:p>
        </p:txBody>
      </p:sp>
      <p:sp>
        <p:nvSpPr>
          <p:cNvPr id="156" name="TextBox 155"/>
          <p:cNvSpPr txBox="1"/>
          <p:nvPr/>
        </p:nvSpPr>
        <p:spPr>
          <a:xfrm>
            <a:off x="7520740" y="3766491"/>
            <a:ext cx="1245290" cy="507831"/>
          </a:xfrm>
          <a:prstGeom prst="rect">
            <a:avLst/>
          </a:prstGeom>
          <a:noFill/>
        </p:spPr>
        <p:txBody>
          <a:bodyPr wrap="square" lIns="0" tIns="0" rIns="0" bIns="0" rtlCol="0" anchor="t">
            <a:spAutoFit/>
          </a:bodyPr>
          <a:lstStyle/>
          <a:p>
            <a:pPr defTabSz="913765">
              <a:spcBef>
                <a:spcPct val="20000"/>
              </a:spcBef>
              <a:defRPr/>
            </a:pPr>
            <a:r>
              <a:rPr lang="en-US" sz="825" dirty="0">
                <a:solidFill>
                  <a:schemeClr val="tx1">
                    <a:lumMod val="85000"/>
                    <a:lumOff val="15000"/>
                  </a:schemeClr>
                </a:solidFill>
              </a:rPr>
              <a:t>There are many variations of passages of lorem ipsum available, but the majority suffered</a:t>
            </a:r>
            <a:endParaRPr lang="en-US" sz="825" dirty="0">
              <a:solidFill>
                <a:schemeClr val="tx1">
                  <a:lumMod val="85000"/>
                  <a:lumOff val="15000"/>
                </a:schemeClr>
              </a:solidFill>
            </a:endParaRPr>
          </a:p>
        </p:txBody>
      </p:sp>
      <p:grpSp>
        <p:nvGrpSpPr>
          <p:cNvPr id="107" name="Group 106"/>
          <p:cNvGrpSpPr/>
          <p:nvPr/>
        </p:nvGrpSpPr>
        <p:grpSpPr>
          <a:xfrm>
            <a:off x="1005018" y="2006356"/>
            <a:ext cx="616430" cy="977947"/>
            <a:chOff x="389326" y="426404"/>
            <a:chExt cx="821907" cy="1303929"/>
          </a:xfrm>
        </p:grpSpPr>
        <p:sp>
          <p:nvSpPr>
            <p:cNvPr id="108" name="Freeform 1307"/>
            <p:cNvSpPr/>
            <p:nvPr/>
          </p:nvSpPr>
          <p:spPr bwMode="auto">
            <a:xfrm>
              <a:off x="432584" y="889886"/>
              <a:ext cx="506741" cy="512920"/>
            </a:xfrm>
            <a:custGeom>
              <a:avLst/>
              <a:gdLst>
                <a:gd name="T0" fmla="*/ 7 w 246"/>
                <a:gd name="T1" fmla="*/ 8 h 249"/>
                <a:gd name="T2" fmla="*/ 7 w 246"/>
                <a:gd name="T3" fmla="*/ 8 h 249"/>
                <a:gd name="T4" fmla="*/ 7 w 246"/>
                <a:gd name="T5" fmla="*/ 8 h 249"/>
                <a:gd name="T6" fmla="*/ 4 w 246"/>
                <a:gd name="T7" fmla="*/ 12 h 249"/>
                <a:gd name="T8" fmla="*/ 1 w 246"/>
                <a:gd name="T9" fmla="*/ 17 h 249"/>
                <a:gd name="T10" fmla="*/ 0 w 246"/>
                <a:gd name="T11" fmla="*/ 22 h 249"/>
                <a:gd name="T12" fmla="*/ 0 w 246"/>
                <a:gd name="T13" fmla="*/ 27 h 249"/>
                <a:gd name="T14" fmla="*/ 0 w 246"/>
                <a:gd name="T15" fmla="*/ 32 h 249"/>
                <a:gd name="T16" fmla="*/ 2 w 246"/>
                <a:gd name="T17" fmla="*/ 37 h 249"/>
                <a:gd name="T18" fmla="*/ 4 w 246"/>
                <a:gd name="T19" fmla="*/ 42 h 249"/>
                <a:gd name="T20" fmla="*/ 7 w 246"/>
                <a:gd name="T21" fmla="*/ 46 h 249"/>
                <a:gd name="T22" fmla="*/ 199 w 246"/>
                <a:gd name="T23" fmla="*/ 241 h 249"/>
                <a:gd name="T24" fmla="*/ 199 w 246"/>
                <a:gd name="T25" fmla="*/ 241 h 249"/>
                <a:gd name="T26" fmla="*/ 204 w 246"/>
                <a:gd name="T27" fmla="*/ 244 h 249"/>
                <a:gd name="T28" fmla="*/ 208 w 246"/>
                <a:gd name="T29" fmla="*/ 247 h 249"/>
                <a:gd name="T30" fmla="*/ 213 w 246"/>
                <a:gd name="T31" fmla="*/ 248 h 249"/>
                <a:gd name="T32" fmla="*/ 219 w 246"/>
                <a:gd name="T33" fmla="*/ 249 h 249"/>
                <a:gd name="T34" fmla="*/ 224 w 246"/>
                <a:gd name="T35" fmla="*/ 248 h 249"/>
                <a:gd name="T36" fmla="*/ 229 w 246"/>
                <a:gd name="T37" fmla="*/ 247 h 249"/>
                <a:gd name="T38" fmla="*/ 234 w 246"/>
                <a:gd name="T39" fmla="*/ 244 h 249"/>
                <a:gd name="T40" fmla="*/ 238 w 246"/>
                <a:gd name="T41" fmla="*/ 241 h 249"/>
                <a:gd name="T42" fmla="*/ 238 w 246"/>
                <a:gd name="T43" fmla="*/ 241 h 249"/>
                <a:gd name="T44" fmla="*/ 241 w 246"/>
                <a:gd name="T45" fmla="*/ 236 h 249"/>
                <a:gd name="T46" fmla="*/ 244 w 246"/>
                <a:gd name="T47" fmla="*/ 232 h 249"/>
                <a:gd name="T48" fmla="*/ 245 w 246"/>
                <a:gd name="T49" fmla="*/ 227 h 249"/>
                <a:gd name="T50" fmla="*/ 246 w 246"/>
                <a:gd name="T51" fmla="*/ 222 h 249"/>
                <a:gd name="T52" fmla="*/ 245 w 246"/>
                <a:gd name="T53" fmla="*/ 216 h 249"/>
                <a:gd name="T54" fmla="*/ 244 w 246"/>
                <a:gd name="T55" fmla="*/ 211 h 249"/>
                <a:gd name="T56" fmla="*/ 241 w 246"/>
                <a:gd name="T57" fmla="*/ 207 h 249"/>
                <a:gd name="T58" fmla="*/ 238 w 246"/>
                <a:gd name="T59" fmla="*/ 202 h 249"/>
                <a:gd name="T60" fmla="*/ 46 w 246"/>
                <a:gd name="T61" fmla="*/ 8 h 249"/>
                <a:gd name="T62" fmla="*/ 46 w 246"/>
                <a:gd name="T63" fmla="*/ 8 h 249"/>
                <a:gd name="T64" fmla="*/ 41 w 246"/>
                <a:gd name="T65" fmla="*/ 4 h 249"/>
                <a:gd name="T66" fmla="*/ 37 w 246"/>
                <a:gd name="T67" fmla="*/ 2 h 249"/>
                <a:gd name="T68" fmla="*/ 32 w 246"/>
                <a:gd name="T69" fmla="*/ 0 h 249"/>
                <a:gd name="T70" fmla="*/ 27 w 246"/>
                <a:gd name="T71" fmla="*/ 0 h 249"/>
                <a:gd name="T72" fmla="*/ 21 w 246"/>
                <a:gd name="T73" fmla="*/ 0 h 249"/>
                <a:gd name="T74" fmla="*/ 16 w 246"/>
                <a:gd name="T75" fmla="*/ 2 h 249"/>
                <a:gd name="T76" fmla="*/ 12 w 246"/>
                <a:gd name="T77" fmla="*/ 4 h 249"/>
                <a:gd name="T78" fmla="*/ 7 w 246"/>
                <a:gd name="T79" fmla="*/ 8 h 249"/>
                <a:gd name="T80" fmla="*/ 7 w 246"/>
                <a:gd name="T81" fmla="*/ 8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6" h="249">
                  <a:moveTo>
                    <a:pt x="7" y="8"/>
                  </a:moveTo>
                  <a:lnTo>
                    <a:pt x="7" y="8"/>
                  </a:lnTo>
                  <a:lnTo>
                    <a:pt x="7" y="8"/>
                  </a:lnTo>
                  <a:lnTo>
                    <a:pt x="4" y="12"/>
                  </a:lnTo>
                  <a:lnTo>
                    <a:pt x="1" y="17"/>
                  </a:lnTo>
                  <a:lnTo>
                    <a:pt x="0" y="22"/>
                  </a:lnTo>
                  <a:lnTo>
                    <a:pt x="0" y="27"/>
                  </a:lnTo>
                  <a:lnTo>
                    <a:pt x="0" y="32"/>
                  </a:lnTo>
                  <a:lnTo>
                    <a:pt x="2" y="37"/>
                  </a:lnTo>
                  <a:lnTo>
                    <a:pt x="4" y="42"/>
                  </a:lnTo>
                  <a:lnTo>
                    <a:pt x="7" y="46"/>
                  </a:lnTo>
                  <a:lnTo>
                    <a:pt x="199" y="241"/>
                  </a:lnTo>
                  <a:lnTo>
                    <a:pt x="199" y="241"/>
                  </a:lnTo>
                  <a:lnTo>
                    <a:pt x="204" y="244"/>
                  </a:lnTo>
                  <a:lnTo>
                    <a:pt x="208" y="247"/>
                  </a:lnTo>
                  <a:lnTo>
                    <a:pt x="213" y="248"/>
                  </a:lnTo>
                  <a:lnTo>
                    <a:pt x="219" y="249"/>
                  </a:lnTo>
                  <a:lnTo>
                    <a:pt x="224" y="248"/>
                  </a:lnTo>
                  <a:lnTo>
                    <a:pt x="229" y="247"/>
                  </a:lnTo>
                  <a:lnTo>
                    <a:pt x="234" y="244"/>
                  </a:lnTo>
                  <a:lnTo>
                    <a:pt x="238" y="241"/>
                  </a:lnTo>
                  <a:lnTo>
                    <a:pt x="238" y="241"/>
                  </a:lnTo>
                  <a:lnTo>
                    <a:pt x="241" y="236"/>
                  </a:lnTo>
                  <a:lnTo>
                    <a:pt x="244" y="232"/>
                  </a:lnTo>
                  <a:lnTo>
                    <a:pt x="245" y="227"/>
                  </a:lnTo>
                  <a:lnTo>
                    <a:pt x="246" y="222"/>
                  </a:lnTo>
                  <a:lnTo>
                    <a:pt x="245" y="216"/>
                  </a:lnTo>
                  <a:lnTo>
                    <a:pt x="244" y="211"/>
                  </a:lnTo>
                  <a:lnTo>
                    <a:pt x="241" y="207"/>
                  </a:lnTo>
                  <a:lnTo>
                    <a:pt x="238" y="202"/>
                  </a:lnTo>
                  <a:lnTo>
                    <a:pt x="46" y="8"/>
                  </a:lnTo>
                  <a:lnTo>
                    <a:pt x="46" y="8"/>
                  </a:lnTo>
                  <a:lnTo>
                    <a:pt x="41" y="4"/>
                  </a:lnTo>
                  <a:lnTo>
                    <a:pt x="37" y="2"/>
                  </a:lnTo>
                  <a:lnTo>
                    <a:pt x="32" y="0"/>
                  </a:lnTo>
                  <a:lnTo>
                    <a:pt x="27" y="0"/>
                  </a:lnTo>
                  <a:lnTo>
                    <a:pt x="21" y="0"/>
                  </a:lnTo>
                  <a:lnTo>
                    <a:pt x="16" y="2"/>
                  </a:lnTo>
                  <a:lnTo>
                    <a:pt x="12" y="4"/>
                  </a:lnTo>
                  <a:lnTo>
                    <a:pt x="7" y="8"/>
                  </a:lnTo>
                  <a:lnTo>
                    <a:pt x="7" y="8"/>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09" name="Freeform 1308"/>
            <p:cNvSpPr/>
            <p:nvPr/>
          </p:nvSpPr>
          <p:spPr bwMode="auto">
            <a:xfrm>
              <a:off x="580897" y="1050560"/>
              <a:ext cx="562358" cy="636515"/>
            </a:xfrm>
            <a:custGeom>
              <a:avLst/>
              <a:gdLst>
                <a:gd name="T0" fmla="*/ 273 w 273"/>
                <a:gd name="T1" fmla="*/ 279 h 308"/>
                <a:gd name="T2" fmla="*/ 126 w 273"/>
                <a:gd name="T3" fmla="*/ 308 h 308"/>
                <a:gd name="T4" fmla="*/ 103 w 273"/>
                <a:gd name="T5" fmla="*/ 192 h 308"/>
                <a:gd name="T6" fmla="*/ 0 w 273"/>
                <a:gd name="T7" fmla="*/ 43 h 308"/>
                <a:gd name="T8" fmla="*/ 219 w 273"/>
                <a:gd name="T9" fmla="*/ 0 h 308"/>
                <a:gd name="T10" fmla="*/ 273 w 273"/>
                <a:gd name="T11" fmla="*/ 279 h 308"/>
              </a:gdLst>
              <a:ahLst/>
              <a:cxnLst>
                <a:cxn ang="0">
                  <a:pos x="T0" y="T1"/>
                </a:cxn>
                <a:cxn ang="0">
                  <a:pos x="T2" y="T3"/>
                </a:cxn>
                <a:cxn ang="0">
                  <a:pos x="T4" y="T5"/>
                </a:cxn>
                <a:cxn ang="0">
                  <a:pos x="T6" y="T7"/>
                </a:cxn>
                <a:cxn ang="0">
                  <a:pos x="T8" y="T9"/>
                </a:cxn>
                <a:cxn ang="0">
                  <a:pos x="T10" y="T11"/>
                </a:cxn>
              </a:cxnLst>
              <a:rect l="0" t="0" r="r" b="b"/>
              <a:pathLst>
                <a:path w="273" h="308">
                  <a:moveTo>
                    <a:pt x="273" y="279"/>
                  </a:moveTo>
                  <a:lnTo>
                    <a:pt x="126" y="308"/>
                  </a:lnTo>
                  <a:lnTo>
                    <a:pt x="103" y="192"/>
                  </a:lnTo>
                  <a:lnTo>
                    <a:pt x="0" y="43"/>
                  </a:lnTo>
                  <a:lnTo>
                    <a:pt x="219" y="0"/>
                  </a:lnTo>
                  <a:lnTo>
                    <a:pt x="273" y="279"/>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10" name="Freeform 1309"/>
            <p:cNvSpPr/>
            <p:nvPr/>
          </p:nvSpPr>
          <p:spPr bwMode="auto">
            <a:xfrm>
              <a:off x="438763" y="1069098"/>
              <a:ext cx="506741" cy="512920"/>
            </a:xfrm>
            <a:custGeom>
              <a:avLst/>
              <a:gdLst>
                <a:gd name="T0" fmla="*/ 8 w 246"/>
                <a:gd name="T1" fmla="*/ 8 h 249"/>
                <a:gd name="T2" fmla="*/ 8 w 246"/>
                <a:gd name="T3" fmla="*/ 8 h 249"/>
                <a:gd name="T4" fmla="*/ 8 w 246"/>
                <a:gd name="T5" fmla="*/ 8 h 249"/>
                <a:gd name="T6" fmla="*/ 4 w 246"/>
                <a:gd name="T7" fmla="*/ 13 h 249"/>
                <a:gd name="T8" fmla="*/ 2 w 246"/>
                <a:gd name="T9" fmla="*/ 17 h 249"/>
                <a:gd name="T10" fmla="*/ 1 w 246"/>
                <a:gd name="T11" fmla="*/ 22 h 249"/>
                <a:gd name="T12" fmla="*/ 0 w 246"/>
                <a:gd name="T13" fmla="*/ 28 h 249"/>
                <a:gd name="T14" fmla="*/ 1 w 246"/>
                <a:gd name="T15" fmla="*/ 33 h 249"/>
                <a:gd name="T16" fmla="*/ 2 w 246"/>
                <a:gd name="T17" fmla="*/ 38 h 249"/>
                <a:gd name="T18" fmla="*/ 5 w 246"/>
                <a:gd name="T19" fmla="*/ 43 h 249"/>
                <a:gd name="T20" fmla="*/ 8 w 246"/>
                <a:gd name="T21" fmla="*/ 47 h 249"/>
                <a:gd name="T22" fmla="*/ 200 w 246"/>
                <a:gd name="T23" fmla="*/ 241 h 249"/>
                <a:gd name="T24" fmla="*/ 200 w 246"/>
                <a:gd name="T25" fmla="*/ 241 h 249"/>
                <a:gd name="T26" fmla="*/ 204 w 246"/>
                <a:gd name="T27" fmla="*/ 245 h 249"/>
                <a:gd name="T28" fmla="*/ 209 w 246"/>
                <a:gd name="T29" fmla="*/ 247 h 249"/>
                <a:gd name="T30" fmla="*/ 214 w 246"/>
                <a:gd name="T31" fmla="*/ 249 h 249"/>
                <a:gd name="T32" fmla="*/ 219 w 246"/>
                <a:gd name="T33" fmla="*/ 249 h 249"/>
                <a:gd name="T34" fmla="*/ 224 w 246"/>
                <a:gd name="T35" fmla="*/ 249 h 249"/>
                <a:gd name="T36" fmla="*/ 230 w 246"/>
                <a:gd name="T37" fmla="*/ 247 h 249"/>
                <a:gd name="T38" fmla="*/ 234 w 246"/>
                <a:gd name="T39" fmla="*/ 245 h 249"/>
                <a:gd name="T40" fmla="*/ 238 w 246"/>
                <a:gd name="T41" fmla="*/ 241 h 249"/>
                <a:gd name="T42" fmla="*/ 238 w 246"/>
                <a:gd name="T43" fmla="*/ 241 h 249"/>
                <a:gd name="T44" fmla="*/ 242 w 246"/>
                <a:gd name="T45" fmla="*/ 237 h 249"/>
                <a:gd name="T46" fmla="*/ 244 w 246"/>
                <a:gd name="T47" fmla="*/ 232 h 249"/>
                <a:gd name="T48" fmla="*/ 246 w 246"/>
                <a:gd name="T49" fmla="*/ 227 h 249"/>
                <a:gd name="T50" fmla="*/ 246 w 246"/>
                <a:gd name="T51" fmla="*/ 222 h 249"/>
                <a:gd name="T52" fmla="*/ 246 w 246"/>
                <a:gd name="T53" fmla="*/ 217 h 249"/>
                <a:gd name="T54" fmla="*/ 244 w 246"/>
                <a:gd name="T55" fmla="*/ 212 h 249"/>
                <a:gd name="T56" fmla="*/ 242 w 246"/>
                <a:gd name="T57" fmla="*/ 207 h 249"/>
                <a:gd name="T58" fmla="*/ 238 w 246"/>
                <a:gd name="T59" fmla="*/ 203 h 249"/>
                <a:gd name="T60" fmla="*/ 46 w 246"/>
                <a:gd name="T61" fmla="*/ 8 h 249"/>
                <a:gd name="T62" fmla="*/ 46 w 246"/>
                <a:gd name="T63" fmla="*/ 8 h 249"/>
                <a:gd name="T64" fmla="*/ 42 w 246"/>
                <a:gd name="T65" fmla="*/ 5 h 249"/>
                <a:gd name="T66" fmla="*/ 37 w 246"/>
                <a:gd name="T67" fmla="*/ 2 h 249"/>
                <a:gd name="T68" fmla="*/ 32 w 246"/>
                <a:gd name="T69" fmla="*/ 1 h 249"/>
                <a:gd name="T70" fmla="*/ 27 w 246"/>
                <a:gd name="T71" fmla="*/ 0 h 249"/>
                <a:gd name="T72" fmla="*/ 22 w 246"/>
                <a:gd name="T73" fmla="*/ 1 h 249"/>
                <a:gd name="T74" fmla="*/ 17 w 246"/>
                <a:gd name="T75" fmla="*/ 2 h 249"/>
                <a:gd name="T76" fmla="*/ 12 w 246"/>
                <a:gd name="T77" fmla="*/ 5 h 249"/>
                <a:gd name="T78" fmla="*/ 8 w 246"/>
                <a:gd name="T79" fmla="*/ 8 h 249"/>
                <a:gd name="T80" fmla="*/ 8 w 246"/>
                <a:gd name="T81" fmla="*/ 8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6" h="249">
                  <a:moveTo>
                    <a:pt x="8" y="8"/>
                  </a:moveTo>
                  <a:lnTo>
                    <a:pt x="8" y="8"/>
                  </a:lnTo>
                  <a:lnTo>
                    <a:pt x="8" y="8"/>
                  </a:lnTo>
                  <a:lnTo>
                    <a:pt x="4" y="13"/>
                  </a:lnTo>
                  <a:lnTo>
                    <a:pt x="2" y="17"/>
                  </a:lnTo>
                  <a:lnTo>
                    <a:pt x="1" y="22"/>
                  </a:lnTo>
                  <a:lnTo>
                    <a:pt x="0" y="28"/>
                  </a:lnTo>
                  <a:lnTo>
                    <a:pt x="1" y="33"/>
                  </a:lnTo>
                  <a:lnTo>
                    <a:pt x="2" y="38"/>
                  </a:lnTo>
                  <a:lnTo>
                    <a:pt x="5" y="43"/>
                  </a:lnTo>
                  <a:lnTo>
                    <a:pt x="8" y="47"/>
                  </a:lnTo>
                  <a:lnTo>
                    <a:pt x="200" y="241"/>
                  </a:lnTo>
                  <a:lnTo>
                    <a:pt x="200" y="241"/>
                  </a:lnTo>
                  <a:lnTo>
                    <a:pt x="204" y="245"/>
                  </a:lnTo>
                  <a:lnTo>
                    <a:pt x="209" y="247"/>
                  </a:lnTo>
                  <a:lnTo>
                    <a:pt x="214" y="249"/>
                  </a:lnTo>
                  <a:lnTo>
                    <a:pt x="219" y="249"/>
                  </a:lnTo>
                  <a:lnTo>
                    <a:pt x="224" y="249"/>
                  </a:lnTo>
                  <a:lnTo>
                    <a:pt x="230" y="247"/>
                  </a:lnTo>
                  <a:lnTo>
                    <a:pt x="234" y="245"/>
                  </a:lnTo>
                  <a:lnTo>
                    <a:pt x="238" y="241"/>
                  </a:lnTo>
                  <a:lnTo>
                    <a:pt x="238" y="241"/>
                  </a:lnTo>
                  <a:lnTo>
                    <a:pt x="242" y="237"/>
                  </a:lnTo>
                  <a:lnTo>
                    <a:pt x="244" y="232"/>
                  </a:lnTo>
                  <a:lnTo>
                    <a:pt x="246" y="227"/>
                  </a:lnTo>
                  <a:lnTo>
                    <a:pt x="246" y="222"/>
                  </a:lnTo>
                  <a:lnTo>
                    <a:pt x="246" y="217"/>
                  </a:lnTo>
                  <a:lnTo>
                    <a:pt x="244" y="212"/>
                  </a:lnTo>
                  <a:lnTo>
                    <a:pt x="242" y="207"/>
                  </a:lnTo>
                  <a:lnTo>
                    <a:pt x="238" y="203"/>
                  </a:lnTo>
                  <a:lnTo>
                    <a:pt x="46" y="8"/>
                  </a:lnTo>
                  <a:lnTo>
                    <a:pt x="46" y="8"/>
                  </a:lnTo>
                  <a:lnTo>
                    <a:pt x="42" y="5"/>
                  </a:lnTo>
                  <a:lnTo>
                    <a:pt x="37" y="2"/>
                  </a:lnTo>
                  <a:lnTo>
                    <a:pt x="32" y="1"/>
                  </a:lnTo>
                  <a:lnTo>
                    <a:pt x="27" y="0"/>
                  </a:lnTo>
                  <a:lnTo>
                    <a:pt x="22" y="1"/>
                  </a:lnTo>
                  <a:lnTo>
                    <a:pt x="17" y="2"/>
                  </a:lnTo>
                  <a:lnTo>
                    <a:pt x="12" y="5"/>
                  </a:lnTo>
                  <a:lnTo>
                    <a:pt x="8" y="8"/>
                  </a:lnTo>
                  <a:lnTo>
                    <a:pt x="8" y="8"/>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11" name="Freeform 1310"/>
            <p:cNvSpPr/>
            <p:nvPr/>
          </p:nvSpPr>
          <p:spPr bwMode="auto">
            <a:xfrm>
              <a:off x="395505" y="667414"/>
              <a:ext cx="494380" cy="494380"/>
            </a:xfrm>
            <a:custGeom>
              <a:avLst/>
              <a:gdLst>
                <a:gd name="T0" fmla="*/ 8 w 240"/>
                <a:gd name="T1" fmla="*/ 8 h 241"/>
                <a:gd name="T2" fmla="*/ 8 w 240"/>
                <a:gd name="T3" fmla="*/ 8 h 241"/>
                <a:gd name="T4" fmla="*/ 8 w 240"/>
                <a:gd name="T5" fmla="*/ 8 h 241"/>
                <a:gd name="T6" fmla="*/ 5 w 240"/>
                <a:gd name="T7" fmla="*/ 12 h 241"/>
                <a:gd name="T8" fmla="*/ 2 w 240"/>
                <a:gd name="T9" fmla="*/ 17 h 241"/>
                <a:gd name="T10" fmla="*/ 1 w 240"/>
                <a:gd name="T11" fmla="*/ 22 h 241"/>
                <a:gd name="T12" fmla="*/ 0 w 240"/>
                <a:gd name="T13" fmla="*/ 27 h 241"/>
                <a:gd name="T14" fmla="*/ 1 w 240"/>
                <a:gd name="T15" fmla="*/ 32 h 241"/>
                <a:gd name="T16" fmla="*/ 3 w 240"/>
                <a:gd name="T17" fmla="*/ 37 h 241"/>
                <a:gd name="T18" fmla="*/ 5 w 240"/>
                <a:gd name="T19" fmla="*/ 42 h 241"/>
                <a:gd name="T20" fmla="*/ 8 w 240"/>
                <a:gd name="T21" fmla="*/ 46 h 241"/>
                <a:gd name="T22" fmla="*/ 193 w 240"/>
                <a:gd name="T23" fmla="*/ 233 h 241"/>
                <a:gd name="T24" fmla="*/ 193 w 240"/>
                <a:gd name="T25" fmla="*/ 233 h 241"/>
                <a:gd name="T26" fmla="*/ 198 w 240"/>
                <a:gd name="T27" fmla="*/ 237 h 241"/>
                <a:gd name="T28" fmla="*/ 202 w 240"/>
                <a:gd name="T29" fmla="*/ 239 h 241"/>
                <a:gd name="T30" fmla="*/ 207 w 240"/>
                <a:gd name="T31" fmla="*/ 241 h 241"/>
                <a:gd name="T32" fmla="*/ 213 w 240"/>
                <a:gd name="T33" fmla="*/ 241 h 241"/>
                <a:gd name="T34" fmla="*/ 218 w 240"/>
                <a:gd name="T35" fmla="*/ 241 h 241"/>
                <a:gd name="T36" fmla="*/ 223 w 240"/>
                <a:gd name="T37" fmla="*/ 239 h 241"/>
                <a:gd name="T38" fmla="*/ 228 w 240"/>
                <a:gd name="T39" fmla="*/ 237 h 241"/>
                <a:gd name="T40" fmla="*/ 232 w 240"/>
                <a:gd name="T41" fmla="*/ 233 h 241"/>
                <a:gd name="T42" fmla="*/ 232 w 240"/>
                <a:gd name="T43" fmla="*/ 233 h 241"/>
                <a:gd name="T44" fmla="*/ 235 w 240"/>
                <a:gd name="T45" fmla="*/ 229 h 241"/>
                <a:gd name="T46" fmla="*/ 238 w 240"/>
                <a:gd name="T47" fmla="*/ 224 h 241"/>
                <a:gd name="T48" fmla="*/ 239 w 240"/>
                <a:gd name="T49" fmla="*/ 219 h 241"/>
                <a:gd name="T50" fmla="*/ 240 w 240"/>
                <a:gd name="T51" fmla="*/ 214 h 241"/>
                <a:gd name="T52" fmla="*/ 239 w 240"/>
                <a:gd name="T53" fmla="*/ 209 h 241"/>
                <a:gd name="T54" fmla="*/ 238 w 240"/>
                <a:gd name="T55" fmla="*/ 204 h 241"/>
                <a:gd name="T56" fmla="*/ 235 w 240"/>
                <a:gd name="T57" fmla="*/ 199 h 241"/>
                <a:gd name="T58" fmla="*/ 232 w 240"/>
                <a:gd name="T59" fmla="*/ 195 h 241"/>
                <a:gd name="T60" fmla="*/ 47 w 240"/>
                <a:gd name="T61" fmla="*/ 8 h 241"/>
                <a:gd name="T62" fmla="*/ 47 w 240"/>
                <a:gd name="T63" fmla="*/ 8 h 241"/>
                <a:gd name="T64" fmla="*/ 42 w 240"/>
                <a:gd name="T65" fmla="*/ 4 h 241"/>
                <a:gd name="T66" fmla="*/ 38 w 240"/>
                <a:gd name="T67" fmla="*/ 2 h 241"/>
                <a:gd name="T68" fmla="*/ 33 w 240"/>
                <a:gd name="T69" fmla="*/ 0 h 241"/>
                <a:gd name="T70" fmla="*/ 27 w 240"/>
                <a:gd name="T71" fmla="*/ 0 h 241"/>
                <a:gd name="T72" fmla="*/ 22 w 240"/>
                <a:gd name="T73" fmla="*/ 0 h 241"/>
                <a:gd name="T74" fmla="*/ 17 w 240"/>
                <a:gd name="T75" fmla="*/ 2 h 241"/>
                <a:gd name="T76" fmla="*/ 12 w 240"/>
                <a:gd name="T77" fmla="*/ 4 h 241"/>
                <a:gd name="T78" fmla="*/ 8 w 240"/>
                <a:gd name="T79" fmla="*/ 8 h 241"/>
                <a:gd name="T80" fmla="*/ 8 w 240"/>
                <a:gd name="T81" fmla="*/ 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0" h="241">
                  <a:moveTo>
                    <a:pt x="8" y="8"/>
                  </a:moveTo>
                  <a:lnTo>
                    <a:pt x="8" y="8"/>
                  </a:lnTo>
                  <a:lnTo>
                    <a:pt x="8" y="8"/>
                  </a:lnTo>
                  <a:lnTo>
                    <a:pt x="5" y="12"/>
                  </a:lnTo>
                  <a:lnTo>
                    <a:pt x="2" y="17"/>
                  </a:lnTo>
                  <a:lnTo>
                    <a:pt x="1" y="22"/>
                  </a:lnTo>
                  <a:lnTo>
                    <a:pt x="0" y="27"/>
                  </a:lnTo>
                  <a:lnTo>
                    <a:pt x="1" y="32"/>
                  </a:lnTo>
                  <a:lnTo>
                    <a:pt x="3" y="37"/>
                  </a:lnTo>
                  <a:lnTo>
                    <a:pt x="5" y="42"/>
                  </a:lnTo>
                  <a:lnTo>
                    <a:pt x="8" y="46"/>
                  </a:lnTo>
                  <a:lnTo>
                    <a:pt x="193" y="233"/>
                  </a:lnTo>
                  <a:lnTo>
                    <a:pt x="193" y="233"/>
                  </a:lnTo>
                  <a:lnTo>
                    <a:pt x="198" y="237"/>
                  </a:lnTo>
                  <a:lnTo>
                    <a:pt x="202" y="239"/>
                  </a:lnTo>
                  <a:lnTo>
                    <a:pt x="207" y="241"/>
                  </a:lnTo>
                  <a:lnTo>
                    <a:pt x="213" y="241"/>
                  </a:lnTo>
                  <a:lnTo>
                    <a:pt x="218" y="241"/>
                  </a:lnTo>
                  <a:lnTo>
                    <a:pt x="223" y="239"/>
                  </a:lnTo>
                  <a:lnTo>
                    <a:pt x="228" y="237"/>
                  </a:lnTo>
                  <a:lnTo>
                    <a:pt x="232" y="233"/>
                  </a:lnTo>
                  <a:lnTo>
                    <a:pt x="232" y="233"/>
                  </a:lnTo>
                  <a:lnTo>
                    <a:pt x="235" y="229"/>
                  </a:lnTo>
                  <a:lnTo>
                    <a:pt x="238" y="224"/>
                  </a:lnTo>
                  <a:lnTo>
                    <a:pt x="239" y="219"/>
                  </a:lnTo>
                  <a:lnTo>
                    <a:pt x="240" y="214"/>
                  </a:lnTo>
                  <a:lnTo>
                    <a:pt x="239" y="209"/>
                  </a:lnTo>
                  <a:lnTo>
                    <a:pt x="238" y="204"/>
                  </a:lnTo>
                  <a:lnTo>
                    <a:pt x="235" y="199"/>
                  </a:lnTo>
                  <a:lnTo>
                    <a:pt x="232" y="195"/>
                  </a:lnTo>
                  <a:lnTo>
                    <a:pt x="47" y="8"/>
                  </a:lnTo>
                  <a:lnTo>
                    <a:pt x="47" y="8"/>
                  </a:lnTo>
                  <a:lnTo>
                    <a:pt x="42" y="4"/>
                  </a:lnTo>
                  <a:lnTo>
                    <a:pt x="38" y="2"/>
                  </a:lnTo>
                  <a:lnTo>
                    <a:pt x="33" y="0"/>
                  </a:lnTo>
                  <a:lnTo>
                    <a:pt x="27" y="0"/>
                  </a:lnTo>
                  <a:lnTo>
                    <a:pt x="22" y="0"/>
                  </a:lnTo>
                  <a:lnTo>
                    <a:pt x="17" y="2"/>
                  </a:lnTo>
                  <a:lnTo>
                    <a:pt x="12" y="4"/>
                  </a:lnTo>
                  <a:lnTo>
                    <a:pt x="8" y="8"/>
                  </a:lnTo>
                  <a:lnTo>
                    <a:pt x="8" y="8"/>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12" name="Freeform 1311"/>
            <p:cNvSpPr/>
            <p:nvPr/>
          </p:nvSpPr>
          <p:spPr bwMode="auto">
            <a:xfrm>
              <a:off x="525280" y="426404"/>
              <a:ext cx="475842" cy="933144"/>
            </a:xfrm>
            <a:custGeom>
              <a:avLst/>
              <a:gdLst>
                <a:gd name="T0" fmla="*/ 181 w 229"/>
                <a:gd name="T1" fmla="*/ 0 h 452"/>
                <a:gd name="T2" fmla="*/ 47 w 229"/>
                <a:gd name="T3" fmla="*/ 0 h 452"/>
                <a:gd name="T4" fmla="*/ 47 w 229"/>
                <a:gd name="T5" fmla="*/ 0 h 452"/>
                <a:gd name="T6" fmla="*/ 37 w 229"/>
                <a:gd name="T7" fmla="*/ 1 h 452"/>
                <a:gd name="T8" fmla="*/ 28 w 229"/>
                <a:gd name="T9" fmla="*/ 4 h 452"/>
                <a:gd name="T10" fmla="*/ 20 w 229"/>
                <a:gd name="T11" fmla="*/ 8 h 452"/>
                <a:gd name="T12" fmla="*/ 13 w 229"/>
                <a:gd name="T13" fmla="*/ 14 h 452"/>
                <a:gd name="T14" fmla="*/ 8 w 229"/>
                <a:gd name="T15" fmla="*/ 21 h 452"/>
                <a:gd name="T16" fmla="*/ 3 w 229"/>
                <a:gd name="T17" fmla="*/ 29 h 452"/>
                <a:gd name="T18" fmla="*/ 0 w 229"/>
                <a:gd name="T19" fmla="*/ 38 h 452"/>
                <a:gd name="T20" fmla="*/ 0 w 229"/>
                <a:gd name="T21" fmla="*/ 48 h 452"/>
                <a:gd name="T22" fmla="*/ 0 w 229"/>
                <a:gd name="T23" fmla="*/ 404 h 452"/>
                <a:gd name="T24" fmla="*/ 0 w 229"/>
                <a:gd name="T25" fmla="*/ 404 h 452"/>
                <a:gd name="T26" fmla="*/ 0 w 229"/>
                <a:gd name="T27" fmla="*/ 414 h 452"/>
                <a:gd name="T28" fmla="*/ 3 w 229"/>
                <a:gd name="T29" fmla="*/ 423 h 452"/>
                <a:gd name="T30" fmla="*/ 8 w 229"/>
                <a:gd name="T31" fmla="*/ 431 h 452"/>
                <a:gd name="T32" fmla="*/ 13 w 229"/>
                <a:gd name="T33" fmla="*/ 438 h 452"/>
                <a:gd name="T34" fmla="*/ 20 w 229"/>
                <a:gd name="T35" fmla="*/ 444 h 452"/>
                <a:gd name="T36" fmla="*/ 28 w 229"/>
                <a:gd name="T37" fmla="*/ 448 h 452"/>
                <a:gd name="T38" fmla="*/ 37 w 229"/>
                <a:gd name="T39" fmla="*/ 451 h 452"/>
                <a:gd name="T40" fmla="*/ 47 w 229"/>
                <a:gd name="T41" fmla="*/ 452 h 452"/>
                <a:gd name="T42" fmla="*/ 181 w 229"/>
                <a:gd name="T43" fmla="*/ 452 h 452"/>
                <a:gd name="T44" fmla="*/ 181 w 229"/>
                <a:gd name="T45" fmla="*/ 452 h 452"/>
                <a:gd name="T46" fmla="*/ 191 w 229"/>
                <a:gd name="T47" fmla="*/ 451 h 452"/>
                <a:gd name="T48" fmla="*/ 200 w 229"/>
                <a:gd name="T49" fmla="*/ 448 h 452"/>
                <a:gd name="T50" fmla="*/ 208 w 229"/>
                <a:gd name="T51" fmla="*/ 444 h 452"/>
                <a:gd name="T52" fmla="*/ 215 w 229"/>
                <a:gd name="T53" fmla="*/ 438 h 452"/>
                <a:gd name="T54" fmla="*/ 221 w 229"/>
                <a:gd name="T55" fmla="*/ 431 h 452"/>
                <a:gd name="T56" fmla="*/ 225 w 229"/>
                <a:gd name="T57" fmla="*/ 423 h 452"/>
                <a:gd name="T58" fmla="*/ 228 w 229"/>
                <a:gd name="T59" fmla="*/ 414 h 452"/>
                <a:gd name="T60" fmla="*/ 229 w 229"/>
                <a:gd name="T61" fmla="*/ 404 h 452"/>
                <a:gd name="T62" fmla="*/ 229 w 229"/>
                <a:gd name="T63" fmla="*/ 48 h 452"/>
                <a:gd name="T64" fmla="*/ 229 w 229"/>
                <a:gd name="T65" fmla="*/ 48 h 452"/>
                <a:gd name="T66" fmla="*/ 228 w 229"/>
                <a:gd name="T67" fmla="*/ 38 h 452"/>
                <a:gd name="T68" fmla="*/ 225 w 229"/>
                <a:gd name="T69" fmla="*/ 29 h 452"/>
                <a:gd name="T70" fmla="*/ 221 w 229"/>
                <a:gd name="T71" fmla="*/ 21 h 452"/>
                <a:gd name="T72" fmla="*/ 215 w 229"/>
                <a:gd name="T73" fmla="*/ 14 h 452"/>
                <a:gd name="T74" fmla="*/ 208 w 229"/>
                <a:gd name="T75" fmla="*/ 8 h 452"/>
                <a:gd name="T76" fmla="*/ 200 w 229"/>
                <a:gd name="T77" fmla="*/ 4 h 452"/>
                <a:gd name="T78" fmla="*/ 191 w 229"/>
                <a:gd name="T79" fmla="*/ 1 h 452"/>
                <a:gd name="T80" fmla="*/ 181 w 229"/>
                <a:gd name="T81" fmla="*/ 0 h 452"/>
                <a:gd name="T82" fmla="*/ 181 w 229"/>
                <a:gd name="T83"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 h="452">
                  <a:moveTo>
                    <a:pt x="181" y="0"/>
                  </a:moveTo>
                  <a:lnTo>
                    <a:pt x="47" y="0"/>
                  </a:lnTo>
                  <a:lnTo>
                    <a:pt x="47" y="0"/>
                  </a:lnTo>
                  <a:lnTo>
                    <a:pt x="37" y="1"/>
                  </a:lnTo>
                  <a:lnTo>
                    <a:pt x="28" y="4"/>
                  </a:lnTo>
                  <a:lnTo>
                    <a:pt x="20" y="8"/>
                  </a:lnTo>
                  <a:lnTo>
                    <a:pt x="13" y="14"/>
                  </a:lnTo>
                  <a:lnTo>
                    <a:pt x="8" y="21"/>
                  </a:lnTo>
                  <a:lnTo>
                    <a:pt x="3" y="29"/>
                  </a:lnTo>
                  <a:lnTo>
                    <a:pt x="0" y="38"/>
                  </a:lnTo>
                  <a:lnTo>
                    <a:pt x="0" y="48"/>
                  </a:lnTo>
                  <a:lnTo>
                    <a:pt x="0" y="404"/>
                  </a:lnTo>
                  <a:lnTo>
                    <a:pt x="0" y="404"/>
                  </a:lnTo>
                  <a:lnTo>
                    <a:pt x="0" y="414"/>
                  </a:lnTo>
                  <a:lnTo>
                    <a:pt x="3" y="423"/>
                  </a:lnTo>
                  <a:lnTo>
                    <a:pt x="8" y="431"/>
                  </a:lnTo>
                  <a:lnTo>
                    <a:pt x="13" y="438"/>
                  </a:lnTo>
                  <a:lnTo>
                    <a:pt x="20" y="444"/>
                  </a:lnTo>
                  <a:lnTo>
                    <a:pt x="28" y="448"/>
                  </a:lnTo>
                  <a:lnTo>
                    <a:pt x="37" y="451"/>
                  </a:lnTo>
                  <a:lnTo>
                    <a:pt x="47" y="452"/>
                  </a:lnTo>
                  <a:lnTo>
                    <a:pt x="181" y="452"/>
                  </a:lnTo>
                  <a:lnTo>
                    <a:pt x="181" y="452"/>
                  </a:lnTo>
                  <a:lnTo>
                    <a:pt x="191" y="451"/>
                  </a:lnTo>
                  <a:lnTo>
                    <a:pt x="200" y="448"/>
                  </a:lnTo>
                  <a:lnTo>
                    <a:pt x="208" y="444"/>
                  </a:lnTo>
                  <a:lnTo>
                    <a:pt x="215" y="438"/>
                  </a:lnTo>
                  <a:lnTo>
                    <a:pt x="221" y="431"/>
                  </a:lnTo>
                  <a:lnTo>
                    <a:pt x="225" y="423"/>
                  </a:lnTo>
                  <a:lnTo>
                    <a:pt x="228" y="414"/>
                  </a:lnTo>
                  <a:lnTo>
                    <a:pt x="229" y="404"/>
                  </a:lnTo>
                  <a:lnTo>
                    <a:pt x="229" y="48"/>
                  </a:lnTo>
                  <a:lnTo>
                    <a:pt x="229" y="48"/>
                  </a:lnTo>
                  <a:lnTo>
                    <a:pt x="228" y="38"/>
                  </a:lnTo>
                  <a:lnTo>
                    <a:pt x="225" y="29"/>
                  </a:lnTo>
                  <a:lnTo>
                    <a:pt x="221" y="21"/>
                  </a:lnTo>
                  <a:lnTo>
                    <a:pt x="215" y="14"/>
                  </a:lnTo>
                  <a:lnTo>
                    <a:pt x="208" y="8"/>
                  </a:lnTo>
                  <a:lnTo>
                    <a:pt x="200" y="4"/>
                  </a:lnTo>
                  <a:lnTo>
                    <a:pt x="191" y="1"/>
                  </a:lnTo>
                  <a:lnTo>
                    <a:pt x="181" y="0"/>
                  </a:lnTo>
                  <a:lnTo>
                    <a:pt x="181" y="0"/>
                  </a:lnTo>
                  <a:close/>
                </a:path>
              </a:pathLst>
            </a:custGeom>
            <a:solidFill>
              <a:srgbClr val="004E78"/>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13" name="Freeform 1312"/>
            <p:cNvSpPr/>
            <p:nvPr/>
          </p:nvSpPr>
          <p:spPr bwMode="auto">
            <a:xfrm>
              <a:off x="568538" y="506741"/>
              <a:ext cx="389325" cy="766290"/>
            </a:xfrm>
            <a:custGeom>
              <a:avLst/>
              <a:gdLst>
                <a:gd name="T0" fmla="*/ 188 w 188"/>
                <a:gd name="T1" fmla="*/ 0 h 372"/>
                <a:gd name="T2" fmla="*/ 0 w 188"/>
                <a:gd name="T3" fmla="*/ 0 h 372"/>
                <a:gd name="T4" fmla="*/ 0 w 188"/>
                <a:gd name="T5" fmla="*/ 0 h 372"/>
                <a:gd name="T6" fmla="*/ 0 w 188"/>
                <a:gd name="T7" fmla="*/ 1 h 372"/>
                <a:gd name="T8" fmla="*/ 0 w 188"/>
                <a:gd name="T9" fmla="*/ 372 h 372"/>
                <a:gd name="T10" fmla="*/ 0 w 188"/>
                <a:gd name="T11" fmla="*/ 372 h 372"/>
                <a:gd name="T12" fmla="*/ 0 w 188"/>
                <a:gd name="T13" fmla="*/ 372 h 372"/>
                <a:gd name="T14" fmla="*/ 188 w 188"/>
                <a:gd name="T15" fmla="*/ 372 h 372"/>
                <a:gd name="T16" fmla="*/ 188 w 188"/>
                <a:gd name="T17" fmla="*/ 372 h 372"/>
                <a:gd name="T18" fmla="*/ 188 w 188"/>
                <a:gd name="T19" fmla="*/ 372 h 372"/>
                <a:gd name="T20" fmla="*/ 188 w 188"/>
                <a:gd name="T21" fmla="*/ 1 h 372"/>
                <a:gd name="T22" fmla="*/ 188 w 188"/>
                <a:gd name="T23" fmla="*/ 1 h 372"/>
                <a:gd name="T24" fmla="*/ 188 w 188"/>
                <a:gd name="T25" fmla="*/ 0 h 372"/>
                <a:gd name="T26" fmla="*/ 188 w 188"/>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372">
                  <a:moveTo>
                    <a:pt x="188" y="0"/>
                  </a:moveTo>
                  <a:lnTo>
                    <a:pt x="0" y="0"/>
                  </a:lnTo>
                  <a:lnTo>
                    <a:pt x="0" y="0"/>
                  </a:lnTo>
                  <a:lnTo>
                    <a:pt x="0" y="1"/>
                  </a:lnTo>
                  <a:lnTo>
                    <a:pt x="0" y="372"/>
                  </a:lnTo>
                  <a:lnTo>
                    <a:pt x="0" y="372"/>
                  </a:lnTo>
                  <a:lnTo>
                    <a:pt x="0" y="372"/>
                  </a:lnTo>
                  <a:lnTo>
                    <a:pt x="188" y="372"/>
                  </a:lnTo>
                  <a:lnTo>
                    <a:pt x="188" y="372"/>
                  </a:lnTo>
                  <a:lnTo>
                    <a:pt x="188" y="372"/>
                  </a:lnTo>
                  <a:lnTo>
                    <a:pt x="188" y="1"/>
                  </a:lnTo>
                  <a:lnTo>
                    <a:pt x="188" y="1"/>
                  </a:lnTo>
                  <a:lnTo>
                    <a:pt x="188" y="0"/>
                  </a:lnTo>
                  <a:lnTo>
                    <a:pt x="18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14" name="Freeform 1313"/>
            <p:cNvSpPr/>
            <p:nvPr/>
          </p:nvSpPr>
          <p:spPr bwMode="auto">
            <a:xfrm>
              <a:off x="685954" y="451122"/>
              <a:ext cx="154494" cy="12359"/>
            </a:xfrm>
            <a:custGeom>
              <a:avLst/>
              <a:gdLst>
                <a:gd name="T0" fmla="*/ 73 w 76"/>
                <a:gd name="T1" fmla="*/ 0 h 7"/>
                <a:gd name="T2" fmla="*/ 3 w 76"/>
                <a:gd name="T3" fmla="*/ 0 h 7"/>
                <a:gd name="T4" fmla="*/ 3 w 76"/>
                <a:gd name="T5" fmla="*/ 0 h 7"/>
                <a:gd name="T6" fmla="*/ 1 w 76"/>
                <a:gd name="T7" fmla="*/ 1 h 7"/>
                <a:gd name="T8" fmla="*/ 0 w 76"/>
                <a:gd name="T9" fmla="*/ 4 h 7"/>
                <a:gd name="T10" fmla="*/ 0 w 76"/>
                <a:gd name="T11" fmla="*/ 4 h 7"/>
                <a:gd name="T12" fmla="*/ 1 w 76"/>
                <a:gd name="T13" fmla="*/ 6 h 7"/>
                <a:gd name="T14" fmla="*/ 3 w 76"/>
                <a:gd name="T15" fmla="*/ 7 h 7"/>
                <a:gd name="T16" fmla="*/ 73 w 76"/>
                <a:gd name="T17" fmla="*/ 7 h 7"/>
                <a:gd name="T18" fmla="*/ 73 w 76"/>
                <a:gd name="T19" fmla="*/ 7 h 7"/>
                <a:gd name="T20" fmla="*/ 75 w 76"/>
                <a:gd name="T21" fmla="*/ 6 h 7"/>
                <a:gd name="T22" fmla="*/ 76 w 76"/>
                <a:gd name="T23" fmla="*/ 4 h 7"/>
                <a:gd name="T24" fmla="*/ 76 w 76"/>
                <a:gd name="T25" fmla="*/ 4 h 7"/>
                <a:gd name="T26" fmla="*/ 75 w 76"/>
                <a:gd name="T27" fmla="*/ 1 h 7"/>
                <a:gd name="T28" fmla="*/ 73 w 76"/>
                <a:gd name="T29" fmla="*/ 0 h 7"/>
                <a:gd name="T30" fmla="*/ 73 w 76"/>
                <a:gd name="T3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
                  <a:moveTo>
                    <a:pt x="73" y="0"/>
                  </a:moveTo>
                  <a:lnTo>
                    <a:pt x="3" y="0"/>
                  </a:lnTo>
                  <a:lnTo>
                    <a:pt x="3" y="0"/>
                  </a:lnTo>
                  <a:lnTo>
                    <a:pt x="1" y="1"/>
                  </a:lnTo>
                  <a:lnTo>
                    <a:pt x="0" y="4"/>
                  </a:lnTo>
                  <a:lnTo>
                    <a:pt x="0" y="4"/>
                  </a:lnTo>
                  <a:lnTo>
                    <a:pt x="1" y="6"/>
                  </a:lnTo>
                  <a:lnTo>
                    <a:pt x="3" y="7"/>
                  </a:lnTo>
                  <a:lnTo>
                    <a:pt x="73" y="7"/>
                  </a:lnTo>
                  <a:lnTo>
                    <a:pt x="73" y="7"/>
                  </a:lnTo>
                  <a:lnTo>
                    <a:pt x="75" y="6"/>
                  </a:lnTo>
                  <a:lnTo>
                    <a:pt x="76" y="4"/>
                  </a:lnTo>
                  <a:lnTo>
                    <a:pt x="76" y="4"/>
                  </a:lnTo>
                  <a:lnTo>
                    <a:pt x="75" y="1"/>
                  </a:lnTo>
                  <a:lnTo>
                    <a:pt x="73" y="0"/>
                  </a:lnTo>
                  <a:lnTo>
                    <a:pt x="73" y="0"/>
                  </a:lnTo>
                  <a:close/>
                </a:path>
              </a:pathLst>
            </a:custGeom>
            <a:solidFill>
              <a:srgbClr val="57A5C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15" name="Freeform 1314"/>
            <p:cNvSpPr/>
            <p:nvPr/>
          </p:nvSpPr>
          <p:spPr bwMode="auto">
            <a:xfrm>
              <a:off x="741570" y="1291570"/>
              <a:ext cx="43258" cy="49439"/>
            </a:xfrm>
            <a:custGeom>
              <a:avLst/>
              <a:gdLst>
                <a:gd name="T0" fmla="*/ 11 w 23"/>
                <a:gd name="T1" fmla="*/ 0 h 23"/>
                <a:gd name="T2" fmla="*/ 11 w 23"/>
                <a:gd name="T3" fmla="*/ 0 h 23"/>
                <a:gd name="T4" fmla="*/ 7 w 23"/>
                <a:gd name="T5" fmla="*/ 1 h 23"/>
                <a:gd name="T6" fmla="*/ 3 w 23"/>
                <a:gd name="T7" fmla="*/ 3 h 23"/>
                <a:gd name="T8" fmla="*/ 0 w 23"/>
                <a:gd name="T9" fmla="*/ 7 h 23"/>
                <a:gd name="T10" fmla="*/ 0 w 23"/>
                <a:gd name="T11" fmla="*/ 11 h 23"/>
                <a:gd name="T12" fmla="*/ 0 w 23"/>
                <a:gd name="T13" fmla="*/ 11 h 23"/>
                <a:gd name="T14" fmla="*/ 0 w 23"/>
                <a:gd name="T15" fmla="*/ 16 h 23"/>
                <a:gd name="T16" fmla="*/ 3 w 23"/>
                <a:gd name="T17" fmla="*/ 20 h 23"/>
                <a:gd name="T18" fmla="*/ 7 w 23"/>
                <a:gd name="T19" fmla="*/ 22 h 23"/>
                <a:gd name="T20" fmla="*/ 11 w 23"/>
                <a:gd name="T21" fmla="*/ 23 h 23"/>
                <a:gd name="T22" fmla="*/ 11 w 23"/>
                <a:gd name="T23" fmla="*/ 23 h 23"/>
                <a:gd name="T24" fmla="*/ 16 w 23"/>
                <a:gd name="T25" fmla="*/ 22 h 23"/>
                <a:gd name="T26" fmla="*/ 19 w 23"/>
                <a:gd name="T27" fmla="*/ 20 h 23"/>
                <a:gd name="T28" fmla="*/ 22 w 23"/>
                <a:gd name="T29" fmla="*/ 16 h 23"/>
                <a:gd name="T30" fmla="*/ 23 w 23"/>
                <a:gd name="T31" fmla="*/ 11 h 23"/>
                <a:gd name="T32" fmla="*/ 23 w 23"/>
                <a:gd name="T33" fmla="*/ 11 h 23"/>
                <a:gd name="T34" fmla="*/ 22 w 23"/>
                <a:gd name="T35" fmla="*/ 7 h 23"/>
                <a:gd name="T36" fmla="*/ 19 w 23"/>
                <a:gd name="T37" fmla="*/ 3 h 23"/>
                <a:gd name="T38" fmla="*/ 16 w 23"/>
                <a:gd name="T39" fmla="*/ 1 h 23"/>
                <a:gd name="T40" fmla="*/ 11 w 23"/>
                <a:gd name="T41" fmla="*/ 0 h 23"/>
                <a:gd name="T42" fmla="*/ 11 w 23"/>
                <a:gd name="T4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3">
                  <a:moveTo>
                    <a:pt x="11" y="0"/>
                  </a:moveTo>
                  <a:lnTo>
                    <a:pt x="11" y="0"/>
                  </a:lnTo>
                  <a:lnTo>
                    <a:pt x="7" y="1"/>
                  </a:lnTo>
                  <a:lnTo>
                    <a:pt x="3" y="3"/>
                  </a:lnTo>
                  <a:lnTo>
                    <a:pt x="0" y="7"/>
                  </a:lnTo>
                  <a:lnTo>
                    <a:pt x="0" y="11"/>
                  </a:lnTo>
                  <a:lnTo>
                    <a:pt x="0" y="11"/>
                  </a:lnTo>
                  <a:lnTo>
                    <a:pt x="0" y="16"/>
                  </a:lnTo>
                  <a:lnTo>
                    <a:pt x="3" y="20"/>
                  </a:lnTo>
                  <a:lnTo>
                    <a:pt x="7" y="22"/>
                  </a:lnTo>
                  <a:lnTo>
                    <a:pt x="11" y="23"/>
                  </a:lnTo>
                  <a:lnTo>
                    <a:pt x="11" y="23"/>
                  </a:lnTo>
                  <a:lnTo>
                    <a:pt x="16" y="22"/>
                  </a:lnTo>
                  <a:lnTo>
                    <a:pt x="19" y="20"/>
                  </a:lnTo>
                  <a:lnTo>
                    <a:pt x="22" y="16"/>
                  </a:lnTo>
                  <a:lnTo>
                    <a:pt x="23" y="11"/>
                  </a:lnTo>
                  <a:lnTo>
                    <a:pt x="23" y="11"/>
                  </a:lnTo>
                  <a:lnTo>
                    <a:pt x="22" y="7"/>
                  </a:lnTo>
                  <a:lnTo>
                    <a:pt x="19" y="3"/>
                  </a:lnTo>
                  <a:lnTo>
                    <a:pt x="16" y="1"/>
                  </a:lnTo>
                  <a:lnTo>
                    <a:pt x="11" y="0"/>
                  </a:lnTo>
                  <a:lnTo>
                    <a:pt x="11" y="0"/>
                  </a:lnTo>
                  <a:close/>
                </a:path>
              </a:pathLst>
            </a:custGeom>
            <a:solidFill>
              <a:srgbClr val="57A5C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16" name="Freeform 1315"/>
            <p:cNvSpPr/>
            <p:nvPr/>
          </p:nvSpPr>
          <p:spPr bwMode="auto">
            <a:xfrm>
              <a:off x="401685" y="1032020"/>
              <a:ext cx="185393" cy="185393"/>
            </a:xfrm>
            <a:custGeom>
              <a:avLst/>
              <a:gdLst>
                <a:gd name="T0" fmla="*/ 8 w 90"/>
                <a:gd name="T1" fmla="*/ 8 h 91"/>
                <a:gd name="T2" fmla="*/ 8 w 90"/>
                <a:gd name="T3" fmla="*/ 8 h 91"/>
                <a:gd name="T4" fmla="*/ 8 w 90"/>
                <a:gd name="T5" fmla="*/ 8 h 91"/>
                <a:gd name="T6" fmla="*/ 4 w 90"/>
                <a:gd name="T7" fmla="*/ 13 h 91"/>
                <a:gd name="T8" fmla="*/ 2 w 90"/>
                <a:gd name="T9" fmla="*/ 18 h 91"/>
                <a:gd name="T10" fmla="*/ 1 w 90"/>
                <a:gd name="T11" fmla="*/ 23 h 91"/>
                <a:gd name="T12" fmla="*/ 0 w 90"/>
                <a:gd name="T13" fmla="*/ 28 h 91"/>
                <a:gd name="T14" fmla="*/ 1 w 90"/>
                <a:gd name="T15" fmla="*/ 33 h 91"/>
                <a:gd name="T16" fmla="*/ 2 w 90"/>
                <a:gd name="T17" fmla="*/ 38 h 91"/>
                <a:gd name="T18" fmla="*/ 5 w 90"/>
                <a:gd name="T19" fmla="*/ 43 h 91"/>
                <a:gd name="T20" fmla="*/ 8 w 90"/>
                <a:gd name="T21" fmla="*/ 47 h 91"/>
                <a:gd name="T22" fmla="*/ 44 w 90"/>
                <a:gd name="T23" fmla="*/ 83 h 91"/>
                <a:gd name="T24" fmla="*/ 44 w 90"/>
                <a:gd name="T25" fmla="*/ 83 h 91"/>
                <a:gd name="T26" fmla="*/ 48 w 90"/>
                <a:gd name="T27" fmla="*/ 86 h 91"/>
                <a:gd name="T28" fmla="*/ 53 w 90"/>
                <a:gd name="T29" fmla="*/ 89 h 91"/>
                <a:gd name="T30" fmla="*/ 58 w 90"/>
                <a:gd name="T31" fmla="*/ 90 h 91"/>
                <a:gd name="T32" fmla="*/ 63 w 90"/>
                <a:gd name="T33" fmla="*/ 91 h 91"/>
                <a:gd name="T34" fmla="*/ 69 w 90"/>
                <a:gd name="T35" fmla="*/ 90 h 91"/>
                <a:gd name="T36" fmla="*/ 74 w 90"/>
                <a:gd name="T37" fmla="*/ 88 h 91"/>
                <a:gd name="T38" fmla="*/ 78 w 90"/>
                <a:gd name="T39" fmla="*/ 86 h 91"/>
                <a:gd name="T40" fmla="*/ 83 w 90"/>
                <a:gd name="T41" fmla="*/ 82 h 91"/>
                <a:gd name="T42" fmla="*/ 83 w 90"/>
                <a:gd name="T43" fmla="*/ 82 h 91"/>
                <a:gd name="T44" fmla="*/ 86 w 90"/>
                <a:gd name="T45" fmla="*/ 78 h 91"/>
                <a:gd name="T46" fmla="*/ 88 w 90"/>
                <a:gd name="T47" fmla="*/ 73 h 91"/>
                <a:gd name="T48" fmla="*/ 90 w 90"/>
                <a:gd name="T49" fmla="*/ 68 h 91"/>
                <a:gd name="T50" fmla="*/ 90 w 90"/>
                <a:gd name="T51" fmla="*/ 63 h 91"/>
                <a:gd name="T52" fmla="*/ 90 w 90"/>
                <a:gd name="T53" fmla="*/ 58 h 91"/>
                <a:gd name="T54" fmla="*/ 88 w 90"/>
                <a:gd name="T55" fmla="*/ 53 h 91"/>
                <a:gd name="T56" fmla="*/ 86 w 90"/>
                <a:gd name="T57" fmla="*/ 48 h 91"/>
                <a:gd name="T58" fmla="*/ 82 w 90"/>
                <a:gd name="T59" fmla="*/ 44 h 91"/>
                <a:gd name="T60" fmla="*/ 46 w 90"/>
                <a:gd name="T61" fmla="*/ 8 h 91"/>
                <a:gd name="T62" fmla="*/ 46 w 90"/>
                <a:gd name="T63" fmla="*/ 8 h 91"/>
                <a:gd name="T64" fmla="*/ 42 w 90"/>
                <a:gd name="T65" fmla="*/ 5 h 91"/>
                <a:gd name="T66" fmla="*/ 37 w 90"/>
                <a:gd name="T67" fmla="*/ 2 h 91"/>
                <a:gd name="T68" fmla="*/ 32 w 90"/>
                <a:gd name="T69" fmla="*/ 1 h 91"/>
                <a:gd name="T70" fmla="*/ 27 w 90"/>
                <a:gd name="T71" fmla="*/ 0 h 91"/>
                <a:gd name="T72" fmla="*/ 22 w 90"/>
                <a:gd name="T73" fmla="*/ 1 h 91"/>
                <a:gd name="T74" fmla="*/ 17 w 90"/>
                <a:gd name="T75" fmla="*/ 2 h 91"/>
                <a:gd name="T76" fmla="*/ 12 w 90"/>
                <a:gd name="T77" fmla="*/ 5 h 91"/>
                <a:gd name="T78" fmla="*/ 8 w 90"/>
                <a:gd name="T79" fmla="*/ 8 h 91"/>
                <a:gd name="T80" fmla="*/ 8 w 90"/>
                <a:gd name="T81" fmla="*/ 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 h="91">
                  <a:moveTo>
                    <a:pt x="8" y="8"/>
                  </a:moveTo>
                  <a:lnTo>
                    <a:pt x="8" y="8"/>
                  </a:lnTo>
                  <a:lnTo>
                    <a:pt x="8" y="8"/>
                  </a:lnTo>
                  <a:lnTo>
                    <a:pt x="4" y="13"/>
                  </a:lnTo>
                  <a:lnTo>
                    <a:pt x="2" y="18"/>
                  </a:lnTo>
                  <a:lnTo>
                    <a:pt x="1" y="23"/>
                  </a:lnTo>
                  <a:lnTo>
                    <a:pt x="0" y="28"/>
                  </a:lnTo>
                  <a:lnTo>
                    <a:pt x="1" y="33"/>
                  </a:lnTo>
                  <a:lnTo>
                    <a:pt x="2" y="38"/>
                  </a:lnTo>
                  <a:lnTo>
                    <a:pt x="5" y="43"/>
                  </a:lnTo>
                  <a:lnTo>
                    <a:pt x="8" y="47"/>
                  </a:lnTo>
                  <a:lnTo>
                    <a:pt x="44" y="83"/>
                  </a:lnTo>
                  <a:lnTo>
                    <a:pt x="44" y="83"/>
                  </a:lnTo>
                  <a:lnTo>
                    <a:pt x="48" y="86"/>
                  </a:lnTo>
                  <a:lnTo>
                    <a:pt x="53" y="89"/>
                  </a:lnTo>
                  <a:lnTo>
                    <a:pt x="58" y="90"/>
                  </a:lnTo>
                  <a:lnTo>
                    <a:pt x="63" y="91"/>
                  </a:lnTo>
                  <a:lnTo>
                    <a:pt x="69" y="90"/>
                  </a:lnTo>
                  <a:lnTo>
                    <a:pt x="74" y="88"/>
                  </a:lnTo>
                  <a:lnTo>
                    <a:pt x="78" y="86"/>
                  </a:lnTo>
                  <a:lnTo>
                    <a:pt x="83" y="82"/>
                  </a:lnTo>
                  <a:lnTo>
                    <a:pt x="83" y="82"/>
                  </a:lnTo>
                  <a:lnTo>
                    <a:pt x="86" y="78"/>
                  </a:lnTo>
                  <a:lnTo>
                    <a:pt x="88" y="73"/>
                  </a:lnTo>
                  <a:lnTo>
                    <a:pt x="90" y="68"/>
                  </a:lnTo>
                  <a:lnTo>
                    <a:pt x="90" y="63"/>
                  </a:lnTo>
                  <a:lnTo>
                    <a:pt x="90" y="58"/>
                  </a:lnTo>
                  <a:lnTo>
                    <a:pt x="88" y="53"/>
                  </a:lnTo>
                  <a:lnTo>
                    <a:pt x="86" y="48"/>
                  </a:lnTo>
                  <a:lnTo>
                    <a:pt x="82" y="44"/>
                  </a:lnTo>
                  <a:lnTo>
                    <a:pt x="46" y="8"/>
                  </a:lnTo>
                  <a:lnTo>
                    <a:pt x="46" y="8"/>
                  </a:lnTo>
                  <a:lnTo>
                    <a:pt x="42" y="5"/>
                  </a:lnTo>
                  <a:lnTo>
                    <a:pt x="37" y="2"/>
                  </a:lnTo>
                  <a:lnTo>
                    <a:pt x="32" y="1"/>
                  </a:lnTo>
                  <a:lnTo>
                    <a:pt x="27" y="0"/>
                  </a:lnTo>
                  <a:lnTo>
                    <a:pt x="22" y="1"/>
                  </a:lnTo>
                  <a:lnTo>
                    <a:pt x="17" y="2"/>
                  </a:lnTo>
                  <a:lnTo>
                    <a:pt x="12" y="5"/>
                  </a:lnTo>
                  <a:lnTo>
                    <a:pt x="8" y="8"/>
                  </a:lnTo>
                  <a:lnTo>
                    <a:pt x="8" y="8"/>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17" name="Freeform 1316"/>
            <p:cNvSpPr/>
            <p:nvPr/>
          </p:nvSpPr>
          <p:spPr bwMode="auto">
            <a:xfrm>
              <a:off x="389326" y="846628"/>
              <a:ext cx="173032" cy="173033"/>
            </a:xfrm>
            <a:custGeom>
              <a:avLst/>
              <a:gdLst>
                <a:gd name="T0" fmla="*/ 8 w 85"/>
                <a:gd name="T1" fmla="*/ 8 h 84"/>
                <a:gd name="T2" fmla="*/ 8 w 85"/>
                <a:gd name="T3" fmla="*/ 8 h 84"/>
                <a:gd name="T4" fmla="*/ 8 w 85"/>
                <a:gd name="T5" fmla="*/ 8 h 84"/>
                <a:gd name="T6" fmla="*/ 4 w 85"/>
                <a:gd name="T7" fmla="*/ 12 h 84"/>
                <a:gd name="T8" fmla="*/ 2 w 85"/>
                <a:gd name="T9" fmla="*/ 17 h 84"/>
                <a:gd name="T10" fmla="*/ 0 w 85"/>
                <a:gd name="T11" fmla="*/ 22 h 84"/>
                <a:gd name="T12" fmla="*/ 0 w 85"/>
                <a:gd name="T13" fmla="*/ 27 h 84"/>
                <a:gd name="T14" fmla="*/ 0 w 85"/>
                <a:gd name="T15" fmla="*/ 32 h 84"/>
                <a:gd name="T16" fmla="*/ 2 w 85"/>
                <a:gd name="T17" fmla="*/ 37 h 84"/>
                <a:gd name="T18" fmla="*/ 4 w 85"/>
                <a:gd name="T19" fmla="*/ 42 h 84"/>
                <a:gd name="T20" fmla="*/ 8 w 85"/>
                <a:gd name="T21" fmla="*/ 46 h 84"/>
                <a:gd name="T22" fmla="*/ 39 w 85"/>
                <a:gd name="T23" fmla="*/ 76 h 84"/>
                <a:gd name="T24" fmla="*/ 39 w 85"/>
                <a:gd name="T25" fmla="*/ 76 h 84"/>
                <a:gd name="T26" fmla="*/ 43 w 85"/>
                <a:gd name="T27" fmla="*/ 80 h 84"/>
                <a:gd name="T28" fmla="*/ 48 w 85"/>
                <a:gd name="T29" fmla="*/ 82 h 84"/>
                <a:gd name="T30" fmla="*/ 53 w 85"/>
                <a:gd name="T31" fmla="*/ 84 h 84"/>
                <a:gd name="T32" fmla="*/ 58 w 85"/>
                <a:gd name="T33" fmla="*/ 84 h 84"/>
                <a:gd name="T34" fmla="*/ 63 w 85"/>
                <a:gd name="T35" fmla="*/ 84 h 84"/>
                <a:gd name="T36" fmla="*/ 68 w 85"/>
                <a:gd name="T37" fmla="*/ 82 h 84"/>
                <a:gd name="T38" fmla="*/ 73 w 85"/>
                <a:gd name="T39" fmla="*/ 80 h 84"/>
                <a:gd name="T40" fmla="*/ 77 w 85"/>
                <a:gd name="T41" fmla="*/ 76 h 84"/>
                <a:gd name="T42" fmla="*/ 77 w 85"/>
                <a:gd name="T43" fmla="*/ 76 h 84"/>
                <a:gd name="T44" fmla="*/ 81 w 85"/>
                <a:gd name="T45" fmla="*/ 72 h 84"/>
                <a:gd name="T46" fmla="*/ 83 w 85"/>
                <a:gd name="T47" fmla="*/ 67 h 84"/>
                <a:gd name="T48" fmla="*/ 84 w 85"/>
                <a:gd name="T49" fmla="*/ 62 h 84"/>
                <a:gd name="T50" fmla="*/ 85 w 85"/>
                <a:gd name="T51" fmla="*/ 57 h 84"/>
                <a:gd name="T52" fmla="*/ 84 w 85"/>
                <a:gd name="T53" fmla="*/ 52 h 84"/>
                <a:gd name="T54" fmla="*/ 83 w 85"/>
                <a:gd name="T55" fmla="*/ 47 h 84"/>
                <a:gd name="T56" fmla="*/ 80 w 85"/>
                <a:gd name="T57" fmla="*/ 42 h 84"/>
                <a:gd name="T58" fmla="*/ 77 w 85"/>
                <a:gd name="T59" fmla="*/ 38 h 84"/>
                <a:gd name="T60" fmla="*/ 46 w 85"/>
                <a:gd name="T61" fmla="*/ 7 h 84"/>
                <a:gd name="T62" fmla="*/ 46 w 85"/>
                <a:gd name="T63" fmla="*/ 7 h 84"/>
                <a:gd name="T64" fmla="*/ 42 w 85"/>
                <a:gd name="T65" fmla="*/ 4 h 84"/>
                <a:gd name="T66" fmla="*/ 37 w 85"/>
                <a:gd name="T67" fmla="*/ 1 h 84"/>
                <a:gd name="T68" fmla="*/ 32 w 85"/>
                <a:gd name="T69" fmla="*/ 0 h 84"/>
                <a:gd name="T70" fmla="*/ 27 w 85"/>
                <a:gd name="T71" fmla="*/ 0 h 84"/>
                <a:gd name="T72" fmla="*/ 22 w 85"/>
                <a:gd name="T73" fmla="*/ 0 h 84"/>
                <a:gd name="T74" fmla="*/ 17 w 85"/>
                <a:gd name="T75" fmla="*/ 2 h 84"/>
                <a:gd name="T76" fmla="*/ 12 w 85"/>
                <a:gd name="T77" fmla="*/ 4 h 84"/>
                <a:gd name="T78" fmla="*/ 8 w 85"/>
                <a:gd name="T79" fmla="*/ 8 h 84"/>
                <a:gd name="T80" fmla="*/ 8 w 85"/>
                <a:gd name="T81" fmla="*/ 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5" h="84">
                  <a:moveTo>
                    <a:pt x="8" y="8"/>
                  </a:moveTo>
                  <a:lnTo>
                    <a:pt x="8" y="8"/>
                  </a:lnTo>
                  <a:lnTo>
                    <a:pt x="8" y="8"/>
                  </a:lnTo>
                  <a:lnTo>
                    <a:pt x="4" y="12"/>
                  </a:lnTo>
                  <a:lnTo>
                    <a:pt x="2" y="17"/>
                  </a:lnTo>
                  <a:lnTo>
                    <a:pt x="0" y="22"/>
                  </a:lnTo>
                  <a:lnTo>
                    <a:pt x="0" y="27"/>
                  </a:lnTo>
                  <a:lnTo>
                    <a:pt x="0" y="32"/>
                  </a:lnTo>
                  <a:lnTo>
                    <a:pt x="2" y="37"/>
                  </a:lnTo>
                  <a:lnTo>
                    <a:pt x="4" y="42"/>
                  </a:lnTo>
                  <a:lnTo>
                    <a:pt x="8" y="46"/>
                  </a:lnTo>
                  <a:lnTo>
                    <a:pt x="39" y="76"/>
                  </a:lnTo>
                  <a:lnTo>
                    <a:pt x="39" y="76"/>
                  </a:lnTo>
                  <a:lnTo>
                    <a:pt x="43" y="80"/>
                  </a:lnTo>
                  <a:lnTo>
                    <a:pt x="48" y="82"/>
                  </a:lnTo>
                  <a:lnTo>
                    <a:pt x="53" y="84"/>
                  </a:lnTo>
                  <a:lnTo>
                    <a:pt x="58" y="84"/>
                  </a:lnTo>
                  <a:lnTo>
                    <a:pt x="63" y="84"/>
                  </a:lnTo>
                  <a:lnTo>
                    <a:pt x="68" y="82"/>
                  </a:lnTo>
                  <a:lnTo>
                    <a:pt x="73" y="80"/>
                  </a:lnTo>
                  <a:lnTo>
                    <a:pt x="77" y="76"/>
                  </a:lnTo>
                  <a:lnTo>
                    <a:pt x="77" y="76"/>
                  </a:lnTo>
                  <a:lnTo>
                    <a:pt x="81" y="72"/>
                  </a:lnTo>
                  <a:lnTo>
                    <a:pt x="83" y="67"/>
                  </a:lnTo>
                  <a:lnTo>
                    <a:pt x="84" y="62"/>
                  </a:lnTo>
                  <a:lnTo>
                    <a:pt x="85" y="57"/>
                  </a:lnTo>
                  <a:lnTo>
                    <a:pt x="84" y="52"/>
                  </a:lnTo>
                  <a:lnTo>
                    <a:pt x="83" y="47"/>
                  </a:lnTo>
                  <a:lnTo>
                    <a:pt x="80" y="42"/>
                  </a:lnTo>
                  <a:lnTo>
                    <a:pt x="77" y="38"/>
                  </a:lnTo>
                  <a:lnTo>
                    <a:pt x="46" y="7"/>
                  </a:lnTo>
                  <a:lnTo>
                    <a:pt x="46" y="7"/>
                  </a:lnTo>
                  <a:lnTo>
                    <a:pt x="42" y="4"/>
                  </a:lnTo>
                  <a:lnTo>
                    <a:pt x="37" y="1"/>
                  </a:lnTo>
                  <a:lnTo>
                    <a:pt x="32" y="0"/>
                  </a:lnTo>
                  <a:lnTo>
                    <a:pt x="27" y="0"/>
                  </a:lnTo>
                  <a:lnTo>
                    <a:pt x="22" y="0"/>
                  </a:lnTo>
                  <a:lnTo>
                    <a:pt x="17" y="2"/>
                  </a:lnTo>
                  <a:lnTo>
                    <a:pt x="12" y="4"/>
                  </a:lnTo>
                  <a:lnTo>
                    <a:pt x="8" y="8"/>
                  </a:lnTo>
                  <a:lnTo>
                    <a:pt x="8" y="8"/>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18" name="Freeform 1317"/>
            <p:cNvSpPr/>
            <p:nvPr/>
          </p:nvSpPr>
          <p:spPr bwMode="auto">
            <a:xfrm>
              <a:off x="784830" y="1526401"/>
              <a:ext cx="426403" cy="203932"/>
            </a:xfrm>
            <a:custGeom>
              <a:avLst/>
              <a:gdLst>
                <a:gd name="T0" fmla="*/ 186 w 206"/>
                <a:gd name="T1" fmla="*/ 0 h 100"/>
                <a:gd name="T2" fmla="*/ 0 w 206"/>
                <a:gd name="T3" fmla="*/ 37 h 100"/>
                <a:gd name="T4" fmla="*/ 12 w 206"/>
                <a:gd name="T5" fmla="*/ 100 h 100"/>
                <a:gd name="T6" fmla="*/ 206 w 206"/>
                <a:gd name="T7" fmla="*/ 100 h 100"/>
                <a:gd name="T8" fmla="*/ 186 w 206"/>
                <a:gd name="T9" fmla="*/ 0 h 100"/>
              </a:gdLst>
              <a:ahLst/>
              <a:cxnLst>
                <a:cxn ang="0">
                  <a:pos x="T0" y="T1"/>
                </a:cxn>
                <a:cxn ang="0">
                  <a:pos x="T2" y="T3"/>
                </a:cxn>
                <a:cxn ang="0">
                  <a:pos x="T4" y="T5"/>
                </a:cxn>
                <a:cxn ang="0">
                  <a:pos x="T6" y="T7"/>
                </a:cxn>
                <a:cxn ang="0">
                  <a:pos x="T8" y="T9"/>
                </a:cxn>
              </a:cxnLst>
              <a:rect l="0" t="0" r="r" b="b"/>
              <a:pathLst>
                <a:path w="206" h="100">
                  <a:moveTo>
                    <a:pt x="186" y="0"/>
                  </a:moveTo>
                  <a:lnTo>
                    <a:pt x="0" y="37"/>
                  </a:lnTo>
                  <a:lnTo>
                    <a:pt x="12" y="100"/>
                  </a:lnTo>
                  <a:lnTo>
                    <a:pt x="206" y="100"/>
                  </a:lnTo>
                  <a:lnTo>
                    <a:pt x="186" y="0"/>
                  </a:lnTo>
                  <a:close/>
                </a:path>
              </a:pathLst>
            </a:custGeom>
            <a:solidFill>
              <a:srgbClr val="CAEAFC"/>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19" name="Freeform 1318"/>
            <p:cNvSpPr/>
            <p:nvPr/>
          </p:nvSpPr>
          <p:spPr bwMode="auto">
            <a:xfrm>
              <a:off x="976404" y="846628"/>
              <a:ext cx="142134" cy="556178"/>
            </a:xfrm>
            <a:custGeom>
              <a:avLst/>
              <a:gdLst>
                <a:gd name="T0" fmla="*/ 42 w 70"/>
                <a:gd name="T1" fmla="*/ 265 h 269"/>
                <a:gd name="T2" fmla="*/ 23 w 70"/>
                <a:gd name="T3" fmla="*/ 269 h 269"/>
                <a:gd name="T4" fmla="*/ 21 w 70"/>
                <a:gd name="T5" fmla="*/ 245 h 269"/>
                <a:gd name="T6" fmla="*/ 0 w 70"/>
                <a:gd name="T7" fmla="*/ 55 h 269"/>
                <a:gd name="T8" fmla="*/ 0 w 70"/>
                <a:gd name="T9" fmla="*/ 55 h 269"/>
                <a:gd name="T10" fmla="*/ 0 w 70"/>
                <a:gd name="T11" fmla="*/ 43 h 269"/>
                <a:gd name="T12" fmla="*/ 1 w 70"/>
                <a:gd name="T13" fmla="*/ 34 h 269"/>
                <a:gd name="T14" fmla="*/ 4 w 70"/>
                <a:gd name="T15" fmla="*/ 26 h 269"/>
                <a:gd name="T16" fmla="*/ 8 w 70"/>
                <a:gd name="T17" fmla="*/ 19 h 269"/>
                <a:gd name="T18" fmla="*/ 13 w 70"/>
                <a:gd name="T19" fmla="*/ 14 h 269"/>
                <a:gd name="T20" fmla="*/ 19 w 70"/>
                <a:gd name="T21" fmla="*/ 9 h 269"/>
                <a:gd name="T22" fmla="*/ 25 w 70"/>
                <a:gd name="T23" fmla="*/ 6 h 269"/>
                <a:gd name="T24" fmla="*/ 33 w 70"/>
                <a:gd name="T25" fmla="*/ 3 h 269"/>
                <a:gd name="T26" fmla="*/ 33 w 70"/>
                <a:gd name="T27" fmla="*/ 3 h 269"/>
                <a:gd name="T28" fmla="*/ 39 w 70"/>
                <a:gd name="T29" fmla="*/ 1 h 269"/>
                <a:gd name="T30" fmla="*/ 43 w 70"/>
                <a:gd name="T31" fmla="*/ 0 h 269"/>
                <a:gd name="T32" fmla="*/ 45 w 70"/>
                <a:gd name="T33" fmla="*/ 0 h 269"/>
                <a:gd name="T34" fmla="*/ 46 w 70"/>
                <a:gd name="T35" fmla="*/ 1 h 269"/>
                <a:gd name="T36" fmla="*/ 47 w 70"/>
                <a:gd name="T37" fmla="*/ 7 h 269"/>
                <a:gd name="T38" fmla="*/ 70 w 70"/>
                <a:gd name="T39" fmla="*/ 224 h 269"/>
                <a:gd name="T40" fmla="*/ 70 w 70"/>
                <a:gd name="T41" fmla="*/ 224 h 269"/>
                <a:gd name="T42" fmla="*/ 70 w 70"/>
                <a:gd name="T43" fmla="*/ 231 h 269"/>
                <a:gd name="T44" fmla="*/ 69 w 70"/>
                <a:gd name="T45" fmla="*/ 238 h 269"/>
                <a:gd name="T46" fmla="*/ 67 w 70"/>
                <a:gd name="T47" fmla="*/ 245 h 269"/>
                <a:gd name="T48" fmla="*/ 63 w 70"/>
                <a:gd name="T49" fmla="*/ 250 h 269"/>
                <a:gd name="T50" fmla="*/ 59 w 70"/>
                <a:gd name="T51" fmla="*/ 256 h 269"/>
                <a:gd name="T52" fmla="*/ 54 w 70"/>
                <a:gd name="T53" fmla="*/ 260 h 269"/>
                <a:gd name="T54" fmla="*/ 48 w 70"/>
                <a:gd name="T55" fmla="*/ 263 h 269"/>
                <a:gd name="T56" fmla="*/ 42 w 70"/>
                <a:gd name="T57" fmla="*/ 265 h 269"/>
                <a:gd name="T58" fmla="*/ 42 w 70"/>
                <a:gd name="T59" fmla="*/ 26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0" h="269">
                  <a:moveTo>
                    <a:pt x="42" y="265"/>
                  </a:moveTo>
                  <a:lnTo>
                    <a:pt x="23" y="269"/>
                  </a:lnTo>
                  <a:lnTo>
                    <a:pt x="21" y="245"/>
                  </a:lnTo>
                  <a:lnTo>
                    <a:pt x="0" y="55"/>
                  </a:lnTo>
                  <a:lnTo>
                    <a:pt x="0" y="55"/>
                  </a:lnTo>
                  <a:lnTo>
                    <a:pt x="0" y="43"/>
                  </a:lnTo>
                  <a:lnTo>
                    <a:pt x="1" y="34"/>
                  </a:lnTo>
                  <a:lnTo>
                    <a:pt x="4" y="26"/>
                  </a:lnTo>
                  <a:lnTo>
                    <a:pt x="8" y="19"/>
                  </a:lnTo>
                  <a:lnTo>
                    <a:pt x="13" y="14"/>
                  </a:lnTo>
                  <a:lnTo>
                    <a:pt x="19" y="9"/>
                  </a:lnTo>
                  <a:lnTo>
                    <a:pt x="25" y="6"/>
                  </a:lnTo>
                  <a:lnTo>
                    <a:pt x="33" y="3"/>
                  </a:lnTo>
                  <a:lnTo>
                    <a:pt x="33" y="3"/>
                  </a:lnTo>
                  <a:lnTo>
                    <a:pt x="39" y="1"/>
                  </a:lnTo>
                  <a:lnTo>
                    <a:pt x="43" y="0"/>
                  </a:lnTo>
                  <a:lnTo>
                    <a:pt x="45" y="0"/>
                  </a:lnTo>
                  <a:lnTo>
                    <a:pt x="46" y="1"/>
                  </a:lnTo>
                  <a:lnTo>
                    <a:pt x="47" y="7"/>
                  </a:lnTo>
                  <a:lnTo>
                    <a:pt x="70" y="224"/>
                  </a:lnTo>
                  <a:lnTo>
                    <a:pt x="70" y="224"/>
                  </a:lnTo>
                  <a:lnTo>
                    <a:pt x="70" y="231"/>
                  </a:lnTo>
                  <a:lnTo>
                    <a:pt x="69" y="238"/>
                  </a:lnTo>
                  <a:lnTo>
                    <a:pt x="67" y="245"/>
                  </a:lnTo>
                  <a:lnTo>
                    <a:pt x="63" y="250"/>
                  </a:lnTo>
                  <a:lnTo>
                    <a:pt x="59" y="256"/>
                  </a:lnTo>
                  <a:lnTo>
                    <a:pt x="54" y="260"/>
                  </a:lnTo>
                  <a:lnTo>
                    <a:pt x="48" y="263"/>
                  </a:lnTo>
                  <a:lnTo>
                    <a:pt x="42" y="265"/>
                  </a:lnTo>
                  <a:lnTo>
                    <a:pt x="42" y="265"/>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20" name="Freeform 1319"/>
            <p:cNvSpPr/>
            <p:nvPr/>
          </p:nvSpPr>
          <p:spPr bwMode="auto">
            <a:xfrm>
              <a:off x="457303" y="908426"/>
              <a:ext cx="98876" cy="98876"/>
            </a:xfrm>
            <a:custGeom>
              <a:avLst/>
              <a:gdLst>
                <a:gd name="T0" fmla="*/ 41 w 47"/>
                <a:gd name="T1" fmla="*/ 9 h 48"/>
                <a:gd name="T2" fmla="*/ 32 w 47"/>
                <a:gd name="T3" fmla="*/ 0 h 48"/>
                <a:gd name="T4" fmla="*/ 32 w 47"/>
                <a:gd name="T5" fmla="*/ 0 h 48"/>
                <a:gd name="T6" fmla="*/ 25 w 47"/>
                <a:gd name="T7" fmla="*/ 1 h 48"/>
                <a:gd name="T8" fmla="*/ 19 w 47"/>
                <a:gd name="T9" fmla="*/ 4 h 48"/>
                <a:gd name="T10" fmla="*/ 14 w 47"/>
                <a:gd name="T11" fmla="*/ 7 h 48"/>
                <a:gd name="T12" fmla="*/ 10 w 47"/>
                <a:gd name="T13" fmla="*/ 10 h 48"/>
                <a:gd name="T14" fmla="*/ 6 w 47"/>
                <a:gd name="T15" fmla="*/ 15 h 48"/>
                <a:gd name="T16" fmla="*/ 3 w 47"/>
                <a:gd name="T17" fmla="*/ 20 h 48"/>
                <a:gd name="T18" fmla="*/ 1 w 47"/>
                <a:gd name="T19" fmla="*/ 26 h 48"/>
                <a:gd name="T20" fmla="*/ 0 w 47"/>
                <a:gd name="T21" fmla="*/ 32 h 48"/>
                <a:gd name="T22" fmla="*/ 8 w 47"/>
                <a:gd name="T23" fmla="*/ 41 h 48"/>
                <a:gd name="T24" fmla="*/ 8 w 47"/>
                <a:gd name="T25" fmla="*/ 41 h 48"/>
                <a:gd name="T26" fmla="*/ 13 w 47"/>
                <a:gd name="T27" fmla="*/ 45 h 48"/>
                <a:gd name="T28" fmla="*/ 17 w 47"/>
                <a:gd name="T29" fmla="*/ 47 h 48"/>
                <a:gd name="T30" fmla="*/ 22 w 47"/>
                <a:gd name="T31" fmla="*/ 48 h 48"/>
                <a:gd name="T32" fmla="*/ 26 w 47"/>
                <a:gd name="T33" fmla="*/ 48 h 48"/>
                <a:gd name="T34" fmla="*/ 30 w 47"/>
                <a:gd name="T35" fmla="*/ 48 h 48"/>
                <a:gd name="T36" fmla="*/ 34 w 47"/>
                <a:gd name="T37" fmla="*/ 46 h 48"/>
                <a:gd name="T38" fmla="*/ 38 w 47"/>
                <a:gd name="T39" fmla="*/ 44 h 48"/>
                <a:gd name="T40" fmla="*/ 41 w 47"/>
                <a:gd name="T41" fmla="*/ 41 h 48"/>
                <a:gd name="T42" fmla="*/ 43 w 47"/>
                <a:gd name="T43" fmla="*/ 37 h 48"/>
                <a:gd name="T44" fmla="*/ 45 w 47"/>
                <a:gd name="T45" fmla="*/ 33 h 48"/>
                <a:gd name="T46" fmla="*/ 47 w 47"/>
                <a:gd name="T47" fmla="*/ 29 h 48"/>
                <a:gd name="T48" fmla="*/ 47 w 47"/>
                <a:gd name="T49" fmla="*/ 25 h 48"/>
                <a:gd name="T50" fmla="*/ 47 w 47"/>
                <a:gd name="T51" fmla="*/ 21 h 48"/>
                <a:gd name="T52" fmla="*/ 46 w 47"/>
                <a:gd name="T53" fmla="*/ 17 h 48"/>
                <a:gd name="T54" fmla="*/ 44 w 47"/>
                <a:gd name="T55" fmla="*/ 13 h 48"/>
                <a:gd name="T56" fmla="*/ 41 w 47"/>
                <a:gd name="T57" fmla="*/ 9 h 48"/>
                <a:gd name="T58" fmla="*/ 41 w 47"/>
                <a:gd name="T59" fmla="*/ 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48">
                  <a:moveTo>
                    <a:pt x="41" y="9"/>
                  </a:moveTo>
                  <a:lnTo>
                    <a:pt x="32" y="0"/>
                  </a:lnTo>
                  <a:lnTo>
                    <a:pt x="32" y="0"/>
                  </a:lnTo>
                  <a:lnTo>
                    <a:pt x="25" y="1"/>
                  </a:lnTo>
                  <a:lnTo>
                    <a:pt x="19" y="4"/>
                  </a:lnTo>
                  <a:lnTo>
                    <a:pt x="14" y="7"/>
                  </a:lnTo>
                  <a:lnTo>
                    <a:pt x="10" y="10"/>
                  </a:lnTo>
                  <a:lnTo>
                    <a:pt x="6" y="15"/>
                  </a:lnTo>
                  <a:lnTo>
                    <a:pt x="3" y="20"/>
                  </a:lnTo>
                  <a:lnTo>
                    <a:pt x="1" y="26"/>
                  </a:lnTo>
                  <a:lnTo>
                    <a:pt x="0" y="32"/>
                  </a:lnTo>
                  <a:lnTo>
                    <a:pt x="8" y="41"/>
                  </a:lnTo>
                  <a:lnTo>
                    <a:pt x="8" y="41"/>
                  </a:lnTo>
                  <a:lnTo>
                    <a:pt x="13" y="45"/>
                  </a:lnTo>
                  <a:lnTo>
                    <a:pt x="17" y="47"/>
                  </a:lnTo>
                  <a:lnTo>
                    <a:pt x="22" y="48"/>
                  </a:lnTo>
                  <a:lnTo>
                    <a:pt x="26" y="48"/>
                  </a:lnTo>
                  <a:lnTo>
                    <a:pt x="30" y="48"/>
                  </a:lnTo>
                  <a:lnTo>
                    <a:pt x="34" y="46"/>
                  </a:lnTo>
                  <a:lnTo>
                    <a:pt x="38" y="44"/>
                  </a:lnTo>
                  <a:lnTo>
                    <a:pt x="41" y="41"/>
                  </a:lnTo>
                  <a:lnTo>
                    <a:pt x="43" y="37"/>
                  </a:lnTo>
                  <a:lnTo>
                    <a:pt x="45" y="33"/>
                  </a:lnTo>
                  <a:lnTo>
                    <a:pt x="47" y="29"/>
                  </a:lnTo>
                  <a:lnTo>
                    <a:pt x="47" y="25"/>
                  </a:lnTo>
                  <a:lnTo>
                    <a:pt x="47" y="21"/>
                  </a:lnTo>
                  <a:lnTo>
                    <a:pt x="46" y="17"/>
                  </a:lnTo>
                  <a:lnTo>
                    <a:pt x="44" y="13"/>
                  </a:lnTo>
                  <a:lnTo>
                    <a:pt x="41" y="9"/>
                  </a:lnTo>
                  <a:lnTo>
                    <a:pt x="41" y="9"/>
                  </a:lnTo>
                  <a:close/>
                </a:path>
              </a:pathLst>
            </a:custGeom>
            <a:solidFill>
              <a:srgbClr val="FFF2E8"/>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21" name="Freeform 1320"/>
            <p:cNvSpPr/>
            <p:nvPr/>
          </p:nvSpPr>
          <p:spPr bwMode="auto">
            <a:xfrm>
              <a:off x="1050560" y="846628"/>
              <a:ext cx="30899" cy="92697"/>
            </a:xfrm>
            <a:custGeom>
              <a:avLst/>
              <a:gdLst>
                <a:gd name="T0" fmla="*/ 1 w 14"/>
                <a:gd name="T1" fmla="*/ 2 h 44"/>
                <a:gd name="T2" fmla="*/ 1 w 14"/>
                <a:gd name="T3" fmla="*/ 2 h 44"/>
                <a:gd name="T4" fmla="*/ 8 w 14"/>
                <a:gd name="T5" fmla="*/ 0 h 44"/>
                <a:gd name="T6" fmla="*/ 9 w 14"/>
                <a:gd name="T7" fmla="*/ 1 h 44"/>
                <a:gd name="T8" fmla="*/ 10 w 14"/>
                <a:gd name="T9" fmla="*/ 4 h 44"/>
                <a:gd name="T10" fmla="*/ 14 w 14"/>
                <a:gd name="T11" fmla="*/ 44 h 44"/>
                <a:gd name="T12" fmla="*/ 14 w 14"/>
                <a:gd name="T13" fmla="*/ 44 h 44"/>
                <a:gd name="T14" fmla="*/ 11 w 14"/>
                <a:gd name="T15" fmla="*/ 44 h 44"/>
                <a:gd name="T16" fmla="*/ 9 w 14"/>
                <a:gd name="T17" fmla="*/ 43 h 44"/>
                <a:gd name="T18" fmla="*/ 5 w 14"/>
                <a:gd name="T19" fmla="*/ 39 h 44"/>
                <a:gd name="T20" fmla="*/ 3 w 14"/>
                <a:gd name="T21" fmla="*/ 34 h 44"/>
                <a:gd name="T22" fmla="*/ 1 w 14"/>
                <a:gd name="T23" fmla="*/ 28 h 44"/>
                <a:gd name="T24" fmla="*/ 0 w 14"/>
                <a:gd name="T25" fmla="*/ 22 h 44"/>
                <a:gd name="T26" fmla="*/ 0 w 14"/>
                <a:gd name="T27" fmla="*/ 15 h 44"/>
                <a:gd name="T28" fmla="*/ 1 w 14"/>
                <a:gd name="T29" fmla="*/ 2 h 44"/>
                <a:gd name="T30" fmla="*/ 1 w 14"/>
                <a:gd name="T31"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44">
                  <a:moveTo>
                    <a:pt x="1" y="2"/>
                  </a:moveTo>
                  <a:lnTo>
                    <a:pt x="1" y="2"/>
                  </a:lnTo>
                  <a:lnTo>
                    <a:pt x="8" y="0"/>
                  </a:lnTo>
                  <a:lnTo>
                    <a:pt x="9" y="1"/>
                  </a:lnTo>
                  <a:lnTo>
                    <a:pt x="10" y="4"/>
                  </a:lnTo>
                  <a:lnTo>
                    <a:pt x="14" y="44"/>
                  </a:lnTo>
                  <a:lnTo>
                    <a:pt x="14" y="44"/>
                  </a:lnTo>
                  <a:lnTo>
                    <a:pt x="11" y="44"/>
                  </a:lnTo>
                  <a:lnTo>
                    <a:pt x="9" y="43"/>
                  </a:lnTo>
                  <a:lnTo>
                    <a:pt x="5" y="39"/>
                  </a:lnTo>
                  <a:lnTo>
                    <a:pt x="3" y="34"/>
                  </a:lnTo>
                  <a:lnTo>
                    <a:pt x="1" y="28"/>
                  </a:lnTo>
                  <a:lnTo>
                    <a:pt x="0" y="22"/>
                  </a:lnTo>
                  <a:lnTo>
                    <a:pt x="0" y="15"/>
                  </a:lnTo>
                  <a:lnTo>
                    <a:pt x="1" y="2"/>
                  </a:lnTo>
                  <a:lnTo>
                    <a:pt x="1" y="2"/>
                  </a:lnTo>
                  <a:close/>
                </a:path>
              </a:pathLst>
            </a:custGeom>
            <a:solidFill>
              <a:srgbClr val="FFF2E8"/>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22" name="Freeform 1321"/>
            <p:cNvSpPr/>
            <p:nvPr/>
          </p:nvSpPr>
          <p:spPr bwMode="auto">
            <a:xfrm>
              <a:off x="475842" y="1112357"/>
              <a:ext cx="98876" cy="98876"/>
            </a:xfrm>
            <a:custGeom>
              <a:avLst/>
              <a:gdLst>
                <a:gd name="T0" fmla="*/ 41 w 48"/>
                <a:gd name="T1" fmla="*/ 9 h 49"/>
                <a:gd name="T2" fmla="*/ 32 w 48"/>
                <a:gd name="T3" fmla="*/ 0 h 49"/>
                <a:gd name="T4" fmla="*/ 32 w 48"/>
                <a:gd name="T5" fmla="*/ 0 h 49"/>
                <a:gd name="T6" fmla="*/ 26 w 48"/>
                <a:gd name="T7" fmla="*/ 2 h 49"/>
                <a:gd name="T8" fmla="*/ 20 w 48"/>
                <a:gd name="T9" fmla="*/ 4 h 49"/>
                <a:gd name="T10" fmla="*/ 15 w 48"/>
                <a:gd name="T11" fmla="*/ 7 h 49"/>
                <a:gd name="T12" fmla="*/ 10 w 48"/>
                <a:gd name="T13" fmla="*/ 11 h 49"/>
                <a:gd name="T14" fmla="*/ 7 w 48"/>
                <a:gd name="T15" fmla="*/ 15 h 49"/>
                <a:gd name="T16" fmla="*/ 4 w 48"/>
                <a:gd name="T17" fmla="*/ 20 h 49"/>
                <a:gd name="T18" fmla="*/ 2 w 48"/>
                <a:gd name="T19" fmla="*/ 26 h 49"/>
                <a:gd name="T20" fmla="*/ 0 w 48"/>
                <a:gd name="T21" fmla="*/ 33 h 49"/>
                <a:gd name="T22" fmla="*/ 9 w 48"/>
                <a:gd name="T23" fmla="*/ 41 h 49"/>
                <a:gd name="T24" fmla="*/ 9 w 48"/>
                <a:gd name="T25" fmla="*/ 41 h 49"/>
                <a:gd name="T26" fmla="*/ 13 w 48"/>
                <a:gd name="T27" fmla="*/ 45 h 49"/>
                <a:gd name="T28" fmla="*/ 18 w 48"/>
                <a:gd name="T29" fmla="*/ 47 h 49"/>
                <a:gd name="T30" fmla="*/ 22 w 48"/>
                <a:gd name="T31" fmla="*/ 49 h 49"/>
                <a:gd name="T32" fmla="*/ 27 w 48"/>
                <a:gd name="T33" fmla="*/ 49 h 49"/>
                <a:gd name="T34" fmla="*/ 31 w 48"/>
                <a:gd name="T35" fmla="*/ 48 h 49"/>
                <a:gd name="T36" fmla="*/ 35 w 48"/>
                <a:gd name="T37" fmla="*/ 46 h 49"/>
                <a:gd name="T38" fmla="*/ 38 w 48"/>
                <a:gd name="T39" fmla="*/ 44 h 49"/>
                <a:gd name="T40" fmla="*/ 41 w 48"/>
                <a:gd name="T41" fmla="*/ 41 h 49"/>
                <a:gd name="T42" fmla="*/ 44 w 48"/>
                <a:gd name="T43" fmla="*/ 38 h 49"/>
                <a:gd name="T44" fmla="*/ 46 w 48"/>
                <a:gd name="T45" fmla="*/ 34 h 49"/>
                <a:gd name="T46" fmla="*/ 47 w 48"/>
                <a:gd name="T47" fmla="*/ 30 h 49"/>
                <a:gd name="T48" fmla="*/ 48 w 48"/>
                <a:gd name="T49" fmla="*/ 25 h 49"/>
                <a:gd name="T50" fmla="*/ 48 w 48"/>
                <a:gd name="T51" fmla="*/ 21 h 49"/>
                <a:gd name="T52" fmla="*/ 47 w 48"/>
                <a:gd name="T53" fmla="*/ 17 h 49"/>
                <a:gd name="T54" fmla="*/ 44 w 48"/>
                <a:gd name="T55" fmla="*/ 13 h 49"/>
                <a:gd name="T56" fmla="*/ 41 w 48"/>
                <a:gd name="T57" fmla="*/ 9 h 49"/>
                <a:gd name="T58" fmla="*/ 41 w 48"/>
                <a:gd name="T59"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 h="49">
                  <a:moveTo>
                    <a:pt x="41" y="9"/>
                  </a:moveTo>
                  <a:lnTo>
                    <a:pt x="32" y="0"/>
                  </a:lnTo>
                  <a:lnTo>
                    <a:pt x="32" y="0"/>
                  </a:lnTo>
                  <a:lnTo>
                    <a:pt x="26" y="2"/>
                  </a:lnTo>
                  <a:lnTo>
                    <a:pt x="20" y="4"/>
                  </a:lnTo>
                  <a:lnTo>
                    <a:pt x="15" y="7"/>
                  </a:lnTo>
                  <a:lnTo>
                    <a:pt x="10" y="11"/>
                  </a:lnTo>
                  <a:lnTo>
                    <a:pt x="7" y="15"/>
                  </a:lnTo>
                  <a:lnTo>
                    <a:pt x="4" y="20"/>
                  </a:lnTo>
                  <a:lnTo>
                    <a:pt x="2" y="26"/>
                  </a:lnTo>
                  <a:lnTo>
                    <a:pt x="0" y="33"/>
                  </a:lnTo>
                  <a:lnTo>
                    <a:pt x="9" y="41"/>
                  </a:lnTo>
                  <a:lnTo>
                    <a:pt x="9" y="41"/>
                  </a:lnTo>
                  <a:lnTo>
                    <a:pt x="13" y="45"/>
                  </a:lnTo>
                  <a:lnTo>
                    <a:pt x="18" y="47"/>
                  </a:lnTo>
                  <a:lnTo>
                    <a:pt x="22" y="49"/>
                  </a:lnTo>
                  <a:lnTo>
                    <a:pt x="27" y="49"/>
                  </a:lnTo>
                  <a:lnTo>
                    <a:pt x="31" y="48"/>
                  </a:lnTo>
                  <a:lnTo>
                    <a:pt x="35" y="46"/>
                  </a:lnTo>
                  <a:lnTo>
                    <a:pt x="38" y="44"/>
                  </a:lnTo>
                  <a:lnTo>
                    <a:pt x="41" y="41"/>
                  </a:lnTo>
                  <a:lnTo>
                    <a:pt x="44" y="38"/>
                  </a:lnTo>
                  <a:lnTo>
                    <a:pt x="46" y="34"/>
                  </a:lnTo>
                  <a:lnTo>
                    <a:pt x="47" y="30"/>
                  </a:lnTo>
                  <a:lnTo>
                    <a:pt x="48" y="25"/>
                  </a:lnTo>
                  <a:lnTo>
                    <a:pt x="48" y="21"/>
                  </a:lnTo>
                  <a:lnTo>
                    <a:pt x="47" y="17"/>
                  </a:lnTo>
                  <a:lnTo>
                    <a:pt x="44" y="13"/>
                  </a:lnTo>
                  <a:lnTo>
                    <a:pt x="41" y="9"/>
                  </a:lnTo>
                  <a:lnTo>
                    <a:pt x="41" y="9"/>
                  </a:lnTo>
                  <a:close/>
                </a:path>
              </a:pathLst>
            </a:custGeom>
            <a:solidFill>
              <a:srgbClr val="FFF2E8"/>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23" name="Freeform 1322"/>
            <p:cNvSpPr/>
            <p:nvPr/>
          </p:nvSpPr>
          <p:spPr bwMode="auto">
            <a:xfrm>
              <a:off x="679773" y="834268"/>
              <a:ext cx="166853" cy="222471"/>
            </a:xfrm>
            <a:custGeom>
              <a:avLst/>
              <a:gdLst>
                <a:gd name="T0" fmla="*/ 40 w 80"/>
                <a:gd name="T1" fmla="*/ 0 h 108"/>
                <a:gd name="T2" fmla="*/ 40 w 80"/>
                <a:gd name="T3" fmla="*/ 0 h 108"/>
                <a:gd name="T4" fmla="*/ 48 w 80"/>
                <a:gd name="T5" fmla="*/ 1 h 108"/>
                <a:gd name="T6" fmla="*/ 56 w 80"/>
                <a:gd name="T7" fmla="*/ 3 h 108"/>
                <a:gd name="T8" fmla="*/ 63 w 80"/>
                <a:gd name="T9" fmla="*/ 7 h 108"/>
                <a:gd name="T10" fmla="*/ 69 w 80"/>
                <a:gd name="T11" fmla="*/ 12 h 108"/>
                <a:gd name="T12" fmla="*/ 74 w 80"/>
                <a:gd name="T13" fmla="*/ 18 h 108"/>
                <a:gd name="T14" fmla="*/ 77 w 80"/>
                <a:gd name="T15" fmla="*/ 25 h 108"/>
                <a:gd name="T16" fmla="*/ 80 w 80"/>
                <a:gd name="T17" fmla="*/ 32 h 108"/>
                <a:gd name="T18" fmla="*/ 80 w 80"/>
                <a:gd name="T19" fmla="*/ 41 h 108"/>
                <a:gd name="T20" fmla="*/ 80 w 80"/>
                <a:gd name="T21" fmla="*/ 41 h 108"/>
                <a:gd name="T22" fmla="*/ 80 w 80"/>
                <a:gd name="T23" fmla="*/ 46 h 108"/>
                <a:gd name="T24" fmla="*/ 79 w 80"/>
                <a:gd name="T25" fmla="*/ 51 h 108"/>
                <a:gd name="T26" fmla="*/ 77 w 80"/>
                <a:gd name="T27" fmla="*/ 56 h 108"/>
                <a:gd name="T28" fmla="*/ 75 w 80"/>
                <a:gd name="T29" fmla="*/ 61 h 108"/>
                <a:gd name="T30" fmla="*/ 72 w 80"/>
                <a:gd name="T31" fmla="*/ 65 h 108"/>
                <a:gd name="T32" fmla="*/ 69 w 80"/>
                <a:gd name="T33" fmla="*/ 69 h 108"/>
                <a:gd name="T34" fmla="*/ 65 w 80"/>
                <a:gd name="T35" fmla="*/ 72 h 108"/>
                <a:gd name="T36" fmla="*/ 61 w 80"/>
                <a:gd name="T37" fmla="*/ 75 h 108"/>
                <a:gd name="T38" fmla="*/ 57 w 80"/>
                <a:gd name="T39" fmla="*/ 108 h 108"/>
                <a:gd name="T40" fmla="*/ 23 w 80"/>
                <a:gd name="T41" fmla="*/ 108 h 108"/>
                <a:gd name="T42" fmla="*/ 19 w 80"/>
                <a:gd name="T43" fmla="*/ 75 h 108"/>
                <a:gd name="T44" fmla="*/ 19 w 80"/>
                <a:gd name="T45" fmla="*/ 75 h 108"/>
                <a:gd name="T46" fmla="*/ 15 w 80"/>
                <a:gd name="T47" fmla="*/ 72 h 108"/>
                <a:gd name="T48" fmla="*/ 11 w 80"/>
                <a:gd name="T49" fmla="*/ 69 h 108"/>
                <a:gd name="T50" fmla="*/ 8 w 80"/>
                <a:gd name="T51" fmla="*/ 65 h 108"/>
                <a:gd name="T52" fmla="*/ 5 w 80"/>
                <a:gd name="T53" fmla="*/ 61 h 108"/>
                <a:gd name="T54" fmla="*/ 3 w 80"/>
                <a:gd name="T55" fmla="*/ 56 h 108"/>
                <a:gd name="T56" fmla="*/ 1 w 80"/>
                <a:gd name="T57" fmla="*/ 51 h 108"/>
                <a:gd name="T58" fmla="*/ 0 w 80"/>
                <a:gd name="T59" fmla="*/ 46 h 108"/>
                <a:gd name="T60" fmla="*/ 0 w 80"/>
                <a:gd name="T61" fmla="*/ 41 h 108"/>
                <a:gd name="T62" fmla="*/ 0 w 80"/>
                <a:gd name="T63" fmla="*/ 41 h 108"/>
                <a:gd name="T64" fmla="*/ 1 w 80"/>
                <a:gd name="T65" fmla="*/ 32 h 108"/>
                <a:gd name="T66" fmla="*/ 3 w 80"/>
                <a:gd name="T67" fmla="*/ 25 h 108"/>
                <a:gd name="T68" fmla="*/ 7 w 80"/>
                <a:gd name="T69" fmla="*/ 18 h 108"/>
                <a:gd name="T70" fmla="*/ 12 w 80"/>
                <a:gd name="T71" fmla="*/ 12 h 108"/>
                <a:gd name="T72" fmla="*/ 18 w 80"/>
                <a:gd name="T73" fmla="*/ 7 h 108"/>
                <a:gd name="T74" fmla="*/ 24 w 80"/>
                <a:gd name="T75" fmla="*/ 3 h 108"/>
                <a:gd name="T76" fmla="*/ 32 w 80"/>
                <a:gd name="T77" fmla="*/ 1 h 108"/>
                <a:gd name="T78" fmla="*/ 40 w 80"/>
                <a:gd name="T79" fmla="*/ 0 h 108"/>
                <a:gd name="T80" fmla="*/ 40 w 80"/>
                <a:gd name="T8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 h="108">
                  <a:moveTo>
                    <a:pt x="40" y="0"/>
                  </a:moveTo>
                  <a:lnTo>
                    <a:pt x="40" y="0"/>
                  </a:lnTo>
                  <a:lnTo>
                    <a:pt x="48" y="1"/>
                  </a:lnTo>
                  <a:lnTo>
                    <a:pt x="56" y="3"/>
                  </a:lnTo>
                  <a:lnTo>
                    <a:pt x="63" y="7"/>
                  </a:lnTo>
                  <a:lnTo>
                    <a:pt x="69" y="12"/>
                  </a:lnTo>
                  <a:lnTo>
                    <a:pt x="74" y="18"/>
                  </a:lnTo>
                  <a:lnTo>
                    <a:pt x="77" y="25"/>
                  </a:lnTo>
                  <a:lnTo>
                    <a:pt x="80" y="32"/>
                  </a:lnTo>
                  <a:lnTo>
                    <a:pt x="80" y="41"/>
                  </a:lnTo>
                  <a:lnTo>
                    <a:pt x="80" y="41"/>
                  </a:lnTo>
                  <a:lnTo>
                    <a:pt x="80" y="46"/>
                  </a:lnTo>
                  <a:lnTo>
                    <a:pt x="79" y="51"/>
                  </a:lnTo>
                  <a:lnTo>
                    <a:pt x="77" y="56"/>
                  </a:lnTo>
                  <a:lnTo>
                    <a:pt x="75" y="61"/>
                  </a:lnTo>
                  <a:lnTo>
                    <a:pt x="72" y="65"/>
                  </a:lnTo>
                  <a:lnTo>
                    <a:pt x="69" y="69"/>
                  </a:lnTo>
                  <a:lnTo>
                    <a:pt x="65" y="72"/>
                  </a:lnTo>
                  <a:lnTo>
                    <a:pt x="61" y="75"/>
                  </a:lnTo>
                  <a:lnTo>
                    <a:pt x="57" y="108"/>
                  </a:lnTo>
                  <a:lnTo>
                    <a:pt x="23" y="108"/>
                  </a:lnTo>
                  <a:lnTo>
                    <a:pt x="19" y="75"/>
                  </a:lnTo>
                  <a:lnTo>
                    <a:pt x="19" y="75"/>
                  </a:lnTo>
                  <a:lnTo>
                    <a:pt x="15" y="72"/>
                  </a:lnTo>
                  <a:lnTo>
                    <a:pt x="11" y="69"/>
                  </a:lnTo>
                  <a:lnTo>
                    <a:pt x="8" y="65"/>
                  </a:lnTo>
                  <a:lnTo>
                    <a:pt x="5" y="61"/>
                  </a:lnTo>
                  <a:lnTo>
                    <a:pt x="3" y="56"/>
                  </a:lnTo>
                  <a:lnTo>
                    <a:pt x="1" y="51"/>
                  </a:lnTo>
                  <a:lnTo>
                    <a:pt x="0" y="46"/>
                  </a:lnTo>
                  <a:lnTo>
                    <a:pt x="0" y="41"/>
                  </a:lnTo>
                  <a:lnTo>
                    <a:pt x="0" y="41"/>
                  </a:lnTo>
                  <a:lnTo>
                    <a:pt x="1" y="32"/>
                  </a:lnTo>
                  <a:lnTo>
                    <a:pt x="3" y="25"/>
                  </a:lnTo>
                  <a:lnTo>
                    <a:pt x="7" y="18"/>
                  </a:lnTo>
                  <a:lnTo>
                    <a:pt x="12" y="12"/>
                  </a:lnTo>
                  <a:lnTo>
                    <a:pt x="18" y="7"/>
                  </a:lnTo>
                  <a:lnTo>
                    <a:pt x="24" y="3"/>
                  </a:lnTo>
                  <a:lnTo>
                    <a:pt x="32" y="1"/>
                  </a:lnTo>
                  <a:lnTo>
                    <a:pt x="40" y="0"/>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24" name="Freeform 1323"/>
            <p:cNvSpPr/>
            <p:nvPr/>
          </p:nvSpPr>
          <p:spPr bwMode="auto">
            <a:xfrm>
              <a:off x="673594" y="828088"/>
              <a:ext cx="179214" cy="234831"/>
            </a:xfrm>
            <a:custGeom>
              <a:avLst/>
              <a:gdLst>
                <a:gd name="T0" fmla="*/ 43 w 86"/>
                <a:gd name="T1" fmla="*/ 5 h 113"/>
                <a:gd name="T2" fmla="*/ 51 w 86"/>
                <a:gd name="T3" fmla="*/ 5 h 113"/>
                <a:gd name="T4" fmla="*/ 64 w 86"/>
                <a:gd name="T5" fmla="*/ 11 h 113"/>
                <a:gd name="T6" fmla="*/ 70 w 86"/>
                <a:gd name="T7" fmla="*/ 16 h 113"/>
                <a:gd name="T8" fmla="*/ 78 w 86"/>
                <a:gd name="T9" fmla="*/ 28 h 113"/>
                <a:gd name="T10" fmla="*/ 81 w 86"/>
                <a:gd name="T11" fmla="*/ 43 h 113"/>
                <a:gd name="T12" fmla="*/ 81 w 86"/>
                <a:gd name="T13" fmla="*/ 48 h 113"/>
                <a:gd name="T14" fmla="*/ 78 w 86"/>
                <a:gd name="T15" fmla="*/ 57 h 113"/>
                <a:gd name="T16" fmla="*/ 70 w 86"/>
                <a:gd name="T17" fmla="*/ 69 h 113"/>
                <a:gd name="T18" fmla="*/ 63 w 86"/>
                <a:gd name="T19" fmla="*/ 75 h 113"/>
                <a:gd name="T20" fmla="*/ 58 w 86"/>
                <a:gd name="T21" fmla="*/ 108 h 113"/>
                <a:gd name="T22" fmla="*/ 24 w 86"/>
                <a:gd name="T23" fmla="*/ 77 h 113"/>
                <a:gd name="T24" fmla="*/ 23 w 86"/>
                <a:gd name="T25" fmla="*/ 75 h 113"/>
                <a:gd name="T26" fmla="*/ 16 w 86"/>
                <a:gd name="T27" fmla="*/ 69 h 113"/>
                <a:gd name="T28" fmla="*/ 8 w 86"/>
                <a:gd name="T29" fmla="*/ 57 h 113"/>
                <a:gd name="T30" fmla="*/ 5 w 86"/>
                <a:gd name="T31" fmla="*/ 48 h 113"/>
                <a:gd name="T32" fmla="*/ 5 w 86"/>
                <a:gd name="T33" fmla="*/ 43 h 113"/>
                <a:gd name="T34" fmla="*/ 8 w 86"/>
                <a:gd name="T35" fmla="*/ 28 h 113"/>
                <a:gd name="T36" fmla="*/ 16 w 86"/>
                <a:gd name="T37" fmla="*/ 16 h 113"/>
                <a:gd name="T38" fmla="*/ 22 w 86"/>
                <a:gd name="T39" fmla="*/ 11 h 113"/>
                <a:gd name="T40" fmla="*/ 35 w 86"/>
                <a:gd name="T41" fmla="*/ 5 h 113"/>
                <a:gd name="T42" fmla="*/ 43 w 86"/>
                <a:gd name="T43" fmla="*/ 2 h 113"/>
                <a:gd name="T44" fmla="*/ 43 w 86"/>
                <a:gd name="T45" fmla="*/ 0 h 113"/>
                <a:gd name="T46" fmla="*/ 26 w 86"/>
                <a:gd name="T47" fmla="*/ 3 h 113"/>
                <a:gd name="T48" fmla="*/ 13 w 86"/>
                <a:gd name="T49" fmla="*/ 12 h 113"/>
                <a:gd name="T50" fmla="*/ 4 w 86"/>
                <a:gd name="T51" fmla="*/ 26 h 113"/>
                <a:gd name="T52" fmla="*/ 0 w 86"/>
                <a:gd name="T53" fmla="*/ 43 h 113"/>
                <a:gd name="T54" fmla="*/ 1 w 86"/>
                <a:gd name="T55" fmla="*/ 48 h 113"/>
                <a:gd name="T56" fmla="*/ 4 w 86"/>
                <a:gd name="T57" fmla="*/ 59 h 113"/>
                <a:gd name="T58" fmla="*/ 9 w 86"/>
                <a:gd name="T59" fmla="*/ 68 h 113"/>
                <a:gd name="T60" fmla="*/ 16 w 86"/>
                <a:gd name="T61" fmla="*/ 76 h 113"/>
                <a:gd name="T62" fmla="*/ 22 w 86"/>
                <a:gd name="T63" fmla="*/ 77 h 113"/>
                <a:gd name="T64" fmla="*/ 24 w 86"/>
                <a:gd name="T65" fmla="*/ 110 h 113"/>
                <a:gd name="T66" fmla="*/ 25 w 86"/>
                <a:gd name="T67" fmla="*/ 112 h 113"/>
                <a:gd name="T68" fmla="*/ 60 w 86"/>
                <a:gd name="T69" fmla="*/ 113 h 113"/>
                <a:gd name="T70" fmla="*/ 62 w 86"/>
                <a:gd name="T71" fmla="*/ 112 h 113"/>
                <a:gd name="T72" fmla="*/ 67 w 86"/>
                <a:gd name="T73" fmla="*/ 77 h 113"/>
                <a:gd name="T74" fmla="*/ 65 w 86"/>
                <a:gd name="T75" fmla="*/ 79 h 113"/>
                <a:gd name="T76" fmla="*/ 70 w 86"/>
                <a:gd name="T77" fmla="*/ 76 h 113"/>
                <a:gd name="T78" fmla="*/ 77 w 86"/>
                <a:gd name="T79" fmla="*/ 68 h 113"/>
                <a:gd name="T80" fmla="*/ 83 w 86"/>
                <a:gd name="T81" fmla="*/ 59 h 113"/>
                <a:gd name="T82" fmla="*/ 85 w 86"/>
                <a:gd name="T83" fmla="*/ 48 h 113"/>
                <a:gd name="T84" fmla="*/ 86 w 86"/>
                <a:gd name="T85" fmla="*/ 43 h 113"/>
                <a:gd name="T86" fmla="*/ 82 w 86"/>
                <a:gd name="T87" fmla="*/ 26 h 113"/>
                <a:gd name="T88" fmla="*/ 73 w 86"/>
                <a:gd name="T89" fmla="*/ 12 h 113"/>
                <a:gd name="T90" fmla="*/ 60 w 86"/>
                <a:gd name="T91" fmla="*/ 3 h 113"/>
                <a:gd name="T92" fmla="*/ 43 w 86"/>
                <a:gd name="T93"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113">
                  <a:moveTo>
                    <a:pt x="43" y="2"/>
                  </a:moveTo>
                  <a:lnTo>
                    <a:pt x="43" y="5"/>
                  </a:lnTo>
                  <a:lnTo>
                    <a:pt x="43" y="5"/>
                  </a:lnTo>
                  <a:lnTo>
                    <a:pt x="51" y="5"/>
                  </a:lnTo>
                  <a:lnTo>
                    <a:pt x="58" y="8"/>
                  </a:lnTo>
                  <a:lnTo>
                    <a:pt x="64" y="11"/>
                  </a:lnTo>
                  <a:lnTo>
                    <a:pt x="70" y="16"/>
                  </a:lnTo>
                  <a:lnTo>
                    <a:pt x="70" y="16"/>
                  </a:lnTo>
                  <a:lnTo>
                    <a:pt x="75" y="21"/>
                  </a:lnTo>
                  <a:lnTo>
                    <a:pt x="78" y="28"/>
                  </a:lnTo>
                  <a:lnTo>
                    <a:pt x="80" y="35"/>
                  </a:lnTo>
                  <a:lnTo>
                    <a:pt x="81" y="43"/>
                  </a:lnTo>
                  <a:lnTo>
                    <a:pt x="81" y="43"/>
                  </a:lnTo>
                  <a:lnTo>
                    <a:pt x="81" y="48"/>
                  </a:lnTo>
                  <a:lnTo>
                    <a:pt x="80" y="52"/>
                  </a:lnTo>
                  <a:lnTo>
                    <a:pt x="78" y="57"/>
                  </a:lnTo>
                  <a:lnTo>
                    <a:pt x="76" y="61"/>
                  </a:lnTo>
                  <a:lnTo>
                    <a:pt x="70" y="69"/>
                  </a:lnTo>
                  <a:lnTo>
                    <a:pt x="63" y="75"/>
                  </a:lnTo>
                  <a:lnTo>
                    <a:pt x="63" y="75"/>
                  </a:lnTo>
                  <a:lnTo>
                    <a:pt x="62" y="77"/>
                  </a:lnTo>
                  <a:lnTo>
                    <a:pt x="58" y="108"/>
                  </a:lnTo>
                  <a:lnTo>
                    <a:pt x="28" y="108"/>
                  </a:lnTo>
                  <a:lnTo>
                    <a:pt x="24" y="77"/>
                  </a:lnTo>
                  <a:lnTo>
                    <a:pt x="24" y="77"/>
                  </a:lnTo>
                  <a:lnTo>
                    <a:pt x="23" y="75"/>
                  </a:lnTo>
                  <a:lnTo>
                    <a:pt x="23" y="75"/>
                  </a:lnTo>
                  <a:lnTo>
                    <a:pt x="16" y="69"/>
                  </a:lnTo>
                  <a:lnTo>
                    <a:pt x="10" y="61"/>
                  </a:lnTo>
                  <a:lnTo>
                    <a:pt x="8" y="57"/>
                  </a:lnTo>
                  <a:lnTo>
                    <a:pt x="6" y="52"/>
                  </a:lnTo>
                  <a:lnTo>
                    <a:pt x="5" y="48"/>
                  </a:lnTo>
                  <a:lnTo>
                    <a:pt x="5" y="43"/>
                  </a:lnTo>
                  <a:lnTo>
                    <a:pt x="5" y="43"/>
                  </a:lnTo>
                  <a:lnTo>
                    <a:pt x="6" y="35"/>
                  </a:lnTo>
                  <a:lnTo>
                    <a:pt x="8" y="28"/>
                  </a:lnTo>
                  <a:lnTo>
                    <a:pt x="12" y="21"/>
                  </a:lnTo>
                  <a:lnTo>
                    <a:pt x="16" y="16"/>
                  </a:lnTo>
                  <a:lnTo>
                    <a:pt x="16" y="16"/>
                  </a:lnTo>
                  <a:lnTo>
                    <a:pt x="22" y="11"/>
                  </a:lnTo>
                  <a:lnTo>
                    <a:pt x="28" y="8"/>
                  </a:lnTo>
                  <a:lnTo>
                    <a:pt x="35" y="5"/>
                  </a:lnTo>
                  <a:lnTo>
                    <a:pt x="43" y="5"/>
                  </a:lnTo>
                  <a:lnTo>
                    <a:pt x="43" y="2"/>
                  </a:lnTo>
                  <a:lnTo>
                    <a:pt x="43" y="0"/>
                  </a:lnTo>
                  <a:lnTo>
                    <a:pt x="43" y="0"/>
                  </a:lnTo>
                  <a:lnTo>
                    <a:pt x="34" y="1"/>
                  </a:lnTo>
                  <a:lnTo>
                    <a:pt x="26" y="3"/>
                  </a:lnTo>
                  <a:lnTo>
                    <a:pt x="19" y="7"/>
                  </a:lnTo>
                  <a:lnTo>
                    <a:pt x="13" y="12"/>
                  </a:lnTo>
                  <a:lnTo>
                    <a:pt x="8" y="19"/>
                  </a:lnTo>
                  <a:lnTo>
                    <a:pt x="4" y="26"/>
                  </a:lnTo>
                  <a:lnTo>
                    <a:pt x="1" y="34"/>
                  </a:lnTo>
                  <a:lnTo>
                    <a:pt x="0" y="43"/>
                  </a:lnTo>
                  <a:lnTo>
                    <a:pt x="0" y="43"/>
                  </a:lnTo>
                  <a:lnTo>
                    <a:pt x="1" y="48"/>
                  </a:lnTo>
                  <a:lnTo>
                    <a:pt x="2" y="54"/>
                  </a:lnTo>
                  <a:lnTo>
                    <a:pt x="4" y="59"/>
                  </a:lnTo>
                  <a:lnTo>
                    <a:pt x="6" y="64"/>
                  </a:lnTo>
                  <a:lnTo>
                    <a:pt x="9" y="68"/>
                  </a:lnTo>
                  <a:lnTo>
                    <a:pt x="12" y="72"/>
                  </a:lnTo>
                  <a:lnTo>
                    <a:pt x="16" y="76"/>
                  </a:lnTo>
                  <a:lnTo>
                    <a:pt x="21" y="79"/>
                  </a:lnTo>
                  <a:lnTo>
                    <a:pt x="22" y="77"/>
                  </a:lnTo>
                  <a:lnTo>
                    <a:pt x="20" y="77"/>
                  </a:lnTo>
                  <a:lnTo>
                    <a:pt x="24" y="110"/>
                  </a:lnTo>
                  <a:lnTo>
                    <a:pt x="24" y="110"/>
                  </a:lnTo>
                  <a:lnTo>
                    <a:pt x="25" y="112"/>
                  </a:lnTo>
                  <a:lnTo>
                    <a:pt x="26" y="113"/>
                  </a:lnTo>
                  <a:lnTo>
                    <a:pt x="60" y="113"/>
                  </a:lnTo>
                  <a:lnTo>
                    <a:pt x="60" y="113"/>
                  </a:lnTo>
                  <a:lnTo>
                    <a:pt x="62" y="112"/>
                  </a:lnTo>
                  <a:lnTo>
                    <a:pt x="62" y="110"/>
                  </a:lnTo>
                  <a:lnTo>
                    <a:pt x="67" y="77"/>
                  </a:lnTo>
                  <a:lnTo>
                    <a:pt x="64" y="77"/>
                  </a:lnTo>
                  <a:lnTo>
                    <a:pt x="65" y="79"/>
                  </a:lnTo>
                  <a:lnTo>
                    <a:pt x="65" y="79"/>
                  </a:lnTo>
                  <a:lnTo>
                    <a:pt x="70" y="76"/>
                  </a:lnTo>
                  <a:lnTo>
                    <a:pt x="74" y="72"/>
                  </a:lnTo>
                  <a:lnTo>
                    <a:pt x="77" y="68"/>
                  </a:lnTo>
                  <a:lnTo>
                    <a:pt x="80" y="64"/>
                  </a:lnTo>
                  <a:lnTo>
                    <a:pt x="83" y="59"/>
                  </a:lnTo>
                  <a:lnTo>
                    <a:pt x="84" y="54"/>
                  </a:lnTo>
                  <a:lnTo>
                    <a:pt x="85" y="48"/>
                  </a:lnTo>
                  <a:lnTo>
                    <a:pt x="86" y="43"/>
                  </a:lnTo>
                  <a:lnTo>
                    <a:pt x="86" y="43"/>
                  </a:lnTo>
                  <a:lnTo>
                    <a:pt x="85" y="34"/>
                  </a:lnTo>
                  <a:lnTo>
                    <a:pt x="82" y="26"/>
                  </a:lnTo>
                  <a:lnTo>
                    <a:pt x="79" y="19"/>
                  </a:lnTo>
                  <a:lnTo>
                    <a:pt x="73" y="12"/>
                  </a:lnTo>
                  <a:lnTo>
                    <a:pt x="67" y="7"/>
                  </a:lnTo>
                  <a:lnTo>
                    <a:pt x="60" y="3"/>
                  </a:lnTo>
                  <a:lnTo>
                    <a:pt x="52" y="1"/>
                  </a:lnTo>
                  <a:lnTo>
                    <a:pt x="43" y="0"/>
                  </a:lnTo>
                  <a:lnTo>
                    <a:pt x="43" y="2"/>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25" name="Freeform 1324"/>
            <p:cNvSpPr>
              <a:spLocks noEditPoints="1"/>
            </p:cNvSpPr>
            <p:nvPr/>
          </p:nvSpPr>
          <p:spPr bwMode="auto">
            <a:xfrm>
              <a:off x="723032" y="939323"/>
              <a:ext cx="74157" cy="86517"/>
            </a:xfrm>
            <a:custGeom>
              <a:avLst/>
              <a:gdLst>
                <a:gd name="T0" fmla="*/ 12 w 37"/>
                <a:gd name="T1" fmla="*/ 41 h 43"/>
                <a:gd name="T2" fmla="*/ 12 w 37"/>
                <a:gd name="T3" fmla="*/ 41 h 43"/>
                <a:gd name="T4" fmla="*/ 12 w 37"/>
                <a:gd name="T5" fmla="*/ 42 h 43"/>
                <a:gd name="T6" fmla="*/ 11 w 37"/>
                <a:gd name="T7" fmla="*/ 43 h 43"/>
                <a:gd name="T8" fmla="*/ 11 w 37"/>
                <a:gd name="T9" fmla="*/ 43 h 43"/>
                <a:gd name="T10" fmla="*/ 10 w 37"/>
                <a:gd name="T11" fmla="*/ 43 h 43"/>
                <a:gd name="T12" fmla="*/ 9 w 37"/>
                <a:gd name="T13" fmla="*/ 42 h 43"/>
                <a:gd name="T14" fmla="*/ 2 w 37"/>
                <a:gd name="T15" fmla="*/ 14 h 43"/>
                <a:gd name="T16" fmla="*/ 2 w 37"/>
                <a:gd name="T17" fmla="*/ 1 h 43"/>
                <a:gd name="T18" fmla="*/ 3 w 37"/>
                <a:gd name="T19" fmla="*/ 1 h 43"/>
                <a:gd name="T20" fmla="*/ 2 w 37"/>
                <a:gd name="T21" fmla="*/ 1 h 43"/>
                <a:gd name="T22" fmla="*/ 2 w 37"/>
                <a:gd name="T23" fmla="*/ 1 h 43"/>
                <a:gd name="T24" fmla="*/ 2 w 37"/>
                <a:gd name="T25" fmla="*/ 1 h 43"/>
                <a:gd name="T26" fmla="*/ 4 w 37"/>
                <a:gd name="T27" fmla="*/ 2 h 43"/>
                <a:gd name="T28" fmla="*/ 4 w 37"/>
                <a:gd name="T29" fmla="*/ 2 h 43"/>
                <a:gd name="T30" fmla="*/ 8 w 37"/>
                <a:gd name="T31" fmla="*/ 4 h 43"/>
                <a:gd name="T32" fmla="*/ 11 w 37"/>
                <a:gd name="T33" fmla="*/ 6 h 43"/>
                <a:gd name="T34" fmla="*/ 15 w 37"/>
                <a:gd name="T35" fmla="*/ 7 h 43"/>
                <a:gd name="T36" fmla="*/ 19 w 37"/>
                <a:gd name="T37" fmla="*/ 7 h 43"/>
                <a:gd name="T38" fmla="*/ 19 w 37"/>
                <a:gd name="T39" fmla="*/ 7 h 43"/>
                <a:gd name="T40" fmla="*/ 22 w 37"/>
                <a:gd name="T41" fmla="*/ 7 h 43"/>
                <a:gd name="T42" fmla="*/ 26 w 37"/>
                <a:gd name="T43" fmla="*/ 6 h 43"/>
                <a:gd name="T44" fmla="*/ 29 w 37"/>
                <a:gd name="T45" fmla="*/ 5 h 43"/>
                <a:gd name="T46" fmla="*/ 32 w 37"/>
                <a:gd name="T47" fmla="*/ 2 h 43"/>
                <a:gd name="T48" fmla="*/ 32 w 37"/>
                <a:gd name="T49" fmla="*/ 2 h 43"/>
                <a:gd name="T50" fmla="*/ 34 w 37"/>
                <a:gd name="T51" fmla="*/ 0 h 43"/>
                <a:gd name="T52" fmla="*/ 34 w 37"/>
                <a:gd name="T53" fmla="*/ 0 h 43"/>
                <a:gd name="T54" fmla="*/ 35 w 37"/>
                <a:gd name="T55" fmla="*/ 0 h 43"/>
                <a:gd name="T56" fmla="*/ 36 w 37"/>
                <a:gd name="T57" fmla="*/ 0 h 43"/>
                <a:gd name="T58" fmla="*/ 36 w 37"/>
                <a:gd name="T59" fmla="*/ 0 h 43"/>
                <a:gd name="T60" fmla="*/ 37 w 37"/>
                <a:gd name="T61" fmla="*/ 2 h 43"/>
                <a:gd name="T62" fmla="*/ 27 w 37"/>
                <a:gd name="T63" fmla="*/ 42 h 43"/>
                <a:gd name="T64" fmla="*/ 27 w 37"/>
                <a:gd name="T65" fmla="*/ 42 h 43"/>
                <a:gd name="T66" fmla="*/ 26 w 37"/>
                <a:gd name="T67" fmla="*/ 43 h 43"/>
                <a:gd name="T68" fmla="*/ 25 w 37"/>
                <a:gd name="T69" fmla="*/ 43 h 43"/>
                <a:gd name="T70" fmla="*/ 25 w 37"/>
                <a:gd name="T71" fmla="*/ 43 h 43"/>
                <a:gd name="T72" fmla="*/ 24 w 37"/>
                <a:gd name="T73" fmla="*/ 42 h 43"/>
                <a:gd name="T74" fmla="*/ 24 w 37"/>
                <a:gd name="T75" fmla="*/ 41 h 43"/>
                <a:gd name="T76" fmla="*/ 33 w 37"/>
                <a:gd name="T77" fmla="*/ 6 h 43"/>
                <a:gd name="T78" fmla="*/ 33 w 37"/>
                <a:gd name="T79" fmla="*/ 6 h 43"/>
                <a:gd name="T80" fmla="*/ 29 w 37"/>
                <a:gd name="T81" fmla="*/ 8 h 43"/>
                <a:gd name="T82" fmla="*/ 26 w 37"/>
                <a:gd name="T83" fmla="*/ 9 h 43"/>
                <a:gd name="T84" fmla="*/ 19 w 37"/>
                <a:gd name="T85" fmla="*/ 10 h 43"/>
                <a:gd name="T86" fmla="*/ 19 w 37"/>
                <a:gd name="T87" fmla="*/ 10 h 43"/>
                <a:gd name="T88" fmla="*/ 11 w 37"/>
                <a:gd name="T89" fmla="*/ 9 h 43"/>
                <a:gd name="T90" fmla="*/ 7 w 37"/>
                <a:gd name="T91" fmla="*/ 8 h 43"/>
                <a:gd name="T92" fmla="*/ 4 w 37"/>
                <a:gd name="T93" fmla="*/ 6 h 43"/>
                <a:gd name="T94" fmla="*/ 12 w 37"/>
                <a:gd name="T95" fmla="*/ 41 h 43"/>
                <a:gd name="T96" fmla="*/ 2 w 37"/>
                <a:gd name="T97" fmla="*/ 14 h 43"/>
                <a:gd name="T98" fmla="*/ 0 w 37"/>
                <a:gd name="T99" fmla="*/ 2 h 43"/>
                <a:gd name="T100" fmla="*/ 0 w 37"/>
                <a:gd name="T101" fmla="*/ 2 h 43"/>
                <a:gd name="T102" fmla="*/ 0 w 37"/>
                <a:gd name="T103" fmla="*/ 1 h 43"/>
                <a:gd name="T104" fmla="*/ 1 w 37"/>
                <a:gd name="T105" fmla="*/ 0 h 43"/>
                <a:gd name="T106" fmla="*/ 1 w 37"/>
                <a:gd name="T107" fmla="*/ 0 h 43"/>
                <a:gd name="T108" fmla="*/ 2 w 37"/>
                <a:gd name="T109" fmla="*/ 0 h 43"/>
                <a:gd name="T110" fmla="*/ 2 w 37"/>
                <a:gd name="T111" fmla="*/ 1 h 43"/>
                <a:gd name="T112" fmla="*/ 2 w 37"/>
                <a:gd name="T113" fmla="*/ 1 h 43"/>
                <a:gd name="T114" fmla="*/ 2 w 37"/>
                <a:gd name="T115" fmla="*/ 0 h 43"/>
                <a:gd name="T116" fmla="*/ 2 w 37"/>
                <a:gd name="T117" fmla="*/ 1 h 43"/>
                <a:gd name="T118" fmla="*/ 2 w 37"/>
                <a:gd name="T119" fmla="*/ 1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 h="43">
                  <a:moveTo>
                    <a:pt x="12" y="41"/>
                  </a:moveTo>
                  <a:lnTo>
                    <a:pt x="12" y="41"/>
                  </a:lnTo>
                  <a:lnTo>
                    <a:pt x="12" y="42"/>
                  </a:lnTo>
                  <a:lnTo>
                    <a:pt x="11" y="43"/>
                  </a:lnTo>
                  <a:lnTo>
                    <a:pt x="11" y="43"/>
                  </a:lnTo>
                  <a:lnTo>
                    <a:pt x="10" y="43"/>
                  </a:lnTo>
                  <a:lnTo>
                    <a:pt x="9" y="42"/>
                  </a:lnTo>
                  <a:lnTo>
                    <a:pt x="2" y="14"/>
                  </a:lnTo>
                  <a:lnTo>
                    <a:pt x="2" y="1"/>
                  </a:lnTo>
                  <a:lnTo>
                    <a:pt x="3" y="1"/>
                  </a:lnTo>
                  <a:lnTo>
                    <a:pt x="2" y="1"/>
                  </a:lnTo>
                  <a:lnTo>
                    <a:pt x="2" y="1"/>
                  </a:lnTo>
                  <a:lnTo>
                    <a:pt x="2" y="1"/>
                  </a:lnTo>
                  <a:lnTo>
                    <a:pt x="4" y="2"/>
                  </a:lnTo>
                  <a:lnTo>
                    <a:pt x="4" y="2"/>
                  </a:lnTo>
                  <a:lnTo>
                    <a:pt x="8" y="4"/>
                  </a:lnTo>
                  <a:lnTo>
                    <a:pt x="11" y="6"/>
                  </a:lnTo>
                  <a:lnTo>
                    <a:pt x="15" y="7"/>
                  </a:lnTo>
                  <a:lnTo>
                    <a:pt x="19" y="7"/>
                  </a:lnTo>
                  <a:lnTo>
                    <a:pt x="19" y="7"/>
                  </a:lnTo>
                  <a:lnTo>
                    <a:pt x="22" y="7"/>
                  </a:lnTo>
                  <a:lnTo>
                    <a:pt x="26" y="6"/>
                  </a:lnTo>
                  <a:lnTo>
                    <a:pt x="29" y="5"/>
                  </a:lnTo>
                  <a:lnTo>
                    <a:pt x="32" y="2"/>
                  </a:lnTo>
                  <a:lnTo>
                    <a:pt x="32" y="2"/>
                  </a:lnTo>
                  <a:lnTo>
                    <a:pt x="34" y="0"/>
                  </a:lnTo>
                  <a:lnTo>
                    <a:pt x="34" y="0"/>
                  </a:lnTo>
                  <a:lnTo>
                    <a:pt x="35" y="0"/>
                  </a:lnTo>
                  <a:lnTo>
                    <a:pt x="36" y="0"/>
                  </a:lnTo>
                  <a:lnTo>
                    <a:pt x="36" y="0"/>
                  </a:lnTo>
                  <a:lnTo>
                    <a:pt x="37" y="2"/>
                  </a:lnTo>
                  <a:lnTo>
                    <a:pt x="27" y="42"/>
                  </a:lnTo>
                  <a:lnTo>
                    <a:pt x="27" y="42"/>
                  </a:lnTo>
                  <a:lnTo>
                    <a:pt x="26" y="43"/>
                  </a:lnTo>
                  <a:lnTo>
                    <a:pt x="25" y="43"/>
                  </a:lnTo>
                  <a:lnTo>
                    <a:pt x="25" y="43"/>
                  </a:lnTo>
                  <a:lnTo>
                    <a:pt x="24" y="42"/>
                  </a:lnTo>
                  <a:lnTo>
                    <a:pt x="24" y="41"/>
                  </a:lnTo>
                  <a:lnTo>
                    <a:pt x="33" y="6"/>
                  </a:lnTo>
                  <a:lnTo>
                    <a:pt x="33" y="6"/>
                  </a:lnTo>
                  <a:lnTo>
                    <a:pt x="29" y="8"/>
                  </a:lnTo>
                  <a:lnTo>
                    <a:pt x="26" y="9"/>
                  </a:lnTo>
                  <a:lnTo>
                    <a:pt x="19" y="10"/>
                  </a:lnTo>
                  <a:lnTo>
                    <a:pt x="19" y="10"/>
                  </a:lnTo>
                  <a:lnTo>
                    <a:pt x="11" y="9"/>
                  </a:lnTo>
                  <a:lnTo>
                    <a:pt x="7" y="8"/>
                  </a:lnTo>
                  <a:lnTo>
                    <a:pt x="4" y="6"/>
                  </a:lnTo>
                  <a:lnTo>
                    <a:pt x="12" y="41"/>
                  </a:lnTo>
                  <a:close/>
                  <a:moveTo>
                    <a:pt x="2" y="14"/>
                  </a:moveTo>
                  <a:lnTo>
                    <a:pt x="0" y="2"/>
                  </a:lnTo>
                  <a:lnTo>
                    <a:pt x="0" y="2"/>
                  </a:lnTo>
                  <a:lnTo>
                    <a:pt x="0" y="1"/>
                  </a:lnTo>
                  <a:lnTo>
                    <a:pt x="1" y="0"/>
                  </a:lnTo>
                  <a:lnTo>
                    <a:pt x="1" y="0"/>
                  </a:lnTo>
                  <a:lnTo>
                    <a:pt x="2" y="0"/>
                  </a:lnTo>
                  <a:lnTo>
                    <a:pt x="2" y="1"/>
                  </a:lnTo>
                  <a:lnTo>
                    <a:pt x="2" y="1"/>
                  </a:lnTo>
                  <a:lnTo>
                    <a:pt x="2" y="0"/>
                  </a:lnTo>
                  <a:lnTo>
                    <a:pt x="2" y="1"/>
                  </a:lnTo>
                  <a:lnTo>
                    <a:pt x="2" y="14"/>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26" name="Freeform 1325"/>
            <p:cNvSpPr/>
            <p:nvPr/>
          </p:nvSpPr>
          <p:spPr bwMode="auto">
            <a:xfrm>
              <a:off x="716853" y="1013481"/>
              <a:ext cx="92697" cy="55618"/>
            </a:xfrm>
            <a:custGeom>
              <a:avLst/>
              <a:gdLst>
                <a:gd name="T0" fmla="*/ 0 w 46"/>
                <a:gd name="T1" fmla="*/ 0 h 27"/>
                <a:gd name="T2" fmla="*/ 46 w 46"/>
                <a:gd name="T3" fmla="*/ 0 h 27"/>
                <a:gd name="T4" fmla="*/ 44 w 46"/>
                <a:gd name="T5" fmla="*/ 21 h 27"/>
                <a:gd name="T6" fmla="*/ 44 w 46"/>
                <a:gd name="T7" fmla="*/ 21 h 27"/>
                <a:gd name="T8" fmla="*/ 43 w 46"/>
                <a:gd name="T9" fmla="*/ 24 h 27"/>
                <a:gd name="T10" fmla="*/ 43 w 46"/>
                <a:gd name="T11" fmla="*/ 25 h 27"/>
                <a:gd name="T12" fmla="*/ 41 w 46"/>
                <a:gd name="T13" fmla="*/ 26 h 27"/>
                <a:gd name="T14" fmla="*/ 38 w 46"/>
                <a:gd name="T15" fmla="*/ 27 h 27"/>
                <a:gd name="T16" fmla="*/ 8 w 46"/>
                <a:gd name="T17" fmla="*/ 27 h 27"/>
                <a:gd name="T18" fmla="*/ 8 w 46"/>
                <a:gd name="T19" fmla="*/ 27 h 27"/>
                <a:gd name="T20" fmla="*/ 5 w 46"/>
                <a:gd name="T21" fmla="*/ 26 h 27"/>
                <a:gd name="T22" fmla="*/ 4 w 46"/>
                <a:gd name="T23" fmla="*/ 25 h 27"/>
                <a:gd name="T24" fmla="*/ 3 w 46"/>
                <a:gd name="T25" fmla="*/ 24 h 27"/>
                <a:gd name="T26" fmla="*/ 2 w 46"/>
                <a:gd name="T27" fmla="*/ 21 h 27"/>
                <a:gd name="T28" fmla="*/ 0 w 46"/>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7">
                  <a:moveTo>
                    <a:pt x="0" y="0"/>
                  </a:moveTo>
                  <a:lnTo>
                    <a:pt x="46" y="0"/>
                  </a:lnTo>
                  <a:lnTo>
                    <a:pt x="44" y="21"/>
                  </a:lnTo>
                  <a:lnTo>
                    <a:pt x="44" y="21"/>
                  </a:lnTo>
                  <a:lnTo>
                    <a:pt x="43" y="24"/>
                  </a:lnTo>
                  <a:lnTo>
                    <a:pt x="43" y="25"/>
                  </a:lnTo>
                  <a:lnTo>
                    <a:pt x="41" y="26"/>
                  </a:lnTo>
                  <a:lnTo>
                    <a:pt x="38" y="27"/>
                  </a:lnTo>
                  <a:lnTo>
                    <a:pt x="8" y="27"/>
                  </a:lnTo>
                  <a:lnTo>
                    <a:pt x="8" y="27"/>
                  </a:lnTo>
                  <a:lnTo>
                    <a:pt x="5" y="26"/>
                  </a:lnTo>
                  <a:lnTo>
                    <a:pt x="4" y="25"/>
                  </a:lnTo>
                  <a:lnTo>
                    <a:pt x="3" y="24"/>
                  </a:lnTo>
                  <a:lnTo>
                    <a:pt x="2" y="21"/>
                  </a:lnTo>
                  <a:lnTo>
                    <a:pt x="0" y="0"/>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27" name="Freeform 1326"/>
            <p:cNvSpPr/>
            <p:nvPr/>
          </p:nvSpPr>
          <p:spPr bwMode="auto">
            <a:xfrm>
              <a:off x="797189" y="760111"/>
              <a:ext cx="24719" cy="61798"/>
            </a:xfrm>
            <a:custGeom>
              <a:avLst/>
              <a:gdLst>
                <a:gd name="T0" fmla="*/ 9 w 12"/>
                <a:gd name="T1" fmla="*/ 1 h 28"/>
                <a:gd name="T2" fmla="*/ 9 w 12"/>
                <a:gd name="T3" fmla="*/ 1 h 28"/>
                <a:gd name="T4" fmla="*/ 10 w 12"/>
                <a:gd name="T5" fmla="*/ 0 h 28"/>
                <a:gd name="T6" fmla="*/ 11 w 12"/>
                <a:gd name="T7" fmla="*/ 0 h 28"/>
                <a:gd name="T8" fmla="*/ 11 w 12"/>
                <a:gd name="T9" fmla="*/ 0 h 28"/>
                <a:gd name="T10" fmla="*/ 12 w 12"/>
                <a:gd name="T11" fmla="*/ 1 h 28"/>
                <a:gd name="T12" fmla="*/ 12 w 12"/>
                <a:gd name="T13" fmla="*/ 3 h 28"/>
                <a:gd name="T14" fmla="*/ 4 w 12"/>
                <a:gd name="T15" fmla="*/ 27 h 28"/>
                <a:gd name="T16" fmla="*/ 4 w 12"/>
                <a:gd name="T17" fmla="*/ 27 h 28"/>
                <a:gd name="T18" fmla="*/ 3 w 12"/>
                <a:gd name="T19" fmla="*/ 28 h 28"/>
                <a:gd name="T20" fmla="*/ 1 w 12"/>
                <a:gd name="T21" fmla="*/ 28 h 28"/>
                <a:gd name="T22" fmla="*/ 1 w 12"/>
                <a:gd name="T23" fmla="*/ 28 h 28"/>
                <a:gd name="T24" fmla="*/ 0 w 12"/>
                <a:gd name="T25" fmla="*/ 27 h 28"/>
                <a:gd name="T26" fmla="*/ 0 w 12"/>
                <a:gd name="T27" fmla="*/ 26 h 28"/>
                <a:gd name="T28" fmla="*/ 9 w 12"/>
                <a:gd name="T29"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28">
                  <a:moveTo>
                    <a:pt x="9" y="1"/>
                  </a:moveTo>
                  <a:lnTo>
                    <a:pt x="9" y="1"/>
                  </a:lnTo>
                  <a:lnTo>
                    <a:pt x="10" y="0"/>
                  </a:lnTo>
                  <a:lnTo>
                    <a:pt x="11" y="0"/>
                  </a:lnTo>
                  <a:lnTo>
                    <a:pt x="11" y="0"/>
                  </a:lnTo>
                  <a:lnTo>
                    <a:pt x="12" y="1"/>
                  </a:lnTo>
                  <a:lnTo>
                    <a:pt x="12" y="3"/>
                  </a:lnTo>
                  <a:lnTo>
                    <a:pt x="4" y="27"/>
                  </a:lnTo>
                  <a:lnTo>
                    <a:pt x="4" y="27"/>
                  </a:lnTo>
                  <a:lnTo>
                    <a:pt x="3" y="28"/>
                  </a:lnTo>
                  <a:lnTo>
                    <a:pt x="1" y="28"/>
                  </a:lnTo>
                  <a:lnTo>
                    <a:pt x="1" y="28"/>
                  </a:lnTo>
                  <a:lnTo>
                    <a:pt x="0" y="27"/>
                  </a:lnTo>
                  <a:lnTo>
                    <a:pt x="0" y="26"/>
                  </a:lnTo>
                  <a:lnTo>
                    <a:pt x="9" y="1"/>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28" name="Freeform 1327"/>
            <p:cNvSpPr/>
            <p:nvPr/>
          </p:nvSpPr>
          <p:spPr bwMode="auto">
            <a:xfrm>
              <a:off x="828088" y="791010"/>
              <a:ext cx="43258" cy="49439"/>
            </a:xfrm>
            <a:custGeom>
              <a:avLst/>
              <a:gdLst>
                <a:gd name="T0" fmla="*/ 17 w 21"/>
                <a:gd name="T1" fmla="*/ 0 h 23"/>
                <a:gd name="T2" fmla="*/ 17 w 21"/>
                <a:gd name="T3" fmla="*/ 0 h 23"/>
                <a:gd name="T4" fmla="*/ 19 w 21"/>
                <a:gd name="T5" fmla="*/ 0 h 23"/>
                <a:gd name="T6" fmla="*/ 20 w 21"/>
                <a:gd name="T7" fmla="*/ 0 h 23"/>
                <a:gd name="T8" fmla="*/ 20 w 21"/>
                <a:gd name="T9" fmla="*/ 0 h 23"/>
                <a:gd name="T10" fmla="*/ 21 w 21"/>
                <a:gd name="T11" fmla="*/ 1 h 23"/>
                <a:gd name="T12" fmla="*/ 20 w 21"/>
                <a:gd name="T13" fmla="*/ 3 h 23"/>
                <a:gd name="T14" fmla="*/ 4 w 21"/>
                <a:gd name="T15" fmla="*/ 23 h 23"/>
                <a:gd name="T16" fmla="*/ 4 w 21"/>
                <a:gd name="T17" fmla="*/ 23 h 23"/>
                <a:gd name="T18" fmla="*/ 2 w 21"/>
                <a:gd name="T19" fmla="*/ 23 h 23"/>
                <a:gd name="T20" fmla="*/ 1 w 21"/>
                <a:gd name="T21" fmla="*/ 23 h 23"/>
                <a:gd name="T22" fmla="*/ 1 w 21"/>
                <a:gd name="T23" fmla="*/ 23 h 23"/>
                <a:gd name="T24" fmla="*/ 0 w 21"/>
                <a:gd name="T25" fmla="*/ 21 h 23"/>
                <a:gd name="T26" fmla="*/ 1 w 21"/>
                <a:gd name="T27" fmla="*/ 20 h 23"/>
                <a:gd name="T28" fmla="*/ 17 w 21"/>
                <a:gd name="T2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3">
                  <a:moveTo>
                    <a:pt x="17" y="0"/>
                  </a:moveTo>
                  <a:lnTo>
                    <a:pt x="17" y="0"/>
                  </a:lnTo>
                  <a:lnTo>
                    <a:pt x="19" y="0"/>
                  </a:lnTo>
                  <a:lnTo>
                    <a:pt x="20" y="0"/>
                  </a:lnTo>
                  <a:lnTo>
                    <a:pt x="20" y="0"/>
                  </a:lnTo>
                  <a:lnTo>
                    <a:pt x="21" y="1"/>
                  </a:lnTo>
                  <a:lnTo>
                    <a:pt x="20" y="3"/>
                  </a:lnTo>
                  <a:lnTo>
                    <a:pt x="4" y="23"/>
                  </a:lnTo>
                  <a:lnTo>
                    <a:pt x="4" y="23"/>
                  </a:lnTo>
                  <a:lnTo>
                    <a:pt x="2" y="23"/>
                  </a:lnTo>
                  <a:lnTo>
                    <a:pt x="1" y="23"/>
                  </a:lnTo>
                  <a:lnTo>
                    <a:pt x="1" y="23"/>
                  </a:lnTo>
                  <a:lnTo>
                    <a:pt x="0" y="21"/>
                  </a:lnTo>
                  <a:lnTo>
                    <a:pt x="1" y="20"/>
                  </a:lnTo>
                  <a:lnTo>
                    <a:pt x="17" y="0"/>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29" name="Freeform 1328"/>
            <p:cNvSpPr/>
            <p:nvPr/>
          </p:nvSpPr>
          <p:spPr bwMode="auto">
            <a:xfrm>
              <a:off x="852807" y="834268"/>
              <a:ext cx="49439" cy="30899"/>
            </a:xfrm>
            <a:custGeom>
              <a:avLst/>
              <a:gdLst>
                <a:gd name="T0" fmla="*/ 23 w 26"/>
                <a:gd name="T1" fmla="*/ 0 h 17"/>
                <a:gd name="T2" fmla="*/ 23 w 26"/>
                <a:gd name="T3" fmla="*/ 0 h 17"/>
                <a:gd name="T4" fmla="*/ 25 w 26"/>
                <a:gd name="T5" fmla="*/ 0 h 17"/>
                <a:gd name="T6" fmla="*/ 26 w 26"/>
                <a:gd name="T7" fmla="*/ 1 h 17"/>
                <a:gd name="T8" fmla="*/ 26 w 26"/>
                <a:gd name="T9" fmla="*/ 1 h 17"/>
                <a:gd name="T10" fmla="*/ 26 w 26"/>
                <a:gd name="T11" fmla="*/ 3 h 17"/>
                <a:gd name="T12" fmla="*/ 25 w 26"/>
                <a:gd name="T13" fmla="*/ 4 h 17"/>
                <a:gd name="T14" fmla="*/ 3 w 26"/>
                <a:gd name="T15" fmla="*/ 17 h 17"/>
                <a:gd name="T16" fmla="*/ 3 w 26"/>
                <a:gd name="T17" fmla="*/ 17 h 17"/>
                <a:gd name="T18" fmla="*/ 1 w 26"/>
                <a:gd name="T19" fmla="*/ 17 h 17"/>
                <a:gd name="T20" fmla="*/ 0 w 26"/>
                <a:gd name="T21" fmla="*/ 16 h 17"/>
                <a:gd name="T22" fmla="*/ 0 w 26"/>
                <a:gd name="T23" fmla="*/ 16 h 17"/>
                <a:gd name="T24" fmla="*/ 0 w 26"/>
                <a:gd name="T25" fmla="*/ 14 h 17"/>
                <a:gd name="T26" fmla="*/ 1 w 26"/>
                <a:gd name="T27" fmla="*/ 13 h 17"/>
                <a:gd name="T28" fmla="*/ 23 w 26"/>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17">
                  <a:moveTo>
                    <a:pt x="23" y="0"/>
                  </a:moveTo>
                  <a:lnTo>
                    <a:pt x="23" y="0"/>
                  </a:lnTo>
                  <a:lnTo>
                    <a:pt x="25" y="0"/>
                  </a:lnTo>
                  <a:lnTo>
                    <a:pt x="26" y="1"/>
                  </a:lnTo>
                  <a:lnTo>
                    <a:pt x="26" y="1"/>
                  </a:lnTo>
                  <a:lnTo>
                    <a:pt x="26" y="3"/>
                  </a:lnTo>
                  <a:lnTo>
                    <a:pt x="25" y="4"/>
                  </a:lnTo>
                  <a:lnTo>
                    <a:pt x="3" y="17"/>
                  </a:lnTo>
                  <a:lnTo>
                    <a:pt x="3" y="17"/>
                  </a:lnTo>
                  <a:lnTo>
                    <a:pt x="1" y="17"/>
                  </a:lnTo>
                  <a:lnTo>
                    <a:pt x="0" y="16"/>
                  </a:lnTo>
                  <a:lnTo>
                    <a:pt x="0" y="16"/>
                  </a:lnTo>
                  <a:lnTo>
                    <a:pt x="0" y="14"/>
                  </a:lnTo>
                  <a:lnTo>
                    <a:pt x="1" y="13"/>
                  </a:lnTo>
                  <a:lnTo>
                    <a:pt x="23" y="0"/>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30" name="Freeform 1329"/>
            <p:cNvSpPr/>
            <p:nvPr/>
          </p:nvSpPr>
          <p:spPr bwMode="auto">
            <a:xfrm>
              <a:off x="865166" y="883706"/>
              <a:ext cx="55618" cy="18540"/>
            </a:xfrm>
            <a:custGeom>
              <a:avLst/>
              <a:gdLst>
                <a:gd name="T0" fmla="*/ 27 w 29"/>
                <a:gd name="T1" fmla="*/ 0 h 9"/>
                <a:gd name="T2" fmla="*/ 27 w 29"/>
                <a:gd name="T3" fmla="*/ 0 h 9"/>
                <a:gd name="T4" fmla="*/ 28 w 29"/>
                <a:gd name="T5" fmla="*/ 1 h 9"/>
                <a:gd name="T6" fmla="*/ 29 w 29"/>
                <a:gd name="T7" fmla="*/ 2 h 9"/>
                <a:gd name="T8" fmla="*/ 29 w 29"/>
                <a:gd name="T9" fmla="*/ 2 h 9"/>
                <a:gd name="T10" fmla="*/ 29 w 29"/>
                <a:gd name="T11" fmla="*/ 3 h 9"/>
                <a:gd name="T12" fmla="*/ 28 w 29"/>
                <a:gd name="T13" fmla="*/ 4 h 9"/>
                <a:gd name="T14" fmla="*/ 2 w 29"/>
                <a:gd name="T15" fmla="*/ 9 h 9"/>
                <a:gd name="T16" fmla="*/ 2 w 29"/>
                <a:gd name="T17" fmla="*/ 9 h 9"/>
                <a:gd name="T18" fmla="*/ 1 w 29"/>
                <a:gd name="T19" fmla="*/ 8 h 9"/>
                <a:gd name="T20" fmla="*/ 0 w 29"/>
                <a:gd name="T21" fmla="*/ 7 h 9"/>
                <a:gd name="T22" fmla="*/ 0 w 29"/>
                <a:gd name="T23" fmla="*/ 7 h 9"/>
                <a:gd name="T24" fmla="*/ 0 w 29"/>
                <a:gd name="T25" fmla="*/ 6 h 9"/>
                <a:gd name="T26" fmla="*/ 1 w 29"/>
                <a:gd name="T27" fmla="*/ 5 h 9"/>
                <a:gd name="T28" fmla="*/ 27 w 29"/>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9">
                  <a:moveTo>
                    <a:pt x="27" y="0"/>
                  </a:moveTo>
                  <a:lnTo>
                    <a:pt x="27" y="0"/>
                  </a:lnTo>
                  <a:lnTo>
                    <a:pt x="28" y="1"/>
                  </a:lnTo>
                  <a:lnTo>
                    <a:pt x="29" y="2"/>
                  </a:lnTo>
                  <a:lnTo>
                    <a:pt x="29" y="2"/>
                  </a:lnTo>
                  <a:lnTo>
                    <a:pt x="29" y="3"/>
                  </a:lnTo>
                  <a:lnTo>
                    <a:pt x="28" y="4"/>
                  </a:lnTo>
                  <a:lnTo>
                    <a:pt x="2" y="9"/>
                  </a:lnTo>
                  <a:lnTo>
                    <a:pt x="2" y="9"/>
                  </a:lnTo>
                  <a:lnTo>
                    <a:pt x="1" y="8"/>
                  </a:lnTo>
                  <a:lnTo>
                    <a:pt x="0" y="7"/>
                  </a:lnTo>
                  <a:lnTo>
                    <a:pt x="0" y="7"/>
                  </a:lnTo>
                  <a:lnTo>
                    <a:pt x="0" y="6"/>
                  </a:lnTo>
                  <a:lnTo>
                    <a:pt x="1" y="5"/>
                  </a:lnTo>
                  <a:lnTo>
                    <a:pt x="27" y="0"/>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31" name="Freeform 1330"/>
            <p:cNvSpPr/>
            <p:nvPr/>
          </p:nvSpPr>
          <p:spPr bwMode="auto">
            <a:xfrm>
              <a:off x="760111" y="753931"/>
              <a:ext cx="6179" cy="61798"/>
            </a:xfrm>
            <a:custGeom>
              <a:avLst/>
              <a:gdLst>
                <a:gd name="T0" fmla="*/ 0 w 4"/>
                <a:gd name="T1" fmla="*/ 2 h 30"/>
                <a:gd name="T2" fmla="*/ 0 w 4"/>
                <a:gd name="T3" fmla="*/ 2 h 30"/>
                <a:gd name="T4" fmla="*/ 1 w 4"/>
                <a:gd name="T5" fmla="*/ 1 h 30"/>
                <a:gd name="T6" fmla="*/ 2 w 4"/>
                <a:gd name="T7" fmla="*/ 0 h 30"/>
                <a:gd name="T8" fmla="*/ 2 w 4"/>
                <a:gd name="T9" fmla="*/ 0 h 30"/>
                <a:gd name="T10" fmla="*/ 4 w 4"/>
                <a:gd name="T11" fmla="*/ 1 h 30"/>
                <a:gd name="T12" fmla="*/ 4 w 4"/>
                <a:gd name="T13" fmla="*/ 2 h 30"/>
                <a:gd name="T14" fmla="*/ 4 w 4"/>
                <a:gd name="T15" fmla="*/ 28 h 30"/>
                <a:gd name="T16" fmla="*/ 4 w 4"/>
                <a:gd name="T17" fmla="*/ 28 h 30"/>
                <a:gd name="T18" fmla="*/ 4 w 4"/>
                <a:gd name="T19" fmla="*/ 30 h 30"/>
                <a:gd name="T20" fmla="*/ 2 w 4"/>
                <a:gd name="T21" fmla="*/ 30 h 30"/>
                <a:gd name="T22" fmla="*/ 2 w 4"/>
                <a:gd name="T23" fmla="*/ 30 h 30"/>
                <a:gd name="T24" fmla="*/ 1 w 4"/>
                <a:gd name="T25" fmla="*/ 30 h 30"/>
                <a:gd name="T26" fmla="*/ 0 w 4"/>
                <a:gd name="T27" fmla="*/ 28 h 30"/>
                <a:gd name="T28" fmla="*/ 0 w 4"/>
                <a:gd name="T29"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30">
                  <a:moveTo>
                    <a:pt x="0" y="2"/>
                  </a:moveTo>
                  <a:lnTo>
                    <a:pt x="0" y="2"/>
                  </a:lnTo>
                  <a:lnTo>
                    <a:pt x="1" y="1"/>
                  </a:lnTo>
                  <a:lnTo>
                    <a:pt x="2" y="0"/>
                  </a:lnTo>
                  <a:lnTo>
                    <a:pt x="2" y="0"/>
                  </a:lnTo>
                  <a:lnTo>
                    <a:pt x="4" y="1"/>
                  </a:lnTo>
                  <a:lnTo>
                    <a:pt x="4" y="2"/>
                  </a:lnTo>
                  <a:lnTo>
                    <a:pt x="4" y="28"/>
                  </a:lnTo>
                  <a:lnTo>
                    <a:pt x="4" y="28"/>
                  </a:lnTo>
                  <a:lnTo>
                    <a:pt x="4" y="30"/>
                  </a:lnTo>
                  <a:lnTo>
                    <a:pt x="2" y="30"/>
                  </a:lnTo>
                  <a:lnTo>
                    <a:pt x="2" y="30"/>
                  </a:lnTo>
                  <a:lnTo>
                    <a:pt x="1" y="30"/>
                  </a:lnTo>
                  <a:lnTo>
                    <a:pt x="0" y="28"/>
                  </a:lnTo>
                  <a:lnTo>
                    <a:pt x="0" y="2"/>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32" name="Freeform 1331"/>
            <p:cNvSpPr/>
            <p:nvPr/>
          </p:nvSpPr>
          <p:spPr bwMode="auto">
            <a:xfrm>
              <a:off x="704494" y="760111"/>
              <a:ext cx="24719" cy="61798"/>
            </a:xfrm>
            <a:custGeom>
              <a:avLst/>
              <a:gdLst>
                <a:gd name="T0" fmla="*/ 0 w 12"/>
                <a:gd name="T1" fmla="*/ 3 h 28"/>
                <a:gd name="T2" fmla="*/ 0 w 12"/>
                <a:gd name="T3" fmla="*/ 3 h 28"/>
                <a:gd name="T4" fmla="*/ 0 w 12"/>
                <a:gd name="T5" fmla="*/ 1 h 28"/>
                <a:gd name="T6" fmla="*/ 1 w 12"/>
                <a:gd name="T7" fmla="*/ 0 h 28"/>
                <a:gd name="T8" fmla="*/ 1 w 12"/>
                <a:gd name="T9" fmla="*/ 0 h 28"/>
                <a:gd name="T10" fmla="*/ 2 w 12"/>
                <a:gd name="T11" fmla="*/ 0 h 28"/>
                <a:gd name="T12" fmla="*/ 4 w 12"/>
                <a:gd name="T13" fmla="*/ 1 h 28"/>
                <a:gd name="T14" fmla="*/ 12 w 12"/>
                <a:gd name="T15" fmla="*/ 26 h 28"/>
                <a:gd name="T16" fmla="*/ 12 w 12"/>
                <a:gd name="T17" fmla="*/ 26 h 28"/>
                <a:gd name="T18" fmla="*/ 12 w 12"/>
                <a:gd name="T19" fmla="*/ 27 h 28"/>
                <a:gd name="T20" fmla="*/ 11 w 12"/>
                <a:gd name="T21" fmla="*/ 28 h 28"/>
                <a:gd name="T22" fmla="*/ 11 w 12"/>
                <a:gd name="T23" fmla="*/ 28 h 28"/>
                <a:gd name="T24" fmla="*/ 10 w 12"/>
                <a:gd name="T25" fmla="*/ 28 h 28"/>
                <a:gd name="T26" fmla="*/ 9 w 12"/>
                <a:gd name="T27" fmla="*/ 27 h 28"/>
                <a:gd name="T28" fmla="*/ 0 w 12"/>
                <a:gd name="T2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28">
                  <a:moveTo>
                    <a:pt x="0" y="3"/>
                  </a:moveTo>
                  <a:lnTo>
                    <a:pt x="0" y="3"/>
                  </a:lnTo>
                  <a:lnTo>
                    <a:pt x="0" y="1"/>
                  </a:lnTo>
                  <a:lnTo>
                    <a:pt x="1" y="0"/>
                  </a:lnTo>
                  <a:lnTo>
                    <a:pt x="1" y="0"/>
                  </a:lnTo>
                  <a:lnTo>
                    <a:pt x="2" y="0"/>
                  </a:lnTo>
                  <a:lnTo>
                    <a:pt x="4" y="1"/>
                  </a:lnTo>
                  <a:lnTo>
                    <a:pt x="12" y="26"/>
                  </a:lnTo>
                  <a:lnTo>
                    <a:pt x="12" y="26"/>
                  </a:lnTo>
                  <a:lnTo>
                    <a:pt x="12" y="27"/>
                  </a:lnTo>
                  <a:lnTo>
                    <a:pt x="11" y="28"/>
                  </a:lnTo>
                  <a:lnTo>
                    <a:pt x="11" y="28"/>
                  </a:lnTo>
                  <a:lnTo>
                    <a:pt x="10" y="28"/>
                  </a:lnTo>
                  <a:lnTo>
                    <a:pt x="9" y="27"/>
                  </a:lnTo>
                  <a:lnTo>
                    <a:pt x="0" y="3"/>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33" name="Freeform 1332"/>
            <p:cNvSpPr/>
            <p:nvPr/>
          </p:nvSpPr>
          <p:spPr bwMode="auto">
            <a:xfrm>
              <a:off x="655055" y="791010"/>
              <a:ext cx="43258" cy="49439"/>
            </a:xfrm>
            <a:custGeom>
              <a:avLst/>
              <a:gdLst>
                <a:gd name="T0" fmla="*/ 1 w 21"/>
                <a:gd name="T1" fmla="*/ 3 h 23"/>
                <a:gd name="T2" fmla="*/ 1 w 21"/>
                <a:gd name="T3" fmla="*/ 3 h 23"/>
                <a:gd name="T4" fmla="*/ 0 w 21"/>
                <a:gd name="T5" fmla="*/ 1 h 23"/>
                <a:gd name="T6" fmla="*/ 1 w 21"/>
                <a:gd name="T7" fmla="*/ 0 h 23"/>
                <a:gd name="T8" fmla="*/ 1 w 21"/>
                <a:gd name="T9" fmla="*/ 0 h 23"/>
                <a:gd name="T10" fmla="*/ 3 w 21"/>
                <a:gd name="T11" fmla="*/ 0 h 23"/>
                <a:gd name="T12" fmla="*/ 4 w 21"/>
                <a:gd name="T13" fmla="*/ 0 h 23"/>
                <a:gd name="T14" fmla="*/ 21 w 21"/>
                <a:gd name="T15" fmla="*/ 20 h 23"/>
                <a:gd name="T16" fmla="*/ 21 w 21"/>
                <a:gd name="T17" fmla="*/ 20 h 23"/>
                <a:gd name="T18" fmla="*/ 21 w 21"/>
                <a:gd name="T19" fmla="*/ 21 h 23"/>
                <a:gd name="T20" fmla="*/ 20 w 21"/>
                <a:gd name="T21" fmla="*/ 23 h 23"/>
                <a:gd name="T22" fmla="*/ 20 w 21"/>
                <a:gd name="T23" fmla="*/ 23 h 23"/>
                <a:gd name="T24" fmla="*/ 19 w 21"/>
                <a:gd name="T25" fmla="*/ 23 h 23"/>
                <a:gd name="T26" fmla="*/ 17 w 21"/>
                <a:gd name="T27" fmla="*/ 23 h 23"/>
                <a:gd name="T28" fmla="*/ 1 w 21"/>
                <a:gd name="T29"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3">
                  <a:moveTo>
                    <a:pt x="1" y="3"/>
                  </a:moveTo>
                  <a:lnTo>
                    <a:pt x="1" y="3"/>
                  </a:lnTo>
                  <a:lnTo>
                    <a:pt x="0" y="1"/>
                  </a:lnTo>
                  <a:lnTo>
                    <a:pt x="1" y="0"/>
                  </a:lnTo>
                  <a:lnTo>
                    <a:pt x="1" y="0"/>
                  </a:lnTo>
                  <a:lnTo>
                    <a:pt x="3" y="0"/>
                  </a:lnTo>
                  <a:lnTo>
                    <a:pt x="4" y="0"/>
                  </a:lnTo>
                  <a:lnTo>
                    <a:pt x="21" y="20"/>
                  </a:lnTo>
                  <a:lnTo>
                    <a:pt x="21" y="20"/>
                  </a:lnTo>
                  <a:lnTo>
                    <a:pt x="21" y="21"/>
                  </a:lnTo>
                  <a:lnTo>
                    <a:pt x="20" y="23"/>
                  </a:lnTo>
                  <a:lnTo>
                    <a:pt x="20" y="23"/>
                  </a:lnTo>
                  <a:lnTo>
                    <a:pt x="19" y="23"/>
                  </a:lnTo>
                  <a:lnTo>
                    <a:pt x="17" y="23"/>
                  </a:lnTo>
                  <a:lnTo>
                    <a:pt x="1" y="3"/>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34" name="Freeform 1333"/>
            <p:cNvSpPr/>
            <p:nvPr/>
          </p:nvSpPr>
          <p:spPr bwMode="auto">
            <a:xfrm>
              <a:off x="617977" y="834268"/>
              <a:ext cx="55618" cy="30899"/>
            </a:xfrm>
            <a:custGeom>
              <a:avLst/>
              <a:gdLst>
                <a:gd name="T0" fmla="*/ 1 w 26"/>
                <a:gd name="T1" fmla="*/ 4 h 17"/>
                <a:gd name="T2" fmla="*/ 1 w 26"/>
                <a:gd name="T3" fmla="*/ 4 h 17"/>
                <a:gd name="T4" fmla="*/ 0 w 26"/>
                <a:gd name="T5" fmla="*/ 3 h 17"/>
                <a:gd name="T6" fmla="*/ 0 w 26"/>
                <a:gd name="T7" fmla="*/ 1 h 17"/>
                <a:gd name="T8" fmla="*/ 0 w 26"/>
                <a:gd name="T9" fmla="*/ 1 h 17"/>
                <a:gd name="T10" fmla="*/ 2 w 26"/>
                <a:gd name="T11" fmla="*/ 0 h 17"/>
                <a:gd name="T12" fmla="*/ 3 w 26"/>
                <a:gd name="T13" fmla="*/ 0 h 17"/>
                <a:gd name="T14" fmla="*/ 26 w 26"/>
                <a:gd name="T15" fmla="*/ 13 h 17"/>
                <a:gd name="T16" fmla="*/ 26 w 26"/>
                <a:gd name="T17" fmla="*/ 13 h 17"/>
                <a:gd name="T18" fmla="*/ 26 w 26"/>
                <a:gd name="T19" fmla="*/ 14 h 17"/>
                <a:gd name="T20" fmla="*/ 26 w 26"/>
                <a:gd name="T21" fmla="*/ 16 h 17"/>
                <a:gd name="T22" fmla="*/ 26 w 26"/>
                <a:gd name="T23" fmla="*/ 16 h 17"/>
                <a:gd name="T24" fmla="*/ 25 w 26"/>
                <a:gd name="T25" fmla="*/ 17 h 17"/>
                <a:gd name="T26" fmla="*/ 24 w 26"/>
                <a:gd name="T27" fmla="*/ 17 h 17"/>
                <a:gd name="T28" fmla="*/ 1 w 26"/>
                <a:gd name="T29"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17">
                  <a:moveTo>
                    <a:pt x="1" y="4"/>
                  </a:moveTo>
                  <a:lnTo>
                    <a:pt x="1" y="4"/>
                  </a:lnTo>
                  <a:lnTo>
                    <a:pt x="0" y="3"/>
                  </a:lnTo>
                  <a:lnTo>
                    <a:pt x="0" y="1"/>
                  </a:lnTo>
                  <a:lnTo>
                    <a:pt x="0" y="1"/>
                  </a:lnTo>
                  <a:lnTo>
                    <a:pt x="2" y="0"/>
                  </a:lnTo>
                  <a:lnTo>
                    <a:pt x="3" y="0"/>
                  </a:lnTo>
                  <a:lnTo>
                    <a:pt x="26" y="13"/>
                  </a:lnTo>
                  <a:lnTo>
                    <a:pt x="26" y="13"/>
                  </a:lnTo>
                  <a:lnTo>
                    <a:pt x="26" y="14"/>
                  </a:lnTo>
                  <a:lnTo>
                    <a:pt x="26" y="16"/>
                  </a:lnTo>
                  <a:lnTo>
                    <a:pt x="26" y="16"/>
                  </a:lnTo>
                  <a:lnTo>
                    <a:pt x="25" y="17"/>
                  </a:lnTo>
                  <a:lnTo>
                    <a:pt x="24" y="17"/>
                  </a:lnTo>
                  <a:lnTo>
                    <a:pt x="1" y="4"/>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35" name="Freeform 1334"/>
            <p:cNvSpPr/>
            <p:nvPr/>
          </p:nvSpPr>
          <p:spPr bwMode="auto">
            <a:xfrm>
              <a:off x="599437" y="883706"/>
              <a:ext cx="61798" cy="18540"/>
            </a:xfrm>
            <a:custGeom>
              <a:avLst/>
              <a:gdLst>
                <a:gd name="T0" fmla="*/ 2 w 29"/>
                <a:gd name="T1" fmla="*/ 4 h 9"/>
                <a:gd name="T2" fmla="*/ 2 w 29"/>
                <a:gd name="T3" fmla="*/ 4 h 9"/>
                <a:gd name="T4" fmla="*/ 0 w 29"/>
                <a:gd name="T5" fmla="*/ 3 h 9"/>
                <a:gd name="T6" fmla="*/ 0 w 29"/>
                <a:gd name="T7" fmla="*/ 2 h 9"/>
                <a:gd name="T8" fmla="*/ 0 w 29"/>
                <a:gd name="T9" fmla="*/ 2 h 9"/>
                <a:gd name="T10" fmla="*/ 1 w 29"/>
                <a:gd name="T11" fmla="*/ 1 h 9"/>
                <a:gd name="T12" fmla="*/ 2 w 29"/>
                <a:gd name="T13" fmla="*/ 0 h 9"/>
                <a:gd name="T14" fmla="*/ 28 w 29"/>
                <a:gd name="T15" fmla="*/ 5 h 9"/>
                <a:gd name="T16" fmla="*/ 28 w 29"/>
                <a:gd name="T17" fmla="*/ 5 h 9"/>
                <a:gd name="T18" fmla="*/ 29 w 29"/>
                <a:gd name="T19" fmla="*/ 6 h 9"/>
                <a:gd name="T20" fmla="*/ 29 w 29"/>
                <a:gd name="T21" fmla="*/ 7 h 9"/>
                <a:gd name="T22" fmla="*/ 29 w 29"/>
                <a:gd name="T23" fmla="*/ 7 h 9"/>
                <a:gd name="T24" fmla="*/ 29 w 29"/>
                <a:gd name="T25" fmla="*/ 8 h 9"/>
                <a:gd name="T26" fmla="*/ 27 w 29"/>
                <a:gd name="T27" fmla="*/ 9 h 9"/>
                <a:gd name="T28" fmla="*/ 2 w 29"/>
                <a:gd name="T2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9">
                  <a:moveTo>
                    <a:pt x="2" y="4"/>
                  </a:moveTo>
                  <a:lnTo>
                    <a:pt x="2" y="4"/>
                  </a:lnTo>
                  <a:lnTo>
                    <a:pt x="0" y="3"/>
                  </a:lnTo>
                  <a:lnTo>
                    <a:pt x="0" y="2"/>
                  </a:lnTo>
                  <a:lnTo>
                    <a:pt x="0" y="2"/>
                  </a:lnTo>
                  <a:lnTo>
                    <a:pt x="1" y="1"/>
                  </a:lnTo>
                  <a:lnTo>
                    <a:pt x="2" y="0"/>
                  </a:lnTo>
                  <a:lnTo>
                    <a:pt x="28" y="5"/>
                  </a:lnTo>
                  <a:lnTo>
                    <a:pt x="28" y="5"/>
                  </a:lnTo>
                  <a:lnTo>
                    <a:pt x="29" y="6"/>
                  </a:lnTo>
                  <a:lnTo>
                    <a:pt x="29" y="7"/>
                  </a:lnTo>
                  <a:lnTo>
                    <a:pt x="29" y="7"/>
                  </a:lnTo>
                  <a:lnTo>
                    <a:pt x="29" y="8"/>
                  </a:lnTo>
                  <a:lnTo>
                    <a:pt x="27" y="9"/>
                  </a:lnTo>
                  <a:lnTo>
                    <a:pt x="2" y="4"/>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grpSp>
      <p:grpSp>
        <p:nvGrpSpPr>
          <p:cNvPr id="56" name="Group 55"/>
          <p:cNvGrpSpPr/>
          <p:nvPr/>
        </p:nvGrpSpPr>
        <p:grpSpPr>
          <a:xfrm>
            <a:off x="4148180" y="2010972"/>
            <a:ext cx="1084548" cy="959408"/>
            <a:chOff x="284269" y="2181455"/>
            <a:chExt cx="1446064" cy="1279210"/>
          </a:xfrm>
        </p:grpSpPr>
        <p:sp>
          <p:nvSpPr>
            <p:cNvPr id="57" name="Freeform 1112"/>
            <p:cNvSpPr/>
            <p:nvPr/>
          </p:nvSpPr>
          <p:spPr bwMode="auto">
            <a:xfrm>
              <a:off x="525279" y="2601679"/>
              <a:ext cx="475842" cy="562358"/>
            </a:xfrm>
            <a:custGeom>
              <a:avLst/>
              <a:gdLst>
                <a:gd name="T0" fmla="*/ 37 w 233"/>
                <a:gd name="T1" fmla="*/ 63 h 274"/>
                <a:gd name="T2" fmla="*/ 21 w 233"/>
                <a:gd name="T3" fmla="*/ 83 h 274"/>
                <a:gd name="T4" fmla="*/ 10 w 233"/>
                <a:gd name="T5" fmla="*/ 104 h 274"/>
                <a:gd name="T6" fmla="*/ 3 w 233"/>
                <a:gd name="T7" fmla="*/ 127 h 274"/>
                <a:gd name="T8" fmla="*/ 0 w 233"/>
                <a:gd name="T9" fmla="*/ 150 h 274"/>
                <a:gd name="T10" fmla="*/ 2 w 233"/>
                <a:gd name="T11" fmla="*/ 174 h 274"/>
                <a:gd name="T12" fmla="*/ 9 w 233"/>
                <a:gd name="T13" fmla="*/ 197 h 274"/>
                <a:gd name="T14" fmla="*/ 20 w 233"/>
                <a:gd name="T15" fmla="*/ 219 h 274"/>
                <a:gd name="T16" fmla="*/ 36 w 233"/>
                <a:gd name="T17" fmla="*/ 238 h 274"/>
                <a:gd name="T18" fmla="*/ 45 w 233"/>
                <a:gd name="T19" fmla="*/ 247 h 274"/>
                <a:gd name="T20" fmla="*/ 64 w 233"/>
                <a:gd name="T21" fmla="*/ 260 h 274"/>
                <a:gd name="T22" fmla="*/ 85 w 233"/>
                <a:gd name="T23" fmla="*/ 269 h 274"/>
                <a:gd name="T24" fmla="*/ 107 w 233"/>
                <a:gd name="T25" fmla="*/ 273 h 274"/>
                <a:gd name="T26" fmla="*/ 128 w 233"/>
                <a:gd name="T27" fmla="*/ 273 h 274"/>
                <a:gd name="T28" fmla="*/ 150 w 233"/>
                <a:gd name="T29" fmla="*/ 268 h 274"/>
                <a:gd name="T30" fmla="*/ 171 w 233"/>
                <a:gd name="T31" fmla="*/ 259 h 274"/>
                <a:gd name="T32" fmla="*/ 191 w 233"/>
                <a:gd name="T33" fmla="*/ 245 h 274"/>
                <a:gd name="T34" fmla="*/ 200 w 233"/>
                <a:gd name="T35" fmla="*/ 237 h 274"/>
                <a:gd name="T36" fmla="*/ 216 w 233"/>
                <a:gd name="T37" fmla="*/ 216 h 274"/>
                <a:gd name="T38" fmla="*/ 226 w 233"/>
                <a:gd name="T39" fmla="*/ 190 h 274"/>
                <a:gd name="T40" fmla="*/ 232 w 233"/>
                <a:gd name="T41" fmla="*/ 161 h 274"/>
                <a:gd name="T42" fmla="*/ 233 w 233"/>
                <a:gd name="T43" fmla="*/ 130 h 274"/>
                <a:gd name="T44" fmla="*/ 229 w 233"/>
                <a:gd name="T45" fmla="*/ 99 h 274"/>
                <a:gd name="T46" fmla="*/ 221 w 233"/>
                <a:gd name="T47" fmla="*/ 70 h 274"/>
                <a:gd name="T48" fmla="*/ 209 w 233"/>
                <a:gd name="T49" fmla="*/ 43 h 274"/>
                <a:gd name="T50" fmla="*/ 193 w 233"/>
                <a:gd name="T51" fmla="*/ 22 h 274"/>
                <a:gd name="T52" fmla="*/ 184 w 233"/>
                <a:gd name="T53" fmla="*/ 14 h 274"/>
                <a:gd name="T54" fmla="*/ 165 w 233"/>
                <a:gd name="T55" fmla="*/ 4 h 274"/>
                <a:gd name="T56" fmla="*/ 145 w 233"/>
                <a:gd name="T57" fmla="*/ 0 h 274"/>
                <a:gd name="T58" fmla="*/ 125 w 233"/>
                <a:gd name="T59" fmla="*/ 3 h 274"/>
                <a:gd name="T60" fmla="*/ 105 w 233"/>
                <a:gd name="T61" fmla="*/ 11 h 274"/>
                <a:gd name="T62" fmla="*/ 85 w 233"/>
                <a:gd name="T63" fmla="*/ 23 h 274"/>
                <a:gd name="T64" fmla="*/ 56 w 233"/>
                <a:gd name="T65" fmla="*/ 46 h 274"/>
                <a:gd name="T66" fmla="*/ 37 w 233"/>
                <a:gd name="T67" fmla="*/ 6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3" h="274">
                  <a:moveTo>
                    <a:pt x="37" y="63"/>
                  </a:moveTo>
                  <a:lnTo>
                    <a:pt x="37" y="63"/>
                  </a:lnTo>
                  <a:lnTo>
                    <a:pt x="29" y="73"/>
                  </a:lnTo>
                  <a:lnTo>
                    <a:pt x="21" y="83"/>
                  </a:lnTo>
                  <a:lnTo>
                    <a:pt x="15" y="93"/>
                  </a:lnTo>
                  <a:lnTo>
                    <a:pt x="10" y="104"/>
                  </a:lnTo>
                  <a:lnTo>
                    <a:pt x="6" y="115"/>
                  </a:lnTo>
                  <a:lnTo>
                    <a:pt x="3" y="127"/>
                  </a:lnTo>
                  <a:lnTo>
                    <a:pt x="1" y="139"/>
                  </a:lnTo>
                  <a:lnTo>
                    <a:pt x="0" y="150"/>
                  </a:lnTo>
                  <a:lnTo>
                    <a:pt x="1" y="162"/>
                  </a:lnTo>
                  <a:lnTo>
                    <a:pt x="2" y="174"/>
                  </a:lnTo>
                  <a:lnTo>
                    <a:pt x="5" y="186"/>
                  </a:lnTo>
                  <a:lnTo>
                    <a:pt x="9" y="197"/>
                  </a:lnTo>
                  <a:lnTo>
                    <a:pt x="14" y="208"/>
                  </a:lnTo>
                  <a:lnTo>
                    <a:pt x="20" y="219"/>
                  </a:lnTo>
                  <a:lnTo>
                    <a:pt x="27" y="229"/>
                  </a:lnTo>
                  <a:lnTo>
                    <a:pt x="36" y="238"/>
                  </a:lnTo>
                  <a:lnTo>
                    <a:pt x="36" y="238"/>
                  </a:lnTo>
                  <a:lnTo>
                    <a:pt x="45" y="247"/>
                  </a:lnTo>
                  <a:lnTo>
                    <a:pt x="54" y="254"/>
                  </a:lnTo>
                  <a:lnTo>
                    <a:pt x="64" y="260"/>
                  </a:lnTo>
                  <a:lnTo>
                    <a:pt x="75" y="265"/>
                  </a:lnTo>
                  <a:lnTo>
                    <a:pt x="85" y="269"/>
                  </a:lnTo>
                  <a:lnTo>
                    <a:pt x="96" y="272"/>
                  </a:lnTo>
                  <a:lnTo>
                    <a:pt x="107" y="273"/>
                  </a:lnTo>
                  <a:lnTo>
                    <a:pt x="117" y="274"/>
                  </a:lnTo>
                  <a:lnTo>
                    <a:pt x="128" y="273"/>
                  </a:lnTo>
                  <a:lnTo>
                    <a:pt x="139" y="271"/>
                  </a:lnTo>
                  <a:lnTo>
                    <a:pt x="150" y="268"/>
                  </a:lnTo>
                  <a:lnTo>
                    <a:pt x="160" y="264"/>
                  </a:lnTo>
                  <a:lnTo>
                    <a:pt x="171" y="259"/>
                  </a:lnTo>
                  <a:lnTo>
                    <a:pt x="181" y="253"/>
                  </a:lnTo>
                  <a:lnTo>
                    <a:pt x="191" y="245"/>
                  </a:lnTo>
                  <a:lnTo>
                    <a:pt x="200" y="237"/>
                  </a:lnTo>
                  <a:lnTo>
                    <a:pt x="200" y="237"/>
                  </a:lnTo>
                  <a:lnTo>
                    <a:pt x="208" y="227"/>
                  </a:lnTo>
                  <a:lnTo>
                    <a:pt x="216" y="216"/>
                  </a:lnTo>
                  <a:lnTo>
                    <a:pt x="222" y="204"/>
                  </a:lnTo>
                  <a:lnTo>
                    <a:pt x="226" y="190"/>
                  </a:lnTo>
                  <a:lnTo>
                    <a:pt x="230" y="176"/>
                  </a:lnTo>
                  <a:lnTo>
                    <a:pt x="232" y="161"/>
                  </a:lnTo>
                  <a:lnTo>
                    <a:pt x="233" y="146"/>
                  </a:lnTo>
                  <a:lnTo>
                    <a:pt x="233" y="130"/>
                  </a:lnTo>
                  <a:lnTo>
                    <a:pt x="231" y="114"/>
                  </a:lnTo>
                  <a:lnTo>
                    <a:pt x="229" y="99"/>
                  </a:lnTo>
                  <a:lnTo>
                    <a:pt x="225" y="84"/>
                  </a:lnTo>
                  <a:lnTo>
                    <a:pt x="221" y="70"/>
                  </a:lnTo>
                  <a:lnTo>
                    <a:pt x="215" y="56"/>
                  </a:lnTo>
                  <a:lnTo>
                    <a:pt x="209" y="43"/>
                  </a:lnTo>
                  <a:lnTo>
                    <a:pt x="201" y="32"/>
                  </a:lnTo>
                  <a:lnTo>
                    <a:pt x="193" y="22"/>
                  </a:lnTo>
                  <a:lnTo>
                    <a:pt x="193" y="22"/>
                  </a:lnTo>
                  <a:lnTo>
                    <a:pt x="184" y="14"/>
                  </a:lnTo>
                  <a:lnTo>
                    <a:pt x="174" y="8"/>
                  </a:lnTo>
                  <a:lnTo>
                    <a:pt x="165" y="4"/>
                  </a:lnTo>
                  <a:lnTo>
                    <a:pt x="155" y="1"/>
                  </a:lnTo>
                  <a:lnTo>
                    <a:pt x="145" y="0"/>
                  </a:lnTo>
                  <a:lnTo>
                    <a:pt x="135" y="1"/>
                  </a:lnTo>
                  <a:lnTo>
                    <a:pt x="125" y="3"/>
                  </a:lnTo>
                  <a:lnTo>
                    <a:pt x="115" y="7"/>
                  </a:lnTo>
                  <a:lnTo>
                    <a:pt x="105" y="11"/>
                  </a:lnTo>
                  <a:lnTo>
                    <a:pt x="95" y="16"/>
                  </a:lnTo>
                  <a:lnTo>
                    <a:pt x="85" y="23"/>
                  </a:lnTo>
                  <a:lnTo>
                    <a:pt x="75" y="30"/>
                  </a:lnTo>
                  <a:lnTo>
                    <a:pt x="56" y="46"/>
                  </a:lnTo>
                  <a:lnTo>
                    <a:pt x="37" y="63"/>
                  </a:lnTo>
                  <a:lnTo>
                    <a:pt x="37" y="63"/>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58" name="Freeform 1113"/>
            <p:cNvSpPr/>
            <p:nvPr/>
          </p:nvSpPr>
          <p:spPr bwMode="auto">
            <a:xfrm>
              <a:off x="284269" y="2181455"/>
              <a:ext cx="1161795" cy="821907"/>
            </a:xfrm>
            <a:custGeom>
              <a:avLst/>
              <a:gdLst>
                <a:gd name="T0" fmla="*/ 0 w 563"/>
                <a:gd name="T1" fmla="*/ 82 h 398"/>
                <a:gd name="T2" fmla="*/ 0 w 563"/>
                <a:gd name="T3" fmla="*/ 74 h 398"/>
                <a:gd name="T4" fmla="*/ 5 w 563"/>
                <a:gd name="T5" fmla="*/ 50 h 398"/>
                <a:gd name="T6" fmla="*/ 13 w 563"/>
                <a:gd name="T7" fmla="*/ 30 h 398"/>
                <a:gd name="T8" fmla="*/ 21 w 563"/>
                <a:gd name="T9" fmla="*/ 19 h 398"/>
                <a:gd name="T10" fmla="*/ 31 w 563"/>
                <a:gd name="T11" fmla="*/ 10 h 398"/>
                <a:gd name="T12" fmla="*/ 41 w 563"/>
                <a:gd name="T13" fmla="*/ 3 h 398"/>
                <a:gd name="T14" fmla="*/ 53 w 563"/>
                <a:gd name="T15" fmla="*/ 0 h 398"/>
                <a:gd name="T16" fmla="*/ 504 w 563"/>
                <a:gd name="T17" fmla="*/ 0 h 398"/>
                <a:gd name="T18" fmla="*/ 510 w 563"/>
                <a:gd name="T19" fmla="*/ 0 h 398"/>
                <a:gd name="T20" fmla="*/ 521 w 563"/>
                <a:gd name="T21" fmla="*/ 3 h 398"/>
                <a:gd name="T22" fmla="*/ 532 w 563"/>
                <a:gd name="T23" fmla="*/ 10 h 398"/>
                <a:gd name="T24" fmla="*/ 541 w 563"/>
                <a:gd name="T25" fmla="*/ 19 h 398"/>
                <a:gd name="T26" fmla="*/ 549 w 563"/>
                <a:gd name="T27" fmla="*/ 30 h 398"/>
                <a:gd name="T28" fmla="*/ 558 w 563"/>
                <a:gd name="T29" fmla="*/ 50 h 398"/>
                <a:gd name="T30" fmla="*/ 562 w 563"/>
                <a:gd name="T31" fmla="*/ 74 h 398"/>
                <a:gd name="T32" fmla="*/ 563 w 563"/>
                <a:gd name="T33" fmla="*/ 316 h 398"/>
                <a:gd name="T34" fmla="*/ 562 w 563"/>
                <a:gd name="T35" fmla="*/ 324 h 398"/>
                <a:gd name="T36" fmla="*/ 558 w 563"/>
                <a:gd name="T37" fmla="*/ 348 h 398"/>
                <a:gd name="T38" fmla="*/ 549 w 563"/>
                <a:gd name="T39" fmla="*/ 368 h 398"/>
                <a:gd name="T40" fmla="*/ 541 w 563"/>
                <a:gd name="T41" fmla="*/ 379 h 398"/>
                <a:gd name="T42" fmla="*/ 532 w 563"/>
                <a:gd name="T43" fmla="*/ 388 h 398"/>
                <a:gd name="T44" fmla="*/ 521 w 563"/>
                <a:gd name="T45" fmla="*/ 395 h 398"/>
                <a:gd name="T46" fmla="*/ 510 w 563"/>
                <a:gd name="T47" fmla="*/ 398 h 398"/>
                <a:gd name="T48" fmla="*/ 59 w 563"/>
                <a:gd name="T49" fmla="*/ 398 h 398"/>
                <a:gd name="T50" fmla="*/ 53 w 563"/>
                <a:gd name="T51" fmla="*/ 398 h 398"/>
                <a:gd name="T52" fmla="*/ 41 w 563"/>
                <a:gd name="T53" fmla="*/ 395 h 398"/>
                <a:gd name="T54" fmla="*/ 31 w 563"/>
                <a:gd name="T55" fmla="*/ 388 h 398"/>
                <a:gd name="T56" fmla="*/ 21 w 563"/>
                <a:gd name="T57" fmla="*/ 379 h 398"/>
                <a:gd name="T58" fmla="*/ 13 w 563"/>
                <a:gd name="T59" fmla="*/ 368 h 398"/>
                <a:gd name="T60" fmla="*/ 5 w 563"/>
                <a:gd name="T61" fmla="*/ 348 h 398"/>
                <a:gd name="T62" fmla="*/ 0 w 563"/>
                <a:gd name="T63" fmla="*/ 324 h 398"/>
                <a:gd name="T64" fmla="*/ 0 w 563"/>
                <a:gd name="T65" fmla="*/ 31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3" h="398">
                  <a:moveTo>
                    <a:pt x="0" y="316"/>
                  </a:moveTo>
                  <a:lnTo>
                    <a:pt x="0" y="82"/>
                  </a:lnTo>
                  <a:lnTo>
                    <a:pt x="0" y="82"/>
                  </a:lnTo>
                  <a:lnTo>
                    <a:pt x="0" y="74"/>
                  </a:lnTo>
                  <a:lnTo>
                    <a:pt x="1" y="66"/>
                  </a:lnTo>
                  <a:lnTo>
                    <a:pt x="5" y="50"/>
                  </a:lnTo>
                  <a:lnTo>
                    <a:pt x="10" y="36"/>
                  </a:lnTo>
                  <a:lnTo>
                    <a:pt x="13" y="30"/>
                  </a:lnTo>
                  <a:lnTo>
                    <a:pt x="17" y="24"/>
                  </a:lnTo>
                  <a:lnTo>
                    <a:pt x="21" y="19"/>
                  </a:lnTo>
                  <a:lnTo>
                    <a:pt x="26" y="14"/>
                  </a:lnTo>
                  <a:lnTo>
                    <a:pt x="31" y="10"/>
                  </a:lnTo>
                  <a:lnTo>
                    <a:pt x="36" y="6"/>
                  </a:lnTo>
                  <a:lnTo>
                    <a:pt x="41" y="3"/>
                  </a:lnTo>
                  <a:lnTo>
                    <a:pt x="47" y="1"/>
                  </a:lnTo>
                  <a:lnTo>
                    <a:pt x="53" y="0"/>
                  </a:lnTo>
                  <a:lnTo>
                    <a:pt x="59" y="0"/>
                  </a:lnTo>
                  <a:lnTo>
                    <a:pt x="504" y="0"/>
                  </a:lnTo>
                  <a:lnTo>
                    <a:pt x="504" y="0"/>
                  </a:lnTo>
                  <a:lnTo>
                    <a:pt x="510" y="0"/>
                  </a:lnTo>
                  <a:lnTo>
                    <a:pt x="516" y="1"/>
                  </a:lnTo>
                  <a:lnTo>
                    <a:pt x="521" y="3"/>
                  </a:lnTo>
                  <a:lnTo>
                    <a:pt x="527" y="6"/>
                  </a:lnTo>
                  <a:lnTo>
                    <a:pt x="532" y="10"/>
                  </a:lnTo>
                  <a:lnTo>
                    <a:pt x="537" y="14"/>
                  </a:lnTo>
                  <a:lnTo>
                    <a:pt x="541" y="19"/>
                  </a:lnTo>
                  <a:lnTo>
                    <a:pt x="545" y="24"/>
                  </a:lnTo>
                  <a:lnTo>
                    <a:pt x="549" y="30"/>
                  </a:lnTo>
                  <a:lnTo>
                    <a:pt x="553" y="36"/>
                  </a:lnTo>
                  <a:lnTo>
                    <a:pt x="558" y="50"/>
                  </a:lnTo>
                  <a:lnTo>
                    <a:pt x="561" y="66"/>
                  </a:lnTo>
                  <a:lnTo>
                    <a:pt x="562" y="74"/>
                  </a:lnTo>
                  <a:lnTo>
                    <a:pt x="563" y="82"/>
                  </a:lnTo>
                  <a:lnTo>
                    <a:pt x="563" y="316"/>
                  </a:lnTo>
                  <a:lnTo>
                    <a:pt x="563" y="316"/>
                  </a:lnTo>
                  <a:lnTo>
                    <a:pt x="562" y="324"/>
                  </a:lnTo>
                  <a:lnTo>
                    <a:pt x="561" y="332"/>
                  </a:lnTo>
                  <a:lnTo>
                    <a:pt x="558" y="348"/>
                  </a:lnTo>
                  <a:lnTo>
                    <a:pt x="553" y="362"/>
                  </a:lnTo>
                  <a:lnTo>
                    <a:pt x="549" y="368"/>
                  </a:lnTo>
                  <a:lnTo>
                    <a:pt x="545" y="374"/>
                  </a:lnTo>
                  <a:lnTo>
                    <a:pt x="541" y="379"/>
                  </a:lnTo>
                  <a:lnTo>
                    <a:pt x="537" y="384"/>
                  </a:lnTo>
                  <a:lnTo>
                    <a:pt x="532" y="388"/>
                  </a:lnTo>
                  <a:lnTo>
                    <a:pt x="527" y="392"/>
                  </a:lnTo>
                  <a:lnTo>
                    <a:pt x="521" y="395"/>
                  </a:lnTo>
                  <a:lnTo>
                    <a:pt x="516" y="397"/>
                  </a:lnTo>
                  <a:lnTo>
                    <a:pt x="510" y="398"/>
                  </a:lnTo>
                  <a:lnTo>
                    <a:pt x="504" y="398"/>
                  </a:lnTo>
                  <a:lnTo>
                    <a:pt x="59" y="398"/>
                  </a:lnTo>
                  <a:lnTo>
                    <a:pt x="59" y="398"/>
                  </a:lnTo>
                  <a:lnTo>
                    <a:pt x="53" y="398"/>
                  </a:lnTo>
                  <a:lnTo>
                    <a:pt x="47" y="397"/>
                  </a:lnTo>
                  <a:lnTo>
                    <a:pt x="41" y="395"/>
                  </a:lnTo>
                  <a:lnTo>
                    <a:pt x="36" y="392"/>
                  </a:lnTo>
                  <a:lnTo>
                    <a:pt x="31" y="388"/>
                  </a:lnTo>
                  <a:lnTo>
                    <a:pt x="26" y="384"/>
                  </a:lnTo>
                  <a:lnTo>
                    <a:pt x="21" y="379"/>
                  </a:lnTo>
                  <a:lnTo>
                    <a:pt x="17" y="374"/>
                  </a:lnTo>
                  <a:lnTo>
                    <a:pt x="13" y="368"/>
                  </a:lnTo>
                  <a:lnTo>
                    <a:pt x="10" y="362"/>
                  </a:lnTo>
                  <a:lnTo>
                    <a:pt x="5" y="348"/>
                  </a:lnTo>
                  <a:lnTo>
                    <a:pt x="1" y="332"/>
                  </a:lnTo>
                  <a:lnTo>
                    <a:pt x="0" y="324"/>
                  </a:lnTo>
                  <a:lnTo>
                    <a:pt x="0" y="316"/>
                  </a:lnTo>
                  <a:lnTo>
                    <a:pt x="0" y="316"/>
                  </a:lnTo>
                  <a:close/>
                </a:path>
              </a:pathLst>
            </a:custGeom>
            <a:solidFill>
              <a:srgbClr val="004E78"/>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59" name="Freeform 1114"/>
            <p:cNvSpPr/>
            <p:nvPr/>
          </p:nvSpPr>
          <p:spPr bwMode="auto">
            <a:xfrm>
              <a:off x="383145" y="2230893"/>
              <a:ext cx="951682" cy="723031"/>
            </a:xfrm>
            <a:custGeom>
              <a:avLst/>
              <a:gdLst>
                <a:gd name="T0" fmla="*/ 0 w 464"/>
                <a:gd name="T1" fmla="*/ 349 h 350"/>
                <a:gd name="T2" fmla="*/ 0 w 464"/>
                <a:gd name="T3" fmla="*/ 1 h 350"/>
                <a:gd name="T4" fmla="*/ 0 w 464"/>
                <a:gd name="T5" fmla="*/ 1 h 350"/>
                <a:gd name="T6" fmla="*/ 1 w 464"/>
                <a:gd name="T7" fmla="*/ 0 h 350"/>
                <a:gd name="T8" fmla="*/ 463 w 464"/>
                <a:gd name="T9" fmla="*/ 0 h 350"/>
                <a:gd name="T10" fmla="*/ 463 w 464"/>
                <a:gd name="T11" fmla="*/ 0 h 350"/>
                <a:gd name="T12" fmla="*/ 464 w 464"/>
                <a:gd name="T13" fmla="*/ 1 h 350"/>
                <a:gd name="T14" fmla="*/ 464 w 464"/>
                <a:gd name="T15" fmla="*/ 349 h 350"/>
                <a:gd name="T16" fmla="*/ 464 w 464"/>
                <a:gd name="T17" fmla="*/ 349 h 350"/>
                <a:gd name="T18" fmla="*/ 463 w 464"/>
                <a:gd name="T19" fmla="*/ 350 h 350"/>
                <a:gd name="T20" fmla="*/ 1 w 464"/>
                <a:gd name="T21" fmla="*/ 350 h 350"/>
                <a:gd name="T22" fmla="*/ 1 w 464"/>
                <a:gd name="T23" fmla="*/ 350 h 350"/>
                <a:gd name="T24" fmla="*/ 0 w 464"/>
                <a:gd name="T25" fmla="*/ 349 h 350"/>
                <a:gd name="T26" fmla="*/ 0 w 464"/>
                <a:gd name="T27" fmla="*/ 349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4" h="350">
                  <a:moveTo>
                    <a:pt x="0" y="349"/>
                  </a:moveTo>
                  <a:lnTo>
                    <a:pt x="0" y="1"/>
                  </a:lnTo>
                  <a:lnTo>
                    <a:pt x="0" y="1"/>
                  </a:lnTo>
                  <a:lnTo>
                    <a:pt x="1" y="0"/>
                  </a:lnTo>
                  <a:lnTo>
                    <a:pt x="463" y="0"/>
                  </a:lnTo>
                  <a:lnTo>
                    <a:pt x="463" y="0"/>
                  </a:lnTo>
                  <a:lnTo>
                    <a:pt x="464" y="1"/>
                  </a:lnTo>
                  <a:lnTo>
                    <a:pt x="464" y="349"/>
                  </a:lnTo>
                  <a:lnTo>
                    <a:pt x="464" y="349"/>
                  </a:lnTo>
                  <a:lnTo>
                    <a:pt x="463" y="350"/>
                  </a:lnTo>
                  <a:lnTo>
                    <a:pt x="1" y="350"/>
                  </a:lnTo>
                  <a:lnTo>
                    <a:pt x="1" y="350"/>
                  </a:lnTo>
                  <a:lnTo>
                    <a:pt x="0" y="349"/>
                  </a:lnTo>
                  <a:lnTo>
                    <a:pt x="0" y="34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60" name="Freeform 1115"/>
            <p:cNvSpPr/>
            <p:nvPr/>
          </p:nvSpPr>
          <p:spPr bwMode="auto">
            <a:xfrm>
              <a:off x="315168" y="2496622"/>
              <a:ext cx="12359" cy="191573"/>
            </a:xfrm>
            <a:custGeom>
              <a:avLst/>
              <a:gdLst>
                <a:gd name="T0" fmla="*/ 0 w 8"/>
                <a:gd name="T1" fmla="*/ 90 h 94"/>
                <a:gd name="T2" fmla="*/ 0 w 8"/>
                <a:gd name="T3" fmla="*/ 4 h 94"/>
                <a:gd name="T4" fmla="*/ 0 w 8"/>
                <a:gd name="T5" fmla="*/ 4 h 94"/>
                <a:gd name="T6" fmla="*/ 0 w 8"/>
                <a:gd name="T7" fmla="*/ 2 h 94"/>
                <a:gd name="T8" fmla="*/ 1 w 8"/>
                <a:gd name="T9" fmla="*/ 1 h 94"/>
                <a:gd name="T10" fmla="*/ 2 w 8"/>
                <a:gd name="T11" fmla="*/ 0 h 94"/>
                <a:gd name="T12" fmla="*/ 4 w 8"/>
                <a:gd name="T13" fmla="*/ 0 h 94"/>
                <a:gd name="T14" fmla="*/ 4 w 8"/>
                <a:gd name="T15" fmla="*/ 0 h 94"/>
                <a:gd name="T16" fmla="*/ 4 w 8"/>
                <a:gd name="T17" fmla="*/ 0 h 94"/>
                <a:gd name="T18" fmla="*/ 6 w 8"/>
                <a:gd name="T19" fmla="*/ 0 h 94"/>
                <a:gd name="T20" fmla="*/ 7 w 8"/>
                <a:gd name="T21" fmla="*/ 1 h 94"/>
                <a:gd name="T22" fmla="*/ 8 w 8"/>
                <a:gd name="T23" fmla="*/ 2 h 94"/>
                <a:gd name="T24" fmla="*/ 8 w 8"/>
                <a:gd name="T25" fmla="*/ 4 h 94"/>
                <a:gd name="T26" fmla="*/ 8 w 8"/>
                <a:gd name="T27" fmla="*/ 90 h 94"/>
                <a:gd name="T28" fmla="*/ 8 w 8"/>
                <a:gd name="T29" fmla="*/ 90 h 94"/>
                <a:gd name="T30" fmla="*/ 8 w 8"/>
                <a:gd name="T31" fmla="*/ 92 h 94"/>
                <a:gd name="T32" fmla="*/ 7 w 8"/>
                <a:gd name="T33" fmla="*/ 93 h 94"/>
                <a:gd name="T34" fmla="*/ 6 w 8"/>
                <a:gd name="T35" fmla="*/ 94 h 94"/>
                <a:gd name="T36" fmla="*/ 4 w 8"/>
                <a:gd name="T37" fmla="*/ 94 h 94"/>
                <a:gd name="T38" fmla="*/ 4 w 8"/>
                <a:gd name="T39" fmla="*/ 94 h 94"/>
                <a:gd name="T40" fmla="*/ 4 w 8"/>
                <a:gd name="T41" fmla="*/ 94 h 94"/>
                <a:gd name="T42" fmla="*/ 2 w 8"/>
                <a:gd name="T43" fmla="*/ 94 h 94"/>
                <a:gd name="T44" fmla="*/ 1 w 8"/>
                <a:gd name="T45" fmla="*/ 93 h 94"/>
                <a:gd name="T46" fmla="*/ 0 w 8"/>
                <a:gd name="T47" fmla="*/ 92 h 94"/>
                <a:gd name="T48" fmla="*/ 0 w 8"/>
                <a:gd name="T49" fmla="*/ 90 h 94"/>
                <a:gd name="T50" fmla="*/ 0 w 8"/>
                <a:gd name="T51"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94">
                  <a:moveTo>
                    <a:pt x="0" y="90"/>
                  </a:moveTo>
                  <a:lnTo>
                    <a:pt x="0" y="4"/>
                  </a:lnTo>
                  <a:lnTo>
                    <a:pt x="0" y="4"/>
                  </a:lnTo>
                  <a:lnTo>
                    <a:pt x="0" y="2"/>
                  </a:lnTo>
                  <a:lnTo>
                    <a:pt x="1" y="1"/>
                  </a:lnTo>
                  <a:lnTo>
                    <a:pt x="2" y="0"/>
                  </a:lnTo>
                  <a:lnTo>
                    <a:pt x="4" y="0"/>
                  </a:lnTo>
                  <a:lnTo>
                    <a:pt x="4" y="0"/>
                  </a:lnTo>
                  <a:lnTo>
                    <a:pt x="4" y="0"/>
                  </a:lnTo>
                  <a:lnTo>
                    <a:pt x="6" y="0"/>
                  </a:lnTo>
                  <a:lnTo>
                    <a:pt x="7" y="1"/>
                  </a:lnTo>
                  <a:lnTo>
                    <a:pt x="8" y="2"/>
                  </a:lnTo>
                  <a:lnTo>
                    <a:pt x="8" y="4"/>
                  </a:lnTo>
                  <a:lnTo>
                    <a:pt x="8" y="90"/>
                  </a:lnTo>
                  <a:lnTo>
                    <a:pt x="8" y="90"/>
                  </a:lnTo>
                  <a:lnTo>
                    <a:pt x="8" y="92"/>
                  </a:lnTo>
                  <a:lnTo>
                    <a:pt x="7" y="93"/>
                  </a:lnTo>
                  <a:lnTo>
                    <a:pt x="6" y="94"/>
                  </a:lnTo>
                  <a:lnTo>
                    <a:pt x="4" y="94"/>
                  </a:lnTo>
                  <a:lnTo>
                    <a:pt x="4" y="94"/>
                  </a:lnTo>
                  <a:lnTo>
                    <a:pt x="4" y="94"/>
                  </a:lnTo>
                  <a:lnTo>
                    <a:pt x="2" y="94"/>
                  </a:lnTo>
                  <a:lnTo>
                    <a:pt x="1" y="93"/>
                  </a:lnTo>
                  <a:lnTo>
                    <a:pt x="0" y="92"/>
                  </a:lnTo>
                  <a:lnTo>
                    <a:pt x="0" y="90"/>
                  </a:lnTo>
                  <a:lnTo>
                    <a:pt x="0" y="90"/>
                  </a:lnTo>
                  <a:close/>
                </a:path>
              </a:pathLst>
            </a:custGeom>
            <a:solidFill>
              <a:srgbClr val="4899C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61" name="Freeform 1116"/>
            <p:cNvSpPr/>
            <p:nvPr/>
          </p:nvSpPr>
          <p:spPr bwMode="auto">
            <a:xfrm>
              <a:off x="1359547" y="2564599"/>
              <a:ext cx="55618" cy="55618"/>
            </a:xfrm>
            <a:custGeom>
              <a:avLst/>
              <a:gdLst>
                <a:gd name="T0" fmla="*/ 0 w 28"/>
                <a:gd name="T1" fmla="*/ 14 h 28"/>
                <a:gd name="T2" fmla="*/ 0 w 28"/>
                <a:gd name="T3" fmla="*/ 14 h 28"/>
                <a:gd name="T4" fmla="*/ 1 w 28"/>
                <a:gd name="T5" fmla="*/ 8 h 28"/>
                <a:gd name="T6" fmla="*/ 4 w 28"/>
                <a:gd name="T7" fmla="*/ 4 h 28"/>
                <a:gd name="T8" fmla="*/ 8 w 28"/>
                <a:gd name="T9" fmla="*/ 1 h 28"/>
                <a:gd name="T10" fmla="*/ 14 w 28"/>
                <a:gd name="T11" fmla="*/ 0 h 28"/>
                <a:gd name="T12" fmla="*/ 14 w 28"/>
                <a:gd name="T13" fmla="*/ 0 h 28"/>
                <a:gd name="T14" fmla="*/ 20 w 28"/>
                <a:gd name="T15" fmla="*/ 1 h 28"/>
                <a:gd name="T16" fmla="*/ 24 w 28"/>
                <a:gd name="T17" fmla="*/ 4 h 28"/>
                <a:gd name="T18" fmla="*/ 27 w 28"/>
                <a:gd name="T19" fmla="*/ 8 h 28"/>
                <a:gd name="T20" fmla="*/ 28 w 28"/>
                <a:gd name="T21" fmla="*/ 14 h 28"/>
                <a:gd name="T22" fmla="*/ 28 w 28"/>
                <a:gd name="T23" fmla="*/ 14 h 28"/>
                <a:gd name="T24" fmla="*/ 27 w 28"/>
                <a:gd name="T25" fmla="*/ 20 h 28"/>
                <a:gd name="T26" fmla="*/ 24 w 28"/>
                <a:gd name="T27" fmla="*/ 24 h 28"/>
                <a:gd name="T28" fmla="*/ 20 w 28"/>
                <a:gd name="T29" fmla="*/ 27 h 28"/>
                <a:gd name="T30" fmla="*/ 14 w 28"/>
                <a:gd name="T31" fmla="*/ 28 h 28"/>
                <a:gd name="T32" fmla="*/ 14 w 28"/>
                <a:gd name="T33" fmla="*/ 28 h 28"/>
                <a:gd name="T34" fmla="*/ 8 w 28"/>
                <a:gd name="T35" fmla="*/ 27 h 28"/>
                <a:gd name="T36" fmla="*/ 4 w 28"/>
                <a:gd name="T37" fmla="*/ 24 h 28"/>
                <a:gd name="T38" fmla="*/ 1 w 28"/>
                <a:gd name="T39" fmla="*/ 20 h 28"/>
                <a:gd name="T40" fmla="*/ 0 w 28"/>
                <a:gd name="T41" fmla="*/ 14 h 28"/>
                <a:gd name="T42" fmla="*/ 0 w 28"/>
                <a:gd name="T43"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28">
                  <a:moveTo>
                    <a:pt x="0" y="14"/>
                  </a:moveTo>
                  <a:lnTo>
                    <a:pt x="0" y="14"/>
                  </a:lnTo>
                  <a:lnTo>
                    <a:pt x="1" y="8"/>
                  </a:lnTo>
                  <a:lnTo>
                    <a:pt x="4" y="4"/>
                  </a:lnTo>
                  <a:lnTo>
                    <a:pt x="8" y="1"/>
                  </a:lnTo>
                  <a:lnTo>
                    <a:pt x="14" y="0"/>
                  </a:lnTo>
                  <a:lnTo>
                    <a:pt x="14" y="0"/>
                  </a:lnTo>
                  <a:lnTo>
                    <a:pt x="20" y="1"/>
                  </a:lnTo>
                  <a:lnTo>
                    <a:pt x="24" y="4"/>
                  </a:lnTo>
                  <a:lnTo>
                    <a:pt x="27" y="8"/>
                  </a:lnTo>
                  <a:lnTo>
                    <a:pt x="28" y="14"/>
                  </a:lnTo>
                  <a:lnTo>
                    <a:pt x="28" y="14"/>
                  </a:lnTo>
                  <a:lnTo>
                    <a:pt x="27" y="20"/>
                  </a:lnTo>
                  <a:lnTo>
                    <a:pt x="24" y="24"/>
                  </a:lnTo>
                  <a:lnTo>
                    <a:pt x="20" y="27"/>
                  </a:lnTo>
                  <a:lnTo>
                    <a:pt x="14" y="28"/>
                  </a:lnTo>
                  <a:lnTo>
                    <a:pt x="14" y="28"/>
                  </a:lnTo>
                  <a:lnTo>
                    <a:pt x="8" y="27"/>
                  </a:lnTo>
                  <a:lnTo>
                    <a:pt x="4" y="24"/>
                  </a:lnTo>
                  <a:lnTo>
                    <a:pt x="1" y="20"/>
                  </a:lnTo>
                  <a:lnTo>
                    <a:pt x="0" y="14"/>
                  </a:lnTo>
                  <a:lnTo>
                    <a:pt x="0" y="14"/>
                  </a:lnTo>
                  <a:close/>
                </a:path>
              </a:pathLst>
            </a:custGeom>
            <a:solidFill>
              <a:srgbClr val="4899C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62" name="Freeform 1117"/>
            <p:cNvSpPr>
              <a:spLocks noEditPoints="1"/>
            </p:cNvSpPr>
            <p:nvPr/>
          </p:nvSpPr>
          <p:spPr bwMode="auto">
            <a:xfrm>
              <a:off x="611795" y="2669656"/>
              <a:ext cx="339885" cy="37078"/>
            </a:xfrm>
            <a:custGeom>
              <a:avLst/>
              <a:gdLst>
                <a:gd name="T0" fmla="*/ 152 w 164"/>
                <a:gd name="T1" fmla="*/ 18 h 18"/>
                <a:gd name="T2" fmla="*/ 157 w 164"/>
                <a:gd name="T3" fmla="*/ 17 h 18"/>
                <a:gd name="T4" fmla="*/ 163 w 164"/>
                <a:gd name="T5" fmla="*/ 13 h 18"/>
                <a:gd name="T6" fmla="*/ 163 w 164"/>
                <a:gd name="T7" fmla="*/ 6 h 18"/>
                <a:gd name="T8" fmla="*/ 157 w 164"/>
                <a:gd name="T9" fmla="*/ 1 h 18"/>
                <a:gd name="T10" fmla="*/ 146 w 164"/>
                <a:gd name="T11" fmla="*/ 0 h 18"/>
                <a:gd name="T12" fmla="*/ 146 w 164"/>
                <a:gd name="T13" fmla="*/ 2 h 18"/>
                <a:gd name="T14" fmla="*/ 149 w 164"/>
                <a:gd name="T15" fmla="*/ 2 h 18"/>
                <a:gd name="T16" fmla="*/ 153 w 164"/>
                <a:gd name="T17" fmla="*/ 6 h 18"/>
                <a:gd name="T18" fmla="*/ 154 w 164"/>
                <a:gd name="T19" fmla="*/ 9 h 18"/>
                <a:gd name="T20" fmla="*/ 152 w 164"/>
                <a:gd name="T21" fmla="*/ 14 h 18"/>
                <a:gd name="T22" fmla="*/ 146 w 164"/>
                <a:gd name="T23" fmla="*/ 17 h 18"/>
                <a:gd name="T24" fmla="*/ 146 w 164"/>
                <a:gd name="T25" fmla="*/ 18 h 18"/>
                <a:gd name="T26" fmla="*/ 146 w 164"/>
                <a:gd name="T27" fmla="*/ 18 h 18"/>
                <a:gd name="T28" fmla="*/ 146 w 164"/>
                <a:gd name="T29" fmla="*/ 17 h 18"/>
                <a:gd name="T30" fmla="*/ 141 w 164"/>
                <a:gd name="T31" fmla="*/ 14 h 18"/>
                <a:gd name="T32" fmla="*/ 139 w 164"/>
                <a:gd name="T33" fmla="*/ 9 h 18"/>
                <a:gd name="T34" fmla="*/ 139 w 164"/>
                <a:gd name="T35" fmla="*/ 6 h 18"/>
                <a:gd name="T36" fmla="*/ 143 w 164"/>
                <a:gd name="T37" fmla="*/ 2 h 18"/>
                <a:gd name="T38" fmla="*/ 146 w 164"/>
                <a:gd name="T39" fmla="*/ 0 h 18"/>
                <a:gd name="T40" fmla="*/ 17 w 164"/>
                <a:gd name="T41" fmla="*/ 0 h 18"/>
                <a:gd name="T42" fmla="*/ 17 w 164"/>
                <a:gd name="T43" fmla="*/ 2 h 18"/>
                <a:gd name="T44" fmla="*/ 23 w 164"/>
                <a:gd name="T45" fmla="*/ 4 h 18"/>
                <a:gd name="T46" fmla="*/ 25 w 164"/>
                <a:gd name="T47" fmla="*/ 9 h 18"/>
                <a:gd name="T48" fmla="*/ 24 w 164"/>
                <a:gd name="T49" fmla="*/ 12 h 18"/>
                <a:gd name="T50" fmla="*/ 20 w 164"/>
                <a:gd name="T51" fmla="*/ 16 h 18"/>
                <a:gd name="T52" fmla="*/ 17 w 164"/>
                <a:gd name="T53" fmla="*/ 18 h 18"/>
                <a:gd name="T54" fmla="*/ 17 w 164"/>
                <a:gd name="T55" fmla="*/ 18 h 18"/>
                <a:gd name="T56" fmla="*/ 17 w 164"/>
                <a:gd name="T57" fmla="*/ 17 h 18"/>
                <a:gd name="T58" fmla="*/ 12 w 164"/>
                <a:gd name="T59" fmla="*/ 14 h 18"/>
                <a:gd name="T60" fmla="*/ 10 w 164"/>
                <a:gd name="T61" fmla="*/ 9 h 18"/>
                <a:gd name="T62" fmla="*/ 11 w 164"/>
                <a:gd name="T63" fmla="*/ 6 h 18"/>
                <a:gd name="T64" fmla="*/ 15 w 164"/>
                <a:gd name="T65" fmla="*/ 2 h 18"/>
                <a:gd name="T66" fmla="*/ 17 w 164"/>
                <a:gd name="T67" fmla="*/ 0 h 18"/>
                <a:gd name="T68" fmla="*/ 12 w 164"/>
                <a:gd name="T69" fmla="*/ 0 h 18"/>
                <a:gd name="T70" fmla="*/ 3 w 164"/>
                <a:gd name="T71" fmla="*/ 3 h 18"/>
                <a:gd name="T72" fmla="*/ 0 w 164"/>
                <a:gd name="T73" fmla="*/ 9 h 18"/>
                <a:gd name="T74" fmla="*/ 3 w 164"/>
                <a:gd name="T75" fmla="*/ 15 h 18"/>
                <a:gd name="T76" fmla="*/ 12 w 164"/>
                <a:gd name="T7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4" h="18">
                  <a:moveTo>
                    <a:pt x="146" y="18"/>
                  </a:moveTo>
                  <a:lnTo>
                    <a:pt x="152" y="18"/>
                  </a:lnTo>
                  <a:lnTo>
                    <a:pt x="152" y="18"/>
                  </a:lnTo>
                  <a:lnTo>
                    <a:pt x="157" y="17"/>
                  </a:lnTo>
                  <a:lnTo>
                    <a:pt x="161" y="15"/>
                  </a:lnTo>
                  <a:lnTo>
                    <a:pt x="163" y="13"/>
                  </a:lnTo>
                  <a:lnTo>
                    <a:pt x="164" y="9"/>
                  </a:lnTo>
                  <a:lnTo>
                    <a:pt x="163" y="6"/>
                  </a:lnTo>
                  <a:lnTo>
                    <a:pt x="161" y="3"/>
                  </a:lnTo>
                  <a:lnTo>
                    <a:pt x="157" y="1"/>
                  </a:lnTo>
                  <a:lnTo>
                    <a:pt x="152" y="0"/>
                  </a:lnTo>
                  <a:lnTo>
                    <a:pt x="146" y="0"/>
                  </a:lnTo>
                  <a:lnTo>
                    <a:pt x="146" y="2"/>
                  </a:lnTo>
                  <a:lnTo>
                    <a:pt x="146" y="2"/>
                  </a:lnTo>
                  <a:lnTo>
                    <a:pt x="146" y="2"/>
                  </a:lnTo>
                  <a:lnTo>
                    <a:pt x="149" y="2"/>
                  </a:lnTo>
                  <a:lnTo>
                    <a:pt x="152" y="4"/>
                  </a:lnTo>
                  <a:lnTo>
                    <a:pt x="153" y="6"/>
                  </a:lnTo>
                  <a:lnTo>
                    <a:pt x="154" y="9"/>
                  </a:lnTo>
                  <a:lnTo>
                    <a:pt x="154" y="9"/>
                  </a:lnTo>
                  <a:lnTo>
                    <a:pt x="153" y="12"/>
                  </a:lnTo>
                  <a:lnTo>
                    <a:pt x="152" y="14"/>
                  </a:lnTo>
                  <a:lnTo>
                    <a:pt x="149" y="16"/>
                  </a:lnTo>
                  <a:lnTo>
                    <a:pt x="146" y="17"/>
                  </a:lnTo>
                  <a:lnTo>
                    <a:pt x="146" y="17"/>
                  </a:lnTo>
                  <a:lnTo>
                    <a:pt x="146" y="18"/>
                  </a:lnTo>
                  <a:close/>
                  <a:moveTo>
                    <a:pt x="17" y="18"/>
                  </a:moveTo>
                  <a:lnTo>
                    <a:pt x="146" y="18"/>
                  </a:lnTo>
                  <a:lnTo>
                    <a:pt x="146" y="17"/>
                  </a:lnTo>
                  <a:lnTo>
                    <a:pt x="146" y="17"/>
                  </a:lnTo>
                  <a:lnTo>
                    <a:pt x="143" y="16"/>
                  </a:lnTo>
                  <a:lnTo>
                    <a:pt x="141" y="14"/>
                  </a:lnTo>
                  <a:lnTo>
                    <a:pt x="139" y="12"/>
                  </a:lnTo>
                  <a:lnTo>
                    <a:pt x="139" y="9"/>
                  </a:lnTo>
                  <a:lnTo>
                    <a:pt x="139" y="9"/>
                  </a:lnTo>
                  <a:lnTo>
                    <a:pt x="139" y="6"/>
                  </a:lnTo>
                  <a:lnTo>
                    <a:pt x="141" y="4"/>
                  </a:lnTo>
                  <a:lnTo>
                    <a:pt x="143" y="2"/>
                  </a:lnTo>
                  <a:lnTo>
                    <a:pt x="146" y="2"/>
                  </a:lnTo>
                  <a:lnTo>
                    <a:pt x="146" y="0"/>
                  </a:lnTo>
                  <a:lnTo>
                    <a:pt x="146" y="0"/>
                  </a:lnTo>
                  <a:lnTo>
                    <a:pt x="17" y="0"/>
                  </a:lnTo>
                  <a:lnTo>
                    <a:pt x="17" y="2"/>
                  </a:lnTo>
                  <a:lnTo>
                    <a:pt x="17" y="2"/>
                  </a:lnTo>
                  <a:lnTo>
                    <a:pt x="20" y="2"/>
                  </a:lnTo>
                  <a:lnTo>
                    <a:pt x="23" y="4"/>
                  </a:lnTo>
                  <a:lnTo>
                    <a:pt x="24" y="6"/>
                  </a:lnTo>
                  <a:lnTo>
                    <a:pt x="25" y="9"/>
                  </a:lnTo>
                  <a:lnTo>
                    <a:pt x="25" y="9"/>
                  </a:lnTo>
                  <a:lnTo>
                    <a:pt x="24" y="12"/>
                  </a:lnTo>
                  <a:lnTo>
                    <a:pt x="23" y="14"/>
                  </a:lnTo>
                  <a:lnTo>
                    <a:pt x="20" y="16"/>
                  </a:lnTo>
                  <a:lnTo>
                    <a:pt x="17" y="17"/>
                  </a:lnTo>
                  <a:lnTo>
                    <a:pt x="17" y="18"/>
                  </a:lnTo>
                  <a:close/>
                  <a:moveTo>
                    <a:pt x="12" y="18"/>
                  </a:moveTo>
                  <a:lnTo>
                    <a:pt x="17" y="18"/>
                  </a:lnTo>
                  <a:lnTo>
                    <a:pt x="17" y="17"/>
                  </a:lnTo>
                  <a:lnTo>
                    <a:pt x="17" y="17"/>
                  </a:lnTo>
                  <a:lnTo>
                    <a:pt x="15" y="16"/>
                  </a:lnTo>
                  <a:lnTo>
                    <a:pt x="12" y="14"/>
                  </a:lnTo>
                  <a:lnTo>
                    <a:pt x="11" y="12"/>
                  </a:lnTo>
                  <a:lnTo>
                    <a:pt x="10" y="9"/>
                  </a:lnTo>
                  <a:lnTo>
                    <a:pt x="10" y="9"/>
                  </a:lnTo>
                  <a:lnTo>
                    <a:pt x="11" y="6"/>
                  </a:lnTo>
                  <a:lnTo>
                    <a:pt x="12" y="4"/>
                  </a:lnTo>
                  <a:lnTo>
                    <a:pt x="15" y="2"/>
                  </a:lnTo>
                  <a:lnTo>
                    <a:pt x="17" y="2"/>
                  </a:lnTo>
                  <a:lnTo>
                    <a:pt x="17" y="0"/>
                  </a:lnTo>
                  <a:lnTo>
                    <a:pt x="12" y="0"/>
                  </a:lnTo>
                  <a:lnTo>
                    <a:pt x="12" y="0"/>
                  </a:lnTo>
                  <a:lnTo>
                    <a:pt x="7" y="1"/>
                  </a:lnTo>
                  <a:lnTo>
                    <a:pt x="3" y="3"/>
                  </a:lnTo>
                  <a:lnTo>
                    <a:pt x="1" y="6"/>
                  </a:lnTo>
                  <a:lnTo>
                    <a:pt x="0" y="9"/>
                  </a:lnTo>
                  <a:lnTo>
                    <a:pt x="1" y="13"/>
                  </a:lnTo>
                  <a:lnTo>
                    <a:pt x="3" y="15"/>
                  </a:lnTo>
                  <a:lnTo>
                    <a:pt x="7" y="17"/>
                  </a:lnTo>
                  <a:lnTo>
                    <a:pt x="12" y="18"/>
                  </a:lnTo>
                  <a:lnTo>
                    <a:pt x="12" y="18"/>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63" name="Freeform 1118"/>
            <p:cNvSpPr/>
            <p:nvPr/>
          </p:nvSpPr>
          <p:spPr bwMode="auto">
            <a:xfrm>
              <a:off x="784829" y="2546061"/>
              <a:ext cx="30899" cy="30899"/>
            </a:xfrm>
            <a:custGeom>
              <a:avLst/>
              <a:gdLst>
                <a:gd name="T0" fmla="*/ 8 w 15"/>
                <a:gd name="T1" fmla="*/ 0 h 15"/>
                <a:gd name="T2" fmla="*/ 8 w 15"/>
                <a:gd name="T3" fmla="*/ 0 h 15"/>
                <a:gd name="T4" fmla="*/ 5 w 15"/>
                <a:gd name="T5" fmla="*/ 0 h 15"/>
                <a:gd name="T6" fmla="*/ 3 w 15"/>
                <a:gd name="T7" fmla="*/ 2 h 15"/>
                <a:gd name="T8" fmla="*/ 1 w 15"/>
                <a:gd name="T9" fmla="*/ 4 h 15"/>
                <a:gd name="T10" fmla="*/ 0 w 15"/>
                <a:gd name="T11" fmla="*/ 7 h 15"/>
                <a:gd name="T12" fmla="*/ 0 w 15"/>
                <a:gd name="T13" fmla="*/ 7 h 15"/>
                <a:gd name="T14" fmla="*/ 1 w 15"/>
                <a:gd name="T15" fmla="*/ 10 h 15"/>
                <a:gd name="T16" fmla="*/ 3 w 15"/>
                <a:gd name="T17" fmla="*/ 13 h 15"/>
                <a:gd name="T18" fmla="*/ 5 w 15"/>
                <a:gd name="T19" fmla="*/ 14 h 15"/>
                <a:gd name="T20" fmla="*/ 8 w 15"/>
                <a:gd name="T21" fmla="*/ 15 h 15"/>
                <a:gd name="T22" fmla="*/ 8 w 15"/>
                <a:gd name="T23" fmla="*/ 15 h 15"/>
                <a:gd name="T24" fmla="*/ 11 w 15"/>
                <a:gd name="T25" fmla="*/ 14 h 15"/>
                <a:gd name="T26" fmla="*/ 13 w 15"/>
                <a:gd name="T27" fmla="*/ 13 h 15"/>
                <a:gd name="T28" fmla="*/ 15 w 15"/>
                <a:gd name="T29" fmla="*/ 10 h 15"/>
                <a:gd name="T30" fmla="*/ 15 w 15"/>
                <a:gd name="T31" fmla="*/ 7 h 15"/>
                <a:gd name="T32" fmla="*/ 15 w 15"/>
                <a:gd name="T33" fmla="*/ 7 h 15"/>
                <a:gd name="T34" fmla="*/ 15 w 15"/>
                <a:gd name="T35" fmla="*/ 4 h 15"/>
                <a:gd name="T36" fmla="*/ 13 w 15"/>
                <a:gd name="T37" fmla="*/ 2 h 15"/>
                <a:gd name="T38" fmla="*/ 11 w 15"/>
                <a:gd name="T39" fmla="*/ 0 h 15"/>
                <a:gd name="T40" fmla="*/ 8 w 15"/>
                <a:gd name="T41" fmla="*/ 0 h 15"/>
                <a:gd name="T42" fmla="*/ 8 w 15"/>
                <a:gd name="T4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 h="15">
                  <a:moveTo>
                    <a:pt x="8" y="0"/>
                  </a:moveTo>
                  <a:lnTo>
                    <a:pt x="8" y="0"/>
                  </a:lnTo>
                  <a:lnTo>
                    <a:pt x="5" y="0"/>
                  </a:lnTo>
                  <a:lnTo>
                    <a:pt x="3" y="2"/>
                  </a:lnTo>
                  <a:lnTo>
                    <a:pt x="1" y="4"/>
                  </a:lnTo>
                  <a:lnTo>
                    <a:pt x="0" y="7"/>
                  </a:lnTo>
                  <a:lnTo>
                    <a:pt x="0" y="7"/>
                  </a:lnTo>
                  <a:lnTo>
                    <a:pt x="1" y="10"/>
                  </a:lnTo>
                  <a:lnTo>
                    <a:pt x="3" y="13"/>
                  </a:lnTo>
                  <a:lnTo>
                    <a:pt x="5" y="14"/>
                  </a:lnTo>
                  <a:lnTo>
                    <a:pt x="8" y="15"/>
                  </a:lnTo>
                  <a:lnTo>
                    <a:pt x="8" y="15"/>
                  </a:lnTo>
                  <a:lnTo>
                    <a:pt x="11" y="14"/>
                  </a:lnTo>
                  <a:lnTo>
                    <a:pt x="13" y="13"/>
                  </a:lnTo>
                  <a:lnTo>
                    <a:pt x="15" y="10"/>
                  </a:lnTo>
                  <a:lnTo>
                    <a:pt x="15" y="7"/>
                  </a:lnTo>
                  <a:lnTo>
                    <a:pt x="15" y="7"/>
                  </a:lnTo>
                  <a:lnTo>
                    <a:pt x="15" y="4"/>
                  </a:lnTo>
                  <a:lnTo>
                    <a:pt x="13" y="2"/>
                  </a:lnTo>
                  <a:lnTo>
                    <a:pt x="11" y="0"/>
                  </a:lnTo>
                  <a:lnTo>
                    <a:pt x="8" y="0"/>
                  </a:lnTo>
                  <a:lnTo>
                    <a:pt x="8" y="0"/>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64" name="Freeform 1119"/>
            <p:cNvSpPr/>
            <p:nvPr/>
          </p:nvSpPr>
          <p:spPr bwMode="auto">
            <a:xfrm>
              <a:off x="803369" y="2564599"/>
              <a:ext cx="117416" cy="135954"/>
            </a:xfrm>
            <a:custGeom>
              <a:avLst/>
              <a:gdLst>
                <a:gd name="T0" fmla="*/ 56 w 57"/>
                <a:gd name="T1" fmla="*/ 58 h 64"/>
                <a:gd name="T2" fmla="*/ 5 w 57"/>
                <a:gd name="T3" fmla="*/ 1 h 64"/>
                <a:gd name="T4" fmla="*/ 5 w 57"/>
                <a:gd name="T5" fmla="*/ 1 h 64"/>
                <a:gd name="T6" fmla="*/ 3 w 57"/>
                <a:gd name="T7" fmla="*/ 0 h 64"/>
                <a:gd name="T8" fmla="*/ 1 w 57"/>
                <a:gd name="T9" fmla="*/ 1 h 64"/>
                <a:gd name="T10" fmla="*/ 1 w 57"/>
                <a:gd name="T11" fmla="*/ 1 h 64"/>
                <a:gd name="T12" fmla="*/ 0 w 57"/>
                <a:gd name="T13" fmla="*/ 3 h 64"/>
                <a:gd name="T14" fmla="*/ 1 w 57"/>
                <a:gd name="T15" fmla="*/ 6 h 64"/>
                <a:gd name="T16" fmla="*/ 51 w 57"/>
                <a:gd name="T17" fmla="*/ 62 h 64"/>
                <a:gd name="T18" fmla="*/ 51 w 57"/>
                <a:gd name="T19" fmla="*/ 62 h 64"/>
                <a:gd name="T20" fmla="*/ 54 w 57"/>
                <a:gd name="T21" fmla="*/ 64 h 64"/>
                <a:gd name="T22" fmla="*/ 56 w 57"/>
                <a:gd name="T23" fmla="*/ 63 h 64"/>
                <a:gd name="T24" fmla="*/ 56 w 57"/>
                <a:gd name="T25" fmla="*/ 63 h 64"/>
                <a:gd name="T26" fmla="*/ 57 w 57"/>
                <a:gd name="T27" fmla="*/ 61 h 64"/>
                <a:gd name="T28" fmla="*/ 56 w 57"/>
                <a:gd name="T29" fmla="*/ 58 h 64"/>
                <a:gd name="T30" fmla="*/ 56 w 57"/>
                <a:gd name="T31"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64">
                  <a:moveTo>
                    <a:pt x="56" y="58"/>
                  </a:moveTo>
                  <a:lnTo>
                    <a:pt x="5" y="1"/>
                  </a:lnTo>
                  <a:lnTo>
                    <a:pt x="5" y="1"/>
                  </a:lnTo>
                  <a:lnTo>
                    <a:pt x="3" y="0"/>
                  </a:lnTo>
                  <a:lnTo>
                    <a:pt x="1" y="1"/>
                  </a:lnTo>
                  <a:lnTo>
                    <a:pt x="1" y="1"/>
                  </a:lnTo>
                  <a:lnTo>
                    <a:pt x="0" y="3"/>
                  </a:lnTo>
                  <a:lnTo>
                    <a:pt x="1" y="6"/>
                  </a:lnTo>
                  <a:lnTo>
                    <a:pt x="51" y="62"/>
                  </a:lnTo>
                  <a:lnTo>
                    <a:pt x="51" y="62"/>
                  </a:lnTo>
                  <a:lnTo>
                    <a:pt x="54" y="64"/>
                  </a:lnTo>
                  <a:lnTo>
                    <a:pt x="56" y="63"/>
                  </a:lnTo>
                  <a:lnTo>
                    <a:pt x="56" y="63"/>
                  </a:lnTo>
                  <a:lnTo>
                    <a:pt x="57" y="61"/>
                  </a:lnTo>
                  <a:lnTo>
                    <a:pt x="56" y="58"/>
                  </a:lnTo>
                  <a:lnTo>
                    <a:pt x="56" y="58"/>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65" name="Freeform 1120"/>
            <p:cNvSpPr/>
            <p:nvPr/>
          </p:nvSpPr>
          <p:spPr bwMode="auto">
            <a:xfrm>
              <a:off x="747751" y="2546061"/>
              <a:ext cx="30899" cy="30899"/>
            </a:xfrm>
            <a:custGeom>
              <a:avLst/>
              <a:gdLst>
                <a:gd name="T0" fmla="*/ 7 w 14"/>
                <a:gd name="T1" fmla="*/ 0 h 15"/>
                <a:gd name="T2" fmla="*/ 7 w 14"/>
                <a:gd name="T3" fmla="*/ 0 h 15"/>
                <a:gd name="T4" fmla="*/ 10 w 14"/>
                <a:gd name="T5" fmla="*/ 0 h 15"/>
                <a:gd name="T6" fmla="*/ 12 w 14"/>
                <a:gd name="T7" fmla="*/ 2 h 15"/>
                <a:gd name="T8" fmla="*/ 14 w 14"/>
                <a:gd name="T9" fmla="*/ 4 h 15"/>
                <a:gd name="T10" fmla="*/ 14 w 14"/>
                <a:gd name="T11" fmla="*/ 7 h 15"/>
                <a:gd name="T12" fmla="*/ 14 w 14"/>
                <a:gd name="T13" fmla="*/ 7 h 15"/>
                <a:gd name="T14" fmla="*/ 14 w 14"/>
                <a:gd name="T15" fmla="*/ 10 h 15"/>
                <a:gd name="T16" fmla="*/ 12 w 14"/>
                <a:gd name="T17" fmla="*/ 13 h 15"/>
                <a:gd name="T18" fmla="*/ 10 w 14"/>
                <a:gd name="T19" fmla="*/ 14 h 15"/>
                <a:gd name="T20" fmla="*/ 7 w 14"/>
                <a:gd name="T21" fmla="*/ 15 h 15"/>
                <a:gd name="T22" fmla="*/ 7 w 14"/>
                <a:gd name="T23" fmla="*/ 15 h 15"/>
                <a:gd name="T24" fmla="*/ 4 w 14"/>
                <a:gd name="T25" fmla="*/ 14 h 15"/>
                <a:gd name="T26" fmla="*/ 2 w 14"/>
                <a:gd name="T27" fmla="*/ 13 h 15"/>
                <a:gd name="T28" fmla="*/ 0 w 14"/>
                <a:gd name="T29" fmla="*/ 10 h 15"/>
                <a:gd name="T30" fmla="*/ 0 w 14"/>
                <a:gd name="T31" fmla="*/ 7 h 15"/>
                <a:gd name="T32" fmla="*/ 0 w 14"/>
                <a:gd name="T33" fmla="*/ 7 h 15"/>
                <a:gd name="T34" fmla="*/ 0 w 14"/>
                <a:gd name="T35" fmla="*/ 4 h 15"/>
                <a:gd name="T36" fmla="*/ 2 w 14"/>
                <a:gd name="T37" fmla="*/ 2 h 15"/>
                <a:gd name="T38" fmla="*/ 4 w 14"/>
                <a:gd name="T39" fmla="*/ 0 h 15"/>
                <a:gd name="T40" fmla="*/ 7 w 14"/>
                <a:gd name="T41" fmla="*/ 0 h 15"/>
                <a:gd name="T42" fmla="*/ 7 w 14"/>
                <a:gd name="T4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15">
                  <a:moveTo>
                    <a:pt x="7" y="0"/>
                  </a:moveTo>
                  <a:lnTo>
                    <a:pt x="7" y="0"/>
                  </a:lnTo>
                  <a:lnTo>
                    <a:pt x="10" y="0"/>
                  </a:lnTo>
                  <a:lnTo>
                    <a:pt x="12" y="2"/>
                  </a:lnTo>
                  <a:lnTo>
                    <a:pt x="14" y="4"/>
                  </a:lnTo>
                  <a:lnTo>
                    <a:pt x="14" y="7"/>
                  </a:lnTo>
                  <a:lnTo>
                    <a:pt x="14" y="7"/>
                  </a:lnTo>
                  <a:lnTo>
                    <a:pt x="14" y="10"/>
                  </a:lnTo>
                  <a:lnTo>
                    <a:pt x="12" y="13"/>
                  </a:lnTo>
                  <a:lnTo>
                    <a:pt x="10" y="14"/>
                  </a:lnTo>
                  <a:lnTo>
                    <a:pt x="7" y="15"/>
                  </a:lnTo>
                  <a:lnTo>
                    <a:pt x="7" y="15"/>
                  </a:lnTo>
                  <a:lnTo>
                    <a:pt x="4" y="14"/>
                  </a:lnTo>
                  <a:lnTo>
                    <a:pt x="2" y="13"/>
                  </a:lnTo>
                  <a:lnTo>
                    <a:pt x="0" y="10"/>
                  </a:lnTo>
                  <a:lnTo>
                    <a:pt x="0" y="7"/>
                  </a:lnTo>
                  <a:lnTo>
                    <a:pt x="0" y="7"/>
                  </a:lnTo>
                  <a:lnTo>
                    <a:pt x="0" y="4"/>
                  </a:lnTo>
                  <a:lnTo>
                    <a:pt x="2" y="2"/>
                  </a:lnTo>
                  <a:lnTo>
                    <a:pt x="4" y="0"/>
                  </a:lnTo>
                  <a:lnTo>
                    <a:pt x="7" y="0"/>
                  </a:lnTo>
                  <a:lnTo>
                    <a:pt x="7" y="0"/>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66" name="Freeform 1121"/>
            <p:cNvSpPr/>
            <p:nvPr/>
          </p:nvSpPr>
          <p:spPr bwMode="auto">
            <a:xfrm>
              <a:off x="642695" y="2558420"/>
              <a:ext cx="123595" cy="142134"/>
            </a:xfrm>
            <a:custGeom>
              <a:avLst/>
              <a:gdLst>
                <a:gd name="T0" fmla="*/ 1 w 61"/>
                <a:gd name="T1" fmla="*/ 63 h 69"/>
                <a:gd name="T2" fmla="*/ 56 w 61"/>
                <a:gd name="T3" fmla="*/ 1 h 69"/>
                <a:gd name="T4" fmla="*/ 56 w 61"/>
                <a:gd name="T5" fmla="*/ 1 h 69"/>
                <a:gd name="T6" fmla="*/ 58 w 61"/>
                <a:gd name="T7" fmla="*/ 0 h 69"/>
                <a:gd name="T8" fmla="*/ 60 w 61"/>
                <a:gd name="T9" fmla="*/ 1 h 69"/>
                <a:gd name="T10" fmla="*/ 60 w 61"/>
                <a:gd name="T11" fmla="*/ 1 h 69"/>
                <a:gd name="T12" fmla="*/ 61 w 61"/>
                <a:gd name="T13" fmla="*/ 3 h 69"/>
                <a:gd name="T14" fmla="*/ 61 w 61"/>
                <a:gd name="T15" fmla="*/ 6 h 69"/>
                <a:gd name="T16" fmla="*/ 5 w 61"/>
                <a:gd name="T17" fmla="*/ 67 h 69"/>
                <a:gd name="T18" fmla="*/ 5 w 61"/>
                <a:gd name="T19" fmla="*/ 67 h 69"/>
                <a:gd name="T20" fmla="*/ 3 w 61"/>
                <a:gd name="T21" fmla="*/ 69 h 69"/>
                <a:gd name="T22" fmla="*/ 1 w 61"/>
                <a:gd name="T23" fmla="*/ 68 h 69"/>
                <a:gd name="T24" fmla="*/ 1 w 61"/>
                <a:gd name="T25" fmla="*/ 68 h 69"/>
                <a:gd name="T26" fmla="*/ 0 w 61"/>
                <a:gd name="T27" fmla="*/ 66 h 69"/>
                <a:gd name="T28" fmla="*/ 1 w 61"/>
                <a:gd name="T29" fmla="*/ 63 h 69"/>
                <a:gd name="T30" fmla="*/ 1 w 61"/>
                <a:gd name="T31" fmla="*/ 6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69">
                  <a:moveTo>
                    <a:pt x="1" y="63"/>
                  </a:moveTo>
                  <a:lnTo>
                    <a:pt x="56" y="1"/>
                  </a:lnTo>
                  <a:lnTo>
                    <a:pt x="56" y="1"/>
                  </a:lnTo>
                  <a:lnTo>
                    <a:pt x="58" y="0"/>
                  </a:lnTo>
                  <a:lnTo>
                    <a:pt x="60" y="1"/>
                  </a:lnTo>
                  <a:lnTo>
                    <a:pt x="60" y="1"/>
                  </a:lnTo>
                  <a:lnTo>
                    <a:pt x="61" y="3"/>
                  </a:lnTo>
                  <a:lnTo>
                    <a:pt x="61" y="6"/>
                  </a:lnTo>
                  <a:lnTo>
                    <a:pt x="5" y="67"/>
                  </a:lnTo>
                  <a:lnTo>
                    <a:pt x="5" y="67"/>
                  </a:lnTo>
                  <a:lnTo>
                    <a:pt x="3" y="69"/>
                  </a:lnTo>
                  <a:lnTo>
                    <a:pt x="1" y="68"/>
                  </a:lnTo>
                  <a:lnTo>
                    <a:pt x="1" y="68"/>
                  </a:lnTo>
                  <a:lnTo>
                    <a:pt x="0" y="66"/>
                  </a:lnTo>
                  <a:lnTo>
                    <a:pt x="1" y="63"/>
                  </a:lnTo>
                  <a:lnTo>
                    <a:pt x="1" y="63"/>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67" name="Freeform 1122"/>
            <p:cNvSpPr>
              <a:spLocks noEditPoints="1"/>
            </p:cNvSpPr>
            <p:nvPr/>
          </p:nvSpPr>
          <p:spPr bwMode="auto">
            <a:xfrm>
              <a:off x="642695" y="2719094"/>
              <a:ext cx="284269" cy="111235"/>
            </a:xfrm>
            <a:custGeom>
              <a:avLst/>
              <a:gdLst>
                <a:gd name="T0" fmla="*/ 131 w 138"/>
                <a:gd name="T1" fmla="*/ 40 h 54"/>
                <a:gd name="T2" fmla="*/ 124 w 138"/>
                <a:gd name="T3" fmla="*/ 52 h 54"/>
                <a:gd name="T4" fmla="*/ 112 w 138"/>
                <a:gd name="T5" fmla="*/ 54 h 54"/>
                <a:gd name="T6" fmla="*/ 115 w 138"/>
                <a:gd name="T7" fmla="*/ 38 h 54"/>
                <a:gd name="T8" fmla="*/ 119 w 138"/>
                <a:gd name="T9" fmla="*/ 11 h 54"/>
                <a:gd name="T10" fmla="*/ 116 w 138"/>
                <a:gd name="T11" fmla="*/ 6 h 54"/>
                <a:gd name="T12" fmla="*/ 112 w 138"/>
                <a:gd name="T13" fmla="*/ 0 h 54"/>
                <a:gd name="T14" fmla="*/ 112 w 138"/>
                <a:gd name="T15" fmla="*/ 6 h 54"/>
                <a:gd name="T16" fmla="*/ 106 w 138"/>
                <a:gd name="T17" fmla="*/ 24 h 54"/>
                <a:gd name="T18" fmla="*/ 105 w 138"/>
                <a:gd name="T19" fmla="*/ 40 h 54"/>
                <a:gd name="T20" fmla="*/ 109 w 138"/>
                <a:gd name="T21" fmla="*/ 43 h 54"/>
                <a:gd name="T22" fmla="*/ 90 w 138"/>
                <a:gd name="T23" fmla="*/ 43 h 54"/>
                <a:gd name="T24" fmla="*/ 95 w 138"/>
                <a:gd name="T25" fmla="*/ 38 h 54"/>
                <a:gd name="T26" fmla="*/ 97 w 138"/>
                <a:gd name="T27" fmla="*/ 11 h 54"/>
                <a:gd name="T28" fmla="*/ 91 w 138"/>
                <a:gd name="T29" fmla="*/ 5 h 54"/>
                <a:gd name="T30" fmla="*/ 90 w 138"/>
                <a:gd name="T31" fmla="*/ 0 h 54"/>
                <a:gd name="T32" fmla="*/ 87 w 138"/>
                <a:gd name="T33" fmla="*/ 7 h 54"/>
                <a:gd name="T34" fmla="*/ 85 w 138"/>
                <a:gd name="T35" fmla="*/ 24 h 54"/>
                <a:gd name="T36" fmla="*/ 84 w 138"/>
                <a:gd name="T37" fmla="*/ 40 h 54"/>
                <a:gd name="T38" fmla="*/ 89 w 138"/>
                <a:gd name="T39" fmla="*/ 43 h 54"/>
                <a:gd name="T40" fmla="*/ 69 w 138"/>
                <a:gd name="T41" fmla="*/ 43 h 54"/>
                <a:gd name="T42" fmla="*/ 74 w 138"/>
                <a:gd name="T43" fmla="*/ 40 h 54"/>
                <a:gd name="T44" fmla="*/ 75 w 138"/>
                <a:gd name="T45" fmla="*/ 24 h 54"/>
                <a:gd name="T46" fmla="*/ 73 w 138"/>
                <a:gd name="T47" fmla="*/ 7 h 54"/>
                <a:gd name="T48" fmla="*/ 69 w 138"/>
                <a:gd name="T49" fmla="*/ 0 h 54"/>
                <a:gd name="T50" fmla="*/ 69 w 138"/>
                <a:gd name="T51" fmla="*/ 5 h 54"/>
                <a:gd name="T52" fmla="*/ 63 w 138"/>
                <a:gd name="T53" fmla="*/ 11 h 54"/>
                <a:gd name="T54" fmla="*/ 63 w 138"/>
                <a:gd name="T55" fmla="*/ 38 h 54"/>
                <a:gd name="T56" fmla="*/ 67 w 138"/>
                <a:gd name="T57" fmla="*/ 43 h 54"/>
                <a:gd name="T58" fmla="*/ 47 w 138"/>
                <a:gd name="T59" fmla="*/ 54 h 54"/>
                <a:gd name="T60" fmla="*/ 49 w 138"/>
                <a:gd name="T61" fmla="*/ 43 h 54"/>
                <a:gd name="T62" fmla="*/ 54 w 138"/>
                <a:gd name="T63" fmla="*/ 38 h 54"/>
                <a:gd name="T64" fmla="*/ 53 w 138"/>
                <a:gd name="T65" fmla="*/ 11 h 54"/>
                <a:gd name="T66" fmla="*/ 49 w 138"/>
                <a:gd name="T67" fmla="*/ 6 h 54"/>
                <a:gd name="T68" fmla="*/ 47 w 138"/>
                <a:gd name="T69" fmla="*/ 0 h 54"/>
                <a:gd name="T70" fmla="*/ 44 w 138"/>
                <a:gd name="T71" fmla="*/ 6 h 54"/>
                <a:gd name="T72" fmla="*/ 41 w 138"/>
                <a:gd name="T73" fmla="*/ 11 h 54"/>
                <a:gd name="T74" fmla="*/ 43 w 138"/>
                <a:gd name="T75" fmla="*/ 38 h 54"/>
                <a:gd name="T76" fmla="*/ 26 w 138"/>
                <a:gd name="T77" fmla="*/ 54 h 54"/>
                <a:gd name="T78" fmla="*/ 28 w 138"/>
                <a:gd name="T79" fmla="*/ 43 h 54"/>
                <a:gd name="T80" fmla="*/ 33 w 138"/>
                <a:gd name="T81" fmla="*/ 38 h 54"/>
                <a:gd name="T82" fmla="*/ 30 w 138"/>
                <a:gd name="T83" fmla="*/ 11 h 54"/>
                <a:gd name="T84" fmla="*/ 26 w 138"/>
                <a:gd name="T85" fmla="*/ 0 h 54"/>
                <a:gd name="T86" fmla="*/ 17 w 138"/>
                <a:gd name="T87" fmla="*/ 53 h 54"/>
                <a:gd name="T88" fmla="*/ 8 w 138"/>
                <a:gd name="T89" fmla="*/ 45 h 54"/>
                <a:gd name="T90" fmla="*/ 26 w 138"/>
                <a:gd name="T91" fmla="*/ 6 h 54"/>
                <a:gd name="T92" fmla="*/ 22 w 138"/>
                <a:gd name="T93" fmla="*/ 6 h 54"/>
                <a:gd name="T94" fmla="*/ 19 w 138"/>
                <a:gd name="T95" fmla="*/ 11 h 54"/>
                <a:gd name="T96" fmla="*/ 22 w 138"/>
                <a:gd name="T97" fmla="*/ 38 h 54"/>
                <a:gd name="T98" fmla="*/ 25 w 138"/>
                <a:gd name="T9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8" h="54">
                  <a:moveTo>
                    <a:pt x="112" y="0"/>
                  </a:moveTo>
                  <a:lnTo>
                    <a:pt x="138" y="0"/>
                  </a:lnTo>
                  <a:lnTo>
                    <a:pt x="131" y="40"/>
                  </a:lnTo>
                  <a:lnTo>
                    <a:pt x="131" y="40"/>
                  </a:lnTo>
                  <a:lnTo>
                    <a:pt x="129" y="45"/>
                  </a:lnTo>
                  <a:lnTo>
                    <a:pt x="128" y="48"/>
                  </a:lnTo>
                  <a:lnTo>
                    <a:pt x="126" y="50"/>
                  </a:lnTo>
                  <a:lnTo>
                    <a:pt x="124" y="52"/>
                  </a:lnTo>
                  <a:lnTo>
                    <a:pt x="121" y="53"/>
                  </a:lnTo>
                  <a:lnTo>
                    <a:pt x="117" y="54"/>
                  </a:lnTo>
                  <a:lnTo>
                    <a:pt x="113" y="54"/>
                  </a:lnTo>
                  <a:lnTo>
                    <a:pt x="112" y="54"/>
                  </a:lnTo>
                  <a:lnTo>
                    <a:pt x="112" y="43"/>
                  </a:lnTo>
                  <a:lnTo>
                    <a:pt x="112" y="43"/>
                  </a:lnTo>
                  <a:lnTo>
                    <a:pt x="114" y="41"/>
                  </a:lnTo>
                  <a:lnTo>
                    <a:pt x="115" y="38"/>
                  </a:lnTo>
                  <a:lnTo>
                    <a:pt x="115" y="38"/>
                  </a:lnTo>
                  <a:lnTo>
                    <a:pt x="117" y="24"/>
                  </a:lnTo>
                  <a:lnTo>
                    <a:pt x="117" y="24"/>
                  </a:lnTo>
                  <a:lnTo>
                    <a:pt x="119" y="11"/>
                  </a:lnTo>
                  <a:lnTo>
                    <a:pt x="119" y="11"/>
                  </a:lnTo>
                  <a:lnTo>
                    <a:pt x="119" y="9"/>
                  </a:lnTo>
                  <a:lnTo>
                    <a:pt x="118" y="7"/>
                  </a:lnTo>
                  <a:lnTo>
                    <a:pt x="116" y="6"/>
                  </a:lnTo>
                  <a:lnTo>
                    <a:pt x="114" y="5"/>
                  </a:lnTo>
                  <a:lnTo>
                    <a:pt x="114" y="5"/>
                  </a:lnTo>
                  <a:lnTo>
                    <a:pt x="112" y="6"/>
                  </a:lnTo>
                  <a:lnTo>
                    <a:pt x="112" y="0"/>
                  </a:lnTo>
                  <a:close/>
                  <a:moveTo>
                    <a:pt x="90" y="0"/>
                  </a:moveTo>
                  <a:lnTo>
                    <a:pt x="112" y="0"/>
                  </a:lnTo>
                  <a:lnTo>
                    <a:pt x="112" y="6"/>
                  </a:lnTo>
                  <a:lnTo>
                    <a:pt x="112" y="6"/>
                  </a:lnTo>
                  <a:lnTo>
                    <a:pt x="109" y="8"/>
                  </a:lnTo>
                  <a:lnTo>
                    <a:pt x="107" y="11"/>
                  </a:lnTo>
                  <a:lnTo>
                    <a:pt x="107" y="11"/>
                  </a:lnTo>
                  <a:lnTo>
                    <a:pt x="106" y="24"/>
                  </a:lnTo>
                  <a:lnTo>
                    <a:pt x="106" y="24"/>
                  </a:lnTo>
                  <a:lnTo>
                    <a:pt x="105" y="38"/>
                  </a:lnTo>
                  <a:lnTo>
                    <a:pt x="105" y="38"/>
                  </a:lnTo>
                  <a:lnTo>
                    <a:pt x="105" y="40"/>
                  </a:lnTo>
                  <a:lnTo>
                    <a:pt x="106" y="42"/>
                  </a:lnTo>
                  <a:lnTo>
                    <a:pt x="107" y="43"/>
                  </a:lnTo>
                  <a:lnTo>
                    <a:pt x="109" y="43"/>
                  </a:lnTo>
                  <a:lnTo>
                    <a:pt x="109" y="43"/>
                  </a:lnTo>
                  <a:lnTo>
                    <a:pt x="112" y="43"/>
                  </a:lnTo>
                  <a:lnTo>
                    <a:pt x="112" y="54"/>
                  </a:lnTo>
                  <a:lnTo>
                    <a:pt x="90" y="54"/>
                  </a:lnTo>
                  <a:lnTo>
                    <a:pt x="90" y="43"/>
                  </a:lnTo>
                  <a:lnTo>
                    <a:pt x="90" y="43"/>
                  </a:lnTo>
                  <a:lnTo>
                    <a:pt x="93" y="41"/>
                  </a:lnTo>
                  <a:lnTo>
                    <a:pt x="95" y="38"/>
                  </a:lnTo>
                  <a:lnTo>
                    <a:pt x="95" y="38"/>
                  </a:lnTo>
                  <a:lnTo>
                    <a:pt x="96" y="24"/>
                  </a:lnTo>
                  <a:lnTo>
                    <a:pt x="96" y="24"/>
                  </a:lnTo>
                  <a:lnTo>
                    <a:pt x="97" y="11"/>
                  </a:lnTo>
                  <a:lnTo>
                    <a:pt x="97" y="11"/>
                  </a:lnTo>
                  <a:lnTo>
                    <a:pt x="97" y="9"/>
                  </a:lnTo>
                  <a:lnTo>
                    <a:pt x="95" y="7"/>
                  </a:lnTo>
                  <a:lnTo>
                    <a:pt x="94" y="6"/>
                  </a:lnTo>
                  <a:lnTo>
                    <a:pt x="91" y="5"/>
                  </a:lnTo>
                  <a:lnTo>
                    <a:pt x="90" y="5"/>
                  </a:lnTo>
                  <a:lnTo>
                    <a:pt x="90" y="0"/>
                  </a:lnTo>
                  <a:close/>
                  <a:moveTo>
                    <a:pt x="69" y="0"/>
                  </a:moveTo>
                  <a:lnTo>
                    <a:pt x="90" y="0"/>
                  </a:lnTo>
                  <a:lnTo>
                    <a:pt x="90" y="5"/>
                  </a:lnTo>
                  <a:lnTo>
                    <a:pt x="90" y="5"/>
                  </a:lnTo>
                  <a:lnTo>
                    <a:pt x="88" y="6"/>
                  </a:lnTo>
                  <a:lnTo>
                    <a:pt x="87" y="7"/>
                  </a:lnTo>
                  <a:lnTo>
                    <a:pt x="86" y="9"/>
                  </a:lnTo>
                  <a:lnTo>
                    <a:pt x="85" y="11"/>
                  </a:lnTo>
                  <a:lnTo>
                    <a:pt x="85" y="11"/>
                  </a:lnTo>
                  <a:lnTo>
                    <a:pt x="85" y="24"/>
                  </a:lnTo>
                  <a:lnTo>
                    <a:pt x="85" y="24"/>
                  </a:lnTo>
                  <a:lnTo>
                    <a:pt x="84" y="38"/>
                  </a:lnTo>
                  <a:lnTo>
                    <a:pt x="84" y="38"/>
                  </a:lnTo>
                  <a:lnTo>
                    <a:pt x="84" y="40"/>
                  </a:lnTo>
                  <a:lnTo>
                    <a:pt x="85" y="42"/>
                  </a:lnTo>
                  <a:lnTo>
                    <a:pt x="87" y="43"/>
                  </a:lnTo>
                  <a:lnTo>
                    <a:pt x="89" y="43"/>
                  </a:lnTo>
                  <a:lnTo>
                    <a:pt x="89" y="43"/>
                  </a:lnTo>
                  <a:lnTo>
                    <a:pt x="90" y="43"/>
                  </a:lnTo>
                  <a:lnTo>
                    <a:pt x="90" y="54"/>
                  </a:lnTo>
                  <a:lnTo>
                    <a:pt x="69" y="54"/>
                  </a:lnTo>
                  <a:lnTo>
                    <a:pt x="69" y="43"/>
                  </a:lnTo>
                  <a:lnTo>
                    <a:pt x="69" y="43"/>
                  </a:lnTo>
                  <a:lnTo>
                    <a:pt x="71" y="43"/>
                  </a:lnTo>
                  <a:lnTo>
                    <a:pt x="73" y="42"/>
                  </a:lnTo>
                  <a:lnTo>
                    <a:pt x="74" y="40"/>
                  </a:lnTo>
                  <a:lnTo>
                    <a:pt x="74" y="38"/>
                  </a:lnTo>
                  <a:lnTo>
                    <a:pt x="74" y="38"/>
                  </a:lnTo>
                  <a:lnTo>
                    <a:pt x="75" y="24"/>
                  </a:lnTo>
                  <a:lnTo>
                    <a:pt x="75" y="24"/>
                  </a:lnTo>
                  <a:lnTo>
                    <a:pt x="75" y="11"/>
                  </a:lnTo>
                  <a:lnTo>
                    <a:pt x="75" y="11"/>
                  </a:lnTo>
                  <a:lnTo>
                    <a:pt x="74" y="9"/>
                  </a:lnTo>
                  <a:lnTo>
                    <a:pt x="73" y="7"/>
                  </a:lnTo>
                  <a:lnTo>
                    <a:pt x="71" y="6"/>
                  </a:lnTo>
                  <a:lnTo>
                    <a:pt x="69" y="5"/>
                  </a:lnTo>
                  <a:lnTo>
                    <a:pt x="69" y="5"/>
                  </a:lnTo>
                  <a:lnTo>
                    <a:pt x="69" y="0"/>
                  </a:lnTo>
                  <a:close/>
                  <a:moveTo>
                    <a:pt x="47" y="0"/>
                  </a:moveTo>
                  <a:lnTo>
                    <a:pt x="69" y="0"/>
                  </a:lnTo>
                  <a:lnTo>
                    <a:pt x="69" y="5"/>
                  </a:lnTo>
                  <a:lnTo>
                    <a:pt x="69" y="5"/>
                  </a:lnTo>
                  <a:lnTo>
                    <a:pt x="67" y="6"/>
                  </a:lnTo>
                  <a:lnTo>
                    <a:pt x="65" y="7"/>
                  </a:lnTo>
                  <a:lnTo>
                    <a:pt x="63" y="9"/>
                  </a:lnTo>
                  <a:lnTo>
                    <a:pt x="63" y="11"/>
                  </a:lnTo>
                  <a:lnTo>
                    <a:pt x="63" y="11"/>
                  </a:lnTo>
                  <a:lnTo>
                    <a:pt x="63" y="24"/>
                  </a:lnTo>
                  <a:lnTo>
                    <a:pt x="63" y="24"/>
                  </a:lnTo>
                  <a:lnTo>
                    <a:pt x="63" y="38"/>
                  </a:lnTo>
                  <a:lnTo>
                    <a:pt x="63" y="38"/>
                  </a:lnTo>
                  <a:lnTo>
                    <a:pt x="64" y="40"/>
                  </a:lnTo>
                  <a:lnTo>
                    <a:pt x="65" y="42"/>
                  </a:lnTo>
                  <a:lnTo>
                    <a:pt x="67" y="43"/>
                  </a:lnTo>
                  <a:lnTo>
                    <a:pt x="69" y="43"/>
                  </a:lnTo>
                  <a:lnTo>
                    <a:pt x="69" y="43"/>
                  </a:lnTo>
                  <a:lnTo>
                    <a:pt x="69" y="54"/>
                  </a:lnTo>
                  <a:lnTo>
                    <a:pt x="47" y="54"/>
                  </a:lnTo>
                  <a:lnTo>
                    <a:pt x="47" y="43"/>
                  </a:lnTo>
                  <a:lnTo>
                    <a:pt x="47" y="43"/>
                  </a:lnTo>
                  <a:lnTo>
                    <a:pt x="49" y="43"/>
                  </a:lnTo>
                  <a:lnTo>
                    <a:pt x="49" y="43"/>
                  </a:lnTo>
                  <a:lnTo>
                    <a:pt x="51" y="43"/>
                  </a:lnTo>
                  <a:lnTo>
                    <a:pt x="52" y="42"/>
                  </a:lnTo>
                  <a:lnTo>
                    <a:pt x="53" y="40"/>
                  </a:lnTo>
                  <a:lnTo>
                    <a:pt x="54" y="38"/>
                  </a:lnTo>
                  <a:lnTo>
                    <a:pt x="54" y="38"/>
                  </a:lnTo>
                  <a:lnTo>
                    <a:pt x="53" y="24"/>
                  </a:lnTo>
                  <a:lnTo>
                    <a:pt x="53" y="24"/>
                  </a:lnTo>
                  <a:lnTo>
                    <a:pt x="53" y="11"/>
                  </a:lnTo>
                  <a:lnTo>
                    <a:pt x="53" y="11"/>
                  </a:lnTo>
                  <a:lnTo>
                    <a:pt x="52" y="9"/>
                  </a:lnTo>
                  <a:lnTo>
                    <a:pt x="51" y="7"/>
                  </a:lnTo>
                  <a:lnTo>
                    <a:pt x="49" y="6"/>
                  </a:lnTo>
                  <a:lnTo>
                    <a:pt x="47" y="5"/>
                  </a:lnTo>
                  <a:lnTo>
                    <a:pt x="47" y="0"/>
                  </a:lnTo>
                  <a:close/>
                  <a:moveTo>
                    <a:pt x="26" y="0"/>
                  </a:moveTo>
                  <a:lnTo>
                    <a:pt x="47" y="0"/>
                  </a:lnTo>
                  <a:lnTo>
                    <a:pt x="47" y="5"/>
                  </a:lnTo>
                  <a:lnTo>
                    <a:pt x="46" y="5"/>
                  </a:lnTo>
                  <a:lnTo>
                    <a:pt x="46" y="5"/>
                  </a:lnTo>
                  <a:lnTo>
                    <a:pt x="44" y="6"/>
                  </a:lnTo>
                  <a:lnTo>
                    <a:pt x="42" y="7"/>
                  </a:lnTo>
                  <a:lnTo>
                    <a:pt x="41" y="9"/>
                  </a:lnTo>
                  <a:lnTo>
                    <a:pt x="41" y="11"/>
                  </a:lnTo>
                  <a:lnTo>
                    <a:pt x="41" y="11"/>
                  </a:lnTo>
                  <a:lnTo>
                    <a:pt x="42" y="24"/>
                  </a:lnTo>
                  <a:lnTo>
                    <a:pt x="42" y="24"/>
                  </a:lnTo>
                  <a:lnTo>
                    <a:pt x="43" y="38"/>
                  </a:lnTo>
                  <a:lnTo>
                    <a:pt x="43" y="38"/>
                  </a:lnTo>
                  <a:lnTo>
                    <a:pt x="44" y="41"/>
                  </a:lnTo>
                  <a:lnTo>
                    <a:pt x="47" y="43"/>
                  </a:lnTo>
                  <a:lnTo>
                    <a:pt x="47" y="54"/>
                  </a:lnTo>
                  <a:lnTo>
                    <a:pt x="26" y="54"/>
                  </a:lnTo>
                  <a:lnTo>
                    <a:pt x="26" y="43"/>
                  </a:lnTo>
                  <a:lnTo>
                    <a:pt x="26" y="43"/>
                  </a:lnTo>
                  <a:lnTo>
                    <a:pt x="28" y="43"/>
                  </a:lnTo>
                  <a:lnTo>
                    <a:pt x="28" y="43"/>
                  </a:lnTo>
                  <a:lnTo>
                    <a:pt x="30" y="43"/>
                  </a:lnTo>
                  <a:lnTo>
                    <a:pt x="32" y="42"/>
                  </a:lnTo>
                  <a:lnTo>
                    <a:pt x="33" y="40"/>
                  </a:lnTo>
                  <a:lnTo>
                    <a:pt x="33" y="38"/>
                  </a:lnTo>
                  <a:lnTo>
                    <a:pt x="33" y="38"/>
                  </a:lnTo>
                  <a:lnTo>
                    <a:pt x="32" y="24"/>
                  </a:lnTo>
                  <a:lnTo>
                    <a:pt x="32" y="24"/>
                  </a:lnTo>
                  <a:lnTo>
                    <a:pt x="30" y="11"/>
                  </a:lnTo>
                  <a:lnTo>
                    <a:pt x="30" y="11"/>
                  </a:lnTo>
                  <a:lnTo>
                    <a:pt x="29" y="8"/>
                  </a:lnTo>
                  <a:lnTo>
                    <a:pt x="26" y="6"/>
                  </a:lnTo>
                  <a:lnTo>
                    <a:pt x="26" y="0"/>
                  </a:lnTo>
                  <a:close/>
                  <a:moveTo>
                    <a:pt x="25" y="54"/>
                  </a:moveTo>
                  <a:lnTo>
                    <a:pt x="25" y="54"/>
                  </a:lnTo>
                  <a:lnTo>
                    <a:pt x="21" y="54"/>
                  </a:lnTo>
                  <a:lnTo>
                    <a:pt x="17" y="53"/>
                  </a:lnTo>
                  <a:lnTo>
                    <a:pt x="14" y="52"/>
                  </a:lnTo>
                  <a:lnTo>
                    <a:pt x="12" y="50"/>
                  </a:lnTo>
                  <a:lnTo>
                    <a:pt x="10" y="48"/>
                  </a:lnTo>
                  <a:lnTo>
                    <a:pt x="8" y="45"/>
                  </a:lnTo>
                  <a:lnTo>
                    <a:pt x="7" y="40"/>
                  </a:lnTo>
                  <a:lnTo>
                    <a:pt x="0" y="0"/>
                  </a:lnTo>
                  <a:lnTo>
                    <a:pt x="26" y="0"/>
                  </a:lnTo>
                  <a:lnTo>
                    <a:pt x="26" y="6"/>
                  </a:lnTo>
                  <a:lnTo>
                    <a:pt x="26" y="6"/>
                  </a:lnTo>
                  <a:lnTo>
                    <a:pt x="24" y="5"/>
                  </a:lnTo>
                  <a:lnTo>
                    <a:pt x="24" y="5"/>
                  </a:lnTo>
                  <a:lnTo>
                    <a:pt x="22" y="6"/>
                  </a:lnTo>
                  <a:lnTo>
                    <a:pt x="20" y="7"/>
                  </a:lnTo>
                  <a:lnTo>
                    <a:pt x="19" y="9"/>
                  </a:lnTo>
                  <a:lnTo>
                    <a:pt x="19" y="11"/>
                  </a:lnTo>
                  <a:lnTo>
                    <a:pt x="19" y="11"/>
                  </a:lnTo>
                  <a:lnTo>
                    <a:pt x="20" y="24"/>
                  </a:lnTo>
                  <a:lnTo>
                    <a:pt x="20" y="24"/>
                  </a:lnTo>
                  <a:lnTo>
                    <a:pt x="22" y="38"/>
                  </a:lnTo>
                  <a:lnTo>
                    <a:pt x="22" y="38"/>
                  </a:lnTo>
                  <a:lnTo>
                    <a:pt x="24" y="41"/>
                  </a:lnTo>
                  <a:lnTo>
                    <a:pt x="26" y="43"/>
                  </a:lnTo>
                  <a:lnTo>
                    <a:pt x="26" y="54"/>
                  </a:lnTo>
                  <a:lnTo>
                    <a:pt x="25" y="54"/>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68" name="Freeform 1123"/>
            <p:cNvSpPr/>
            <p:nvPr/>
          </p:nvSpPr>
          <p:spPr bwMode="auto">
            <a:xfrm>
              <a:off x="747751" y="2583139"/>
              <a:ext cx="74157" cy="80336"/>
            </a:xfrm>
            <a:custGeom>
              <a:avLst/>
              <a:gdLst>
                <a:gd name="T0" fmla="*/ 35 w 35"/>
                <a:gd name="T1" fmla="*/ 21 h 39"/>
                <a:gd name="T2" fmla="*/ 0 w 35"/>
                <a:gd name="T3" fmla="*/ 39 h 39"/>
                <a:gd name="T4" fmla="*/ 4 w 35"/>
                <a:gd name="T5" fmla="*/ 0 h 39"/>
                <a:gd name="T6" fmla="*/ 35 w 35"/>
                <a:gd name="T7" fmla="*/ 21 h 39"/>
              </a:gdLst>
              <a:ahLst/>
              <a:cxnLst>
                <a:cxn ang="0">
                  <a:pos x="T0" y="T1"/>
                </a:cxn>
                <a:cxn ang="0">
                  <a:pos x="T2" y="T3"/>
                </a:cxn>
                <a:cxn ang="0">
                  <a:pos x="T4" y="T5"/>
                </a:cxn>
                <a:cxn ang="0">
                  <a:pos x="T6" y="T7"/>
                </a:cxn>
              </a:cxnLst>
              <a:rect l="0" t="0" r="r" b="b"/>
              <a:pathLst>
                <a:path w="35" h="39">
                  <a:moveTo>
                    <a:pt x="35" y="21"/>
                  </a:moveTo>
                  <a:lnTo>
                    <a:pt x="0" y="39"/>
                  </a:lnTo>
                  <a:lnTo>
                    <a:pt x="4" y="0"/>
                  </a:lnTo>
                  <a:lnTo>
                    <a:pt x="35" y="21"/>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69" name="Freeform 1124"/>
            <p:cNvSpPr/>
            <p:nvPr/>
          </p:nvSpPr>
          <p:spPr bwMode="auto">
            <a:xfrm>
              <a:off x="939323" y="2317410"/>
              <a:ext cx="55618" cy="55618"/>
            </a:xfrm>
            <a:custGeom>
              <a:avLst/>
              <a:gdLst>
                <a:gd name="T0" fmla="*/ 23 w 26"/>
                <a:gd name="T1" fmla="*/ 29 h 29"/>
                <a:gd name="T2" fmla="*/ 26 w 26"/>
                <a:gd name="T3" fmla="*/ 0 h 29"/>
                <a:gd name="T4" fmla="*/ 0 w 26"/>
                <a:gd name="T5" fmla="*/ 13 h 29"/>
                <a:gd name="T6" fmla="*/ 23 w 26"/>
                <a:gd name="T7" fmla="*/ 29 h 29"/>
              </a:gdLst>
              <a:ahLst/>
              <a:cxnLst>
                <a:cxn ang="0">
                  <a:pos x="T0" y="T1"/>
                </a:cxn>
                <a:cxn ang="0">
                  <a:pos x="T2" y="T3"/>
                </a:cxn>
                <a:cxn ang="0">
                  <a:pos x="T4" y="T5"/>
                </a:cxn>
                <a:cxn ang="0">
                  <a:pos x="T6" y="T7"/>
                </a:cxn>
              </a:cxnLst>
              <a:rect l="0" t="0" r="r" b="b"/>
              <a:pathLst>
                <a:path w="26" h="29">
                  <a:moveTo>
                    <a:pt x="23" y="29"/>
                  </a:moveTo>
                  <a:lnTo>
                    <a:pt x="26" y="0"/>
                  </a:lnTo>
                  <a:lnTo>
                    <a:pt x="0" y="13"/>
                  </a:lnTo>
                  <a:lnTo>
                    <a:pt x="23" y="29"/>
                  </a:lnTo>
                  <a:close/>
                </a:path>
              </a:pathLst>
            </a:custGeom>
            <a:solidFill>
              <a:srgbClr val="4899C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70" name="Freeform 1125"/>
            <p:cNvSpPr/>
            <p:nvPr/>
          </p:nvSpPr>
          <p:spPr bwMode="auto">
            <a:xfrm>
              <a:off x="772470" y="2335948"/>
              <a:ext cx="210111" cy="290449"/>
            </a:xfrm>
            <a:custGeom>
              <a:avLst/>
              <a:gdLst>
                <a:gd name="T0" fmla="*/ 7 w 101"/>
                <a:gd name="T1" fmla="*/ 139 h 139"/>
                <a:gd name="T2" fmla="*/ 101 w 101"/>
                <a:gd name="T3" fmla="*/ 4 h 139"/>
                <a:gd name="T4" fmla="*/ 94 w 101"/>
                <a:gd name="T5" fmla="*/ 0 h 139"/>
                <a:gd name="T6" fmla="*/ 0 w 101"/>
                <a:gd name="T7" fmla="*/ 135 h 139"/>
                <a:gd name="T8" fmla="*/ 7 w 101"/>
                <a:gd name="T9" fmla="*/ 139 h 139"/>
              </a:gdLst>
              <a:ahLst/>
              <a:cxnLst>
                <a:cxn ang="0">
                  <a:pos x="T0" y="T1"/>
                </a:cxn>
                <a:cxn ang="0">
                  <a:pos x="T2" y="T3"/>
                </a:cxn>
                <a:cxn ang="0">
                  <a:pos x="T4" y="T5"/>
                </a:cxn>
                <a:cxn ang="0">
                  <a:pos x="T6" y="T7"/>
                </a:cxn>
                <a:cxn ang="0">
                  <a:pos x="T8" y="T9"/>
                </a:cxn>
              </a:cxnLst>
              <a:rect l="0" t="0" r="r" b="b"/>
              <a:pathLst>
                <a:path w="101" h="139">
                  <a:moveTo>
                    <a:pt x="7" y="139"/>
                  </a:moveTo>
                  <a:lnTo>
                    <a:pt x="101" y="4"/>
                  </a:lnTo>
                  <a:lnTo>
                    <a:pt x="94" y="0"/>
                  </a:lnTo>
                  <a:lnTo>
                    <a:pt x="0" y="135"/>
                  </a:lnTo>
                  <a:lnTo>
                    <a:pt x="7" y="139"/>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71" name="Freeform 1126"/>
            <p:cNvSpPr/>
            <p:nvPr/>
          </p:nvSpPr>
          <p:spPr bwMode="auto">
            <a:xfrm>
              <a:off x="772470" y="2335948"/>
              <a:ext cx="210111" cy="290449"/>
            </a:xfrm>
            <a:custGeom>
              <a:avLst/>
              <a:gdLst>
                <a:gd name="T0" fmla="*/ 7 w 101"/>
                <a:gd name="T1" fmla="*/ 139 h 139"/>
                <a:gd name="T2" fmla="*/ 101 w 101"/>
                <a:gd name="T3" fmla="*/ 4 h 139"/>
                <a:gd name="T4" fmla="*/ 94 w 101"/>
                <a:gd name="T5" fmla="*/ 0 h 139"/>
                <a:gd name="T6" fmla="*/ 0 w 101"/>
                <a:gd name="T7" fmla="*/ 135 h 139"/>
              </a:gdLst>
              <a:ahLst/>
              <a:cxnLst>
                <a:cxn ang="0">
                  <a:pos x="T0" y="T1"/>
                </a:cxn>
                <a:cxn ang="0">
                  <a:pos x="T2" y="T3"/>
                </a:cxn>
                <a:cxn ang="0">
                  <a:pos x="T4" y="T5"/>
                </a:cxn>
                <a:cxn ang="0">
                  <a:pos x="T6" y="T7"/>
                </a:cxn>
              </a:cxnLst>
              <a:rect l="0" t="0" r="r" b="b"/>
              <a:pathLst>
                <a:path w="101" h="139">
                  <a:moveTo>
                    <a:pt x="7" y="139"/>
                  </a:moveTo>
                  <a:lnTo>
                    <a:pt x="101" y="4"/>
                  </a:lnTo>
                  <a:lnTo>
                    <a:pt x="94" y="0"/>
                  </a:lnTo>
                  <a:lnTo>
                    <a:pt x="0" y="1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72" name="Freeform 1127"/>
            <p:cNvSpPr/>
            <p:nvPr/>
          </p:nvSpPr>
          <p:spPr bwMode="auto">
            <a:xfrm>
              <a:off x="1254491" y="2941565"/>
              <a:ext cx="414044" cy="469662"/>
            </a:xfrm>
            <a:custGeom>
              <a:avLst/>
              <a:gdLst>
                <a:gd name="T0" fmla="*/ 0 w 200"/>
                <a:gd name="T1" fmla="*/ 23 h 228"/>
                <a:gd name="T2" fmla="*/ 58 w 200"/>
                <a:gd name="T3" fmla="*/ 223 h 228"/>
                <a:gd name="T4" fmla="*/ 67 w 200"/>
                <a:gd name="T5" fmla="*/ 228 h 228"/>
                <a:gd name="T6" fmla="*/ 200 w 200"/>
                <a:gd name="T7" fmla="*/ 180 h 228"/>
                <a:gd name="T8" fmla="*/ 148 w 200"/>
                <a:gd name="T9" fmla="*/ 0 h 228"/>
                <a:gd name="T10" fmla="*/ 0 w 200"/>
                <a:gd name="T11" fmla="*/ 23 h 228"/>
              </a:gdLst>
              <a:ahLst/>
              <a:cxnLst>
                <a:cxn ang="0">
                  <a:pos x="T0" y="T1"/>
                </a:cxn>
                <a:cxn ang="0">
                  <a:pos x="T2" y="T3"/>
                </a:cxn>
                <a:cxn ang="0">
                  <a:pos x="T4" y="T5"/>
                </a:cxn>
                <a:cxn ang="0">
                  <a:pos x="T6" y="T7"/>
                </a:cxn>
                <a:cxn ang="0">
                  <a:pos x="T8" y="T9"/>
                </a:cxn>
                <a:cxn ang="0">
                  <a:pos x="T10" y="T11"/>
                </a:cxn>
              </a:cxnLst>
              <a:rect l="0" t="0" r="r" b="b"/>
              <a:pathLst>
                <a:path w="200" h="228">
                  <a:moveTo>
                    <a:pt x="0" y="23"/>
                  </a:moveTo>
                  <a:lnTo>
                    <a:pt x="58" y="223"/>
                  </a:lnTo>
                  <a:lnTo>
                    <a:pt x="67" y="228"/>
                  </a:lnTo>
                  <a:lnTo>
                    <a:pt x="200" y="180"/>
                  </a:lnTo>
                  <a:lnTo>
                    <a:pt x="148" y="0"/>
                  </a:lnTo>
                  <a:lnTo>
                    <a:pt x="0" y="23"/>
                  </a:lnTo>
                  <a:close/>
                </a:path>
              </a:pathLst>
            </a:custGeom>
            <a:solidFill>
              <a:srgbClr val="E7D1A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73" name="Freeform 1128"/>
            <p:cNvSpPr/>
            <p:nvPr/>
          </p:nvSpPr>
          <p:spPr bwMode="auto">
            <a:xfrm>
              <a:off x="1285390" y="2984823"/>
              <a:ext cx="395504" cy="426403"/>
            </a:xfrm>
            <a:custGeom>
              <a:avLst/>
              <a:gdLst>
                <a:gd name="T0" fmla="*/ 135 w 192"/>
                <a:gd name="T1" fmla="*/ 0 h 206"/>
                <a:gd name="T2" fmla="*/ 192 w 192"/>
                <a:gd name="T3" fmla="*/ 156 h 206"/>
                <a:gd name="T4" fmla="*/ 54 w 192"/>
                <a:gd name="T5" fmla="*/ 206 h 206"/>
                <a:gd name="T6" fmla="*/ 52 w 192"/>
                <a:gd name="T7" fmla="*/ 205 h 206"/>
                <a:gd name="T8" fmla="*/ 0 w 192"/>
                <a:gd name="T9" fmla="*/ 64 h 206"/>
                <a:gd name="T10" fmla="*/ 135 w 192"/>
                <a:gd name="T11" fmla="*/ 0 h 206"/>
              </a:gdLst>
              <a:ahLst/>
              <a:cxnLst>
                <a:cxn ang="0">
                  <a:pos x="T0" y="T1"/>
                </a:cxn>
                <a:cxn ang="0">
                  <a:pos x="T2" y="T3"/>
                </a:cxn>
                <a:cxn ang="0">
                  <a:pos x="T4" y="T5"/>
                </a:cxn>
                <a:cxn ang="0">
                  <a:pos x="T6" y="T7"/>
                </a:cxn>
                <a:cxn ang="0">
                  <a:pos x="T8" y="T9"/>
                </a:cxn>
                <a:cxn ang="0">
                  <a:pos x="T10" y="T11"/>
                </a:cxn>
              </a:cxnLst>
              <a:rect l="0" t="0" r="r" b="b"/>
              <a:pathLst>
                <a:path w="192" h="206">
                  <a:moveTo>
                    <a:pt x="135" y="0"/>
                  </a:moveTo>
                  <a:lnTo>
                    <a:pt x="192" y="156"/>
                  </a:lnTo>
                  <a:lnTo>
                    <a:pt x="54" y="206"/>
                  </a:lnTo>
                  <a:lnTo>
                    <a:pt x="52" y="205"/>
                  </a:lnTo>
                  <a:lnTo>
                    <a:pt x="0" y="64"/>
                  </a:lnTo>
                  <a:lnTo>
                    <a:pt x="135" y="0"/>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74" name="Freeform 1129"/>
            <p:cNvSpPr/>
            <p:nvPr/>
          </p:nvSpPr>
          <p:spPr bwMode="auto">
            <a:xfrm>
              <a:off x="1310108" y="3114598"/>
              <a:ext cx="420225" cy="346067"/>
            </a:xfrm>
            <a:custGeom>
              <a:avLst/>
              <a:gdLst>
                <a:gd name="T0" fmla="*/ 161 w 202"/>
                <a:gd name="T1" fmla="*/ 0 h 166"/>
                <a:gd name="T2" fmla="*/ 202 w 202"/>
                <a:gd name="T3" fmla="*/ 111 h 166"/>
                <a:gd name="T4" fmla="*/ 202 w 202"/>
                <a:gd name="T5" fmla="*/ 166 h 166"/>
                <a:gd name="T6" fmla="*/ 39 w 202"/>
                <a:gd name="T7" fmla="*/ 166 h 166"/>
                <a:gd name="T8" fmla="*/ 0 w 202"/>
                <a:gd name="T9" fmla="*/ 59 h 166"/>
                <a:gd name="T10" fmla="*/ 161 w 202"/>
                <a:gd name="T11" fmla="*/ 0 h 166"/>
              </a:gdLst>
              <a:ahLst/>
              <a:cxnLst>
                <a:cxn ang="0">
                  <a:pos x="T0" y="T1"/>
                </a:cxn>
                <a:cxn ang="0">
                  <a:pos x="T2" y="T3"/>
                </a:cxn>
                <a:cxn ang="0">
                  <a:pos x="T4" y="T5"/>
                </a:cxn>
                <a:cxn ang="0">
                  <a:pos x="T6" y="T7"/>
                </a:cxn>
                <a:cxn ang="0">
                  <a:pos x="T8" y="T9"/>
                </a:cxn>
                <a:cxn ang="0">
                  <a:pos x="T10" y="T11"/>
                </a:cxn>
              </a:cxnLst>
              <a:rect l="0" t="0" r="r" b="b"/>
              <a:pathLst>
                <a:path w="202" h="166">
                  <a:moveTo>
                    <a:pt x="161" y="0"/>
                  </a:moveTo>
                  <a:lnTo>
                    <a:pt x="202" y="111"/>
                  </a:lnTo>
                  <a:lnTo>
                    <a:pt x="202" y="166"/>
                  </a:lnTo>
                  <a:lnTo>
                    <a:pt x="39" y="166"/>
                  </a:lnTo>
                  <a:lnTo>
                    <a:pt x="0" y="59"/>
                  </a:lnTo>
                  <a:lnTo>
                    <a:pt x="161" y="0"/>
                  </a:lnTo>
                  <a:close/>
                </a:path>
              </a:pathLst>
            </a:custGeom>
            <a:solidFill>
              <a:srgbClr val="CAEAFC"/>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75" name="Freeform 1130"/>
            <p:cNvSpPr/>
            <p:nvPr/>
          </p:nvSpPr>
          <p:spPr bwMode="auto">
            <a:xfrm>
              <a:off x="889885" y="2817970"/>
              <a:ext cx="420225" cy="308988"/>
            </a:xfrm>
            <a:custGeom>
              <a:avLst/>
              <a:gdLst>
                <a:gd name="T0" fmla="*/ 4 w 206"/>
                <a:gd name="T1" fmla="*/ 26 h 151"/>
                <a:gd name="T2" fmla="*/ 95 w 206"/>
                <a:gd name="T3" fmla="*/ 101 h 151"/>
                <a:gd name="T4" fmla="*/ 95 w 206"/>
                <a:gd name="T5" fmla="*/ 101 h 151"/>
                <a:gd name="T6" fmla="*/ 103 w 206"/>
                <a:gd name="T7" fmla="*/ 106 h 151"/>
                <a:gd name="T8" fmla="*/ 116 w 206"/>
                <a:gd name="T9" fmla="*/ 114 h 151"/>
                <a:gd name="T10" fmla="*/ 132 w 206"/>
                <a:gd name="T11" fmla="*/ 124 h 151"/>
                <a:gd name="T12" fmla="*/ 150 w 206"/>
                <a:gd name="T13" fmla="*/ 133 h 151"/>
                <a:gd name="T14" fmla="*/ 169 w 206"/>
                <a:gd name="T15" fmla="*/ 141 h 151"/>
                <a:gd name="T16" fmla="*/ 185 w 206"/>
                <a:gd name="T17" fmla="*/ 148 h 151"/>
                <a:gd name="T18" fmla="*/ 192 w 206"/>
                <a:gd name="T19" fmla="*/ 150 h 151"/>
                <a:gd name="T20" fmla="*/ 197 w 206"/>
                <a:gd name="T21" fmla="*/ 151 h 151"/>
                <a:gd name="T22" fmla="*/ 202 w 206"/>
                <a:gd name="T23" fmla="*/ 150 h 151"/>
                <a:gd name="T24" fmla="*/ 205 w 206"/>
                <a:gd name="T25" fmla="*/ 149 h 151"/>
                <a:gd name="T26" fmla="*/ 205 w 206"/>
                <a:gd name="T27" fmla="*/ 149 h 151"/>
                <a:gd name="T28" fmla="*/ 206 w 206"/>
                <a:gd name="T29" fmla="*/ 146 h 151"/>
                <a:gd name="T30" fmla="*/ 206 w 206"/>
                <a:gd name="T31" fmla="*/ 143 h 151"/>
                <a:gd name="T32" fmla="*/ 204 w 206"/>
                <a:gd name="T33" fmla="*/ 138 h 151"/>
                <a:gd name="T34" fmla="*/ 202 w 206"/>
                <a:gd name="T35" fmla="*/ 133 h 151"/>
                <a:gd name="T36" fmla="*/ 194 w 206"/>
                <a:gd name="T37" fmla="*/ 120 h 151"/>
                <a:gd name="T38" fmla="*/ 183 w 206"/>
                <a:gd name="T39" fmla="*/ 107 h 151"/>
                <a:gd name="T40" fmla="*/ 172 w 206"/>
                <a:gd name="T41" fmla="*/ 94 h 151"/>
                <a:gd name="T42" fmla="*/ 160 w 206"/>
                <a:gd name="T43" fmla="*/ 82 h 151"/>
                <a:gd name="T44" fmla="*/ 150 w 206"/>
                <a:gd name="T45" fmla="*/ 72 h 151"/>
                <a:gd name="T46" fmla="*/ 143 w 206"/>
                <a:gd name="T47" fmla="*/ 66 h 151"/>
                <a:gd name="T48" fmla="*/ 72 w 206"/>
                <a:gd name="T49" fmla="*/ 15 h 151"/>
                <a:gd name="T50" fmla="*/ 72 w 206"/>
                <a:gd name="T51" fmla="*/ 15 h 151"/>
                <a:gd name="T52" fmla="*/ 59 w 206"/>
                <a:gd name="T53" fmla="*/ 7 h 151"/>
                <a:gd name="T54" fmla="*/ 48 w 206"/>
                <a:gd name="T55" fmla="*/ 2 h 151"/>
                <a:gd name="T56" fmla="*/ 38 w 206"/>
                <a:gd name="T57" fmla="*/ 0 h 151"/>
                <a:gd name="T58" fmla="*/ 29 w 206"/>
                <a:gd name="T59" fmla="*/ 1 h 151"/>
                <a:gd name="T60" fmla="*/ 21 w 206"/>
                <a:gd name="T61" fmla="*/ 3 h 151"/>
                <a:gd name="T62" fmla="*/ 15 w 206"/>
                <a:gd name="T63" fmla="*/ 7 h 151"/>
                <a:gd name="T64" fmla="*/ 9 w 206"/>
                <a:gd name="T65" fmla="*/ 11 h 151"/>
                <a:gd name="T66" fmla="*/ 4 w 206"/>
                <a:gd name="T67" fmla="*/ 16 h 151"/>
                <a:gd name="T68" fmla="*/ 4 w 206"/>
                <a:gd name="T69" fmla="*/ 16 h 151"/>
                <a:gd name="T70" fmla="*/ 1 w 206"/>
                <a:gd name="T71" fmla="*/ 19 h 151"/>
                <a:gd name="T72" fmla="*/ 0 w 206"/>
                <a:gd name="T73" fmla="*/ 21 h 151"/>
                <a:gd name="T74" fmla="*/ 1 w 206"/>
                <a:gd name="T75" fmla="*/ 23 h 151"/>
                <a:gd name="T76" fmla="*/ 4 w 206"/>
                <a:gd name="T77" fmla="*/ 26 h 151"/>
                <a:gd name="T78" fmla="*/ 4 w 206"/>
                <a:gd name="T79" fmla="*/ 2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6" h="151">
                  <a:moveTo>
                    <a:pt x="4" y="26"/>
                  </a:moveTo>
                  <a:lnTo>
                    <a:pt x="95" y="101"/>
                  </a:lnTo>
                  <a:lnTo>
                    <a:pt x="95" y="101"/>
                  </a:lnTo>
                  <a:lnTo>
                    <a:pt x="103" y="106"/>
                  </a:lnTo>
                  <a:lnTo>
                    <a:pt x="116" y="114"/>
                  </a:lnTo>
                  <a:lnTo>
                    <a:pt x="132" y="124"/>
                  </a:lnTo>
                  <a:lnTo>
                    <a:pt x="150" y="133"/>
                  </a:lnTo>
                  <a:lnTo>
                    <a:pt x="169" y="141"/>
                  </a:lnTo>
                  <a:lnTo>
                    <a:pt x="185" y="148"/>
                  </a:lnTo>
                  <a:lnTo>
                    <a:pt x="192" y="150"/>
                  </a:lnTo>
                  <a:lnTo>
                    <a:pt x="197" y="151"/>
                  </a:lnTo>
                  <a:lnTo>
                    <a:pt x="202" y="150"/>
                  </a:lnTo>
                  <a:lnTo>
                    <a:pt x="205" y="149"/>
                  </a:lnTo>
                  <a:lnTo>
                    <a:pt x="205" y="149"/>
                  </a:lnTo>
                  <a:lnTo>
                    <a:pt x="206" y="146"/>
                  </a:lnTo>
                  <a:lnTo>
                    <a:pt x="206" y="143"/>
                  </a:lnTo>
                  <a:lnTo>
                    <a:pt x="204" y="138"/>
                  </a:lnTo>
                  <a:lnTo>
                    <a:pt x="202" y="133"/>
                  </a:lnTo>
                  <a:lnTo>
                    <a:pt x="194" y="120"/>
                  </a:lnTo>
                  <a:lnTo>
                    <a:pt x="183" y="107"/>
                  </a:lnTo>
                  <a:lnTo>
                    <a:pt x="172" y="94"/>
                  </a:lnTo>
                  <a:lnTo>
                    <a:pt x="160" y="82"/>
                  </a:lnTo>
                  <a:lnTo>
                    <a:pt x="150" y="72"/>
                  </a:lnTo>
                  <a:lnTo>
                    <a:pt x="143" y="66"/>
                  </a:lnTo>
                  <a:lnTo>
                    <a:pt x="72" y="15"/>
                  </a:lnTo>
                  <a:lnTo>
                    <a:pt x="72" y="15"/>
                  </a:lnTo>
                  <a:lnTo>
                    <a:pt x="59" y="7"/>
                  </a:lnTo>
                  <a:lnTo>
                    <a:pt x="48" y="2"/>
                  </a:lnTo>
                  <a:lnTo>
                    <a:pt x="38" y="0"/>
                  </a:lnTo>
                  <a:lnTo>
                    <a:pt x="29" y="1"/>
                  </a:lnTo>
                  <a:lnTo>
                    <a:pt x="21" y="3"/>
                  </a:lnTo>
                  <a:lnTo>
                    <a:pt x="15" y="7"/>
                  </a:lnTo>
                  <a:lnTo>
                    <a:pt x="9" y="11"/>
                  </a:lnTo>
                  <a:lnTo>
                    <a:pt x="4" y="16"/>
                  </a:lnTo>
                  <a:lnTo>
                    <a:pt x="4" y="16"/>
                  </a:lnTo>
                  <a:lnTo>
                    <a:pt x="1" y="19"/>
                  </a:lnTo>
                  <a:lnTo>
                    <a:pt x="0" y="21"/>
                  </a:lnTo>
                  <a:lnTo>
                    <a:pt x="1" y="23"/>
                  </a:lnTo>
                  <a:lnTo>
                    <a:pt x="4" y="26"/>
                  </a:lnTo>
                  <a:lnTo>
                    <a:pt x="4" y="26"/>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76" name="Freeform 1131"/>
            <p:cNvSpPr/>
            <p:nvPr/>
          </p:nvSpPr>
          <p:spPr bwMode="auto">
            <a:xfrm>
              <a:off x="939323" y="2286511"/>
              <a:ext cx="648875" cy="865166"/>
            </a:xfrm>
            <a:custGeom>
              <a:avLst/>
              <a:gdLst>
                <a:gd name="T0" fmla="*/ 103 w 313"/>
                <a:gd name="T1" fmla="*/ 155 h 419"/>
                <a:gd name="T2" fmla="*/ 105 w 313"/>
                <a:gd name="T3" fmla="*/ 151 h 419"/>
                <a:gd name="T4" fmla="*/ 110 w 313"/>
                <a:gd name="T5" fmla="*/ 144 h 419"/>
                <a:gd name="T6" fmla="*/ 116 w 313"/>
                <a:gd name="T7" fmla="*/ 140 h 419"/>
                <a:gd name="T8" fmla="*/ 128 w 313"/>
                <a:gd name="T9" fmla="*/ 137 h 419"/>
                <a:gd name="T10" fmla="*/ 146 w 313"/>
                <a:gd name="T11" fmla="*/ 141 h 419"/>
                <a:gd name="T12" fmla="*/ 153 w 313"/>
                <a:gd name="T13" fmla="*/ 146 h 419"/>
                <a:gd name="T14" fmla="*/ 159 w 313"/>
                <a:gd name="T15" fmla="*/ 154 h 419"/>
                <a:gd name="T16" fmla="*/ 160 w 313"/>
                <a:gd name="T17" fmla="*/ 149 h 419"/>
                <a:gd name="T18" fmla="*/ 163 w 313"/>
                <a:gd name="T19" fmla="*/ 142 h 419"/>
                <a:gd name="T20" fmla="*/ 169 w 313"/>
                <a:gd name="T21" fmla="*/ 137 h 419"/>
                <a:gd name="T22" fmla="*/ 180 w 313"/>
                <a:gd name="T23" fmla="*/ 132 h 419"/>
                <a:gd name="T24" fmla="*/ 197 w 313"/>
                <a:gd name="T25" fmla="*/ 134 h 419"/>
                <a:gd name="T26" fmla="*/ 208 w 313"/>
                <a:gd name="T27" fmla="*/ 141 h 419"/>
                <a:gd name="T28" fmla="*/ 211 w 313"/>
                <a:gd name="T29" fmla="*/ 144 h 419"/>
                <a:gd name="T30" fmla="*/ 214 w 313"/>
                <a:gd name="T31" fmla="*/ 137 h 419"/>
                <a:gd name="T32" fmla="*/ 220 w 313"/>
                <a:gd name="T33" fmla="*/ 132 h 419"/>
                <a:gd name="T34" fmla="*/ 228 w 313"/>
                <a:gd name="T35" fmla="*/ 129 h 419"/>
                <a:gd name="T36" fmla="*/ 244 w 313"/>
                <a:gd name="T37" fmla="*/ 129 h 419"/>
                <a:gd name="T38" fmla="*/ 252 w 313"/>
                <a:gd name="T39" fmla="*/ 133 h 419"/>
                <a:gd name="T40" fmla="*/ 258 w 313"/>
                <a:gd name="T41" fmla="*/ 139 h 419"/>
                <a:gd name="T42" fmla="*/ 263 w 313"/>
                <a:gd name="T43" fmla="*/ 147 h 419"/>
                <a:gd name="T44" fmla="*/ 305 w 313"/>
                <a:gd name="T45" fmla="*/ 262 h 419"/>
                <a:gd name="T46" fmla="*/ 311 w 313"/>
                <a:gd name="T47" fmla="*/ 284 h 419"/>
                <a:gd name="T48" fmla="*/ 313 w 313"/>
                <a:gd name="T49" fmla="*/ 306 h 419"/>
                <a:gd name="T50" fmla="*/ 312 w 313"/>
                <a:gd name="T51" fmla="*/ 328 h 419"/>
                <a:gd name="T52" fmla="*/ 307 w 313"/>
                <a:gd name="T53" fmla="*/ 350 h 419"/>
                <a:gd name="T54" fmla="*/ 298 w 313"/>
                <a:gd name="T55" fmla="*/ 369 h 419"/>
                <a:gd name="T56" fmla="*/ 284 w 313"/>
                <a:gd name="T57" fmla="*/ 387 h 419"/>
                <a:gd name="T58" fmla="*/ 266 w 313"/>
                <a:gd name="T59" fmla="*/ 402 h 419"/>
                <a:gd name="T60" fmla="*/ 242 w 313"/>
                <a:gd name="T61" fmla="*/ 414 h 419"/>
                <a:gd name="T62" fmla="*/ 232 w 313"/>
                <a:gd name="T63" fmla="*/ 417 h 419"/>
                <a:gd name="T64" fmla="*/ 213 w 313"/>
                <a:gd name="T65" fmla="*/ 419 h 419"/>
                <a:gd name="T66" fmla="*/ 194 w 313"/>
                <a:gd name="T67" fmla="*/ 417 h 419"/>
                <a:gd name="T68" fmla="*/ 176 w 313"/>
                <a:gd name="T69" fmla="*/ 411 h 419"/>
                <a:gd name="T70" fmla="*/ 159 w 313"/>
                <a:gd name="T71" fmla="*/ 402 h 419"/>
                <a:gd name="T72" fmla="*/ 145 w 313"/>
                <a:gd name="T73" fmla="*/ 390 h 419"/>
                <a:gd name="T74" fmla="*/ 132 w 313"/>
                <a:gd name="T75" fmla="*/ 377 h 419"/>
                <a:gd name="T76" fmla="*/ 123 w 313"/>
                <a:gd name="T77" fmla="*/ 364 h 419"/>
                <a:gd name="T78" fmla="*/ 3 w 313"/>
                <a:gd name="T79" fmla="*/ 38 h 419"/>
                <a:gd name="T80" fmla="*/ 1 w 313"/>
                <a:gd name="T81" fmla="*/ 31 h 419"/>
                <a:gd name="T82" fmla="*/ 1 w 313"/>
                <a:gd name="T83" fmla="*/ 19 h 419"/>
                <a:gd name="T84" fmla="*/ 6 w 313"/>
                <a:gd name="T85" fmla="*/ 9 h 419"/>
                <a:gd name="T86" fmla="*/ 14 w 313"/>
                <a:gd name="T87" fmla="*/ 3 h 419"/>
                <a:gd name="T88" fmla="*/ 23 w 313"/>
                <a:gd name="T89" fmla="*/ 0 h 419"/>
                <a:gd name="T90" fmla="*/ 34 w 313"/>
                <a:gd name="T91" fmla="*/ 1 h 419"/>
                <a:gd name="T92" fmla="*/ 43 w 313"/>
                <a:gd name="T93" fmla="*/ 5 h 419"/>
                <a:gd name="T94" fmla="*/ 51 w 313"/>
                <a:gd name="T95" fmla="*/ 13 h 419"/>
                <a:gd name="T96" fmla="*/ 54 w 313"/>
                <a:gd name="T97" fmla="*/ 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3" h="419">
                  <a:moveTo>
                    <a:pt x="54" y="19"/>
                  </a:moveTo>
                  <a:lnTo>
                    <a:pt x="103" y="155"/>
                  </a:lnTo>
                  <a:lnTo>
                    <a:pt x="103" y="155"/>
                  </a:lnTo>
                  <a:lnTo>
                    <a:pt x="105" y="151"/>
                  </a:lnTo>
                  <a:lnTo>
                    <a:pt x="107" y="147"/>
                  </a:lnTo>
                  <a:lnTo>
                    <a:pt x="110" y="144"/>
                  </a:lnTo>
                  <a:lnTo>
                    <a:pt x="113" y="142"/>
                  </a:lnTo>
                  <a:lnTo>
                    <a:pt x="116" y="140"/>
                  </a:lnTo>
                  <a:lnTo>
                    <a:pt x="120" y="138"/>
                  </a:lnTo>
                  <a:lnTo>
                    <a:pt x="128" y="137"/>
                  </a:lnTo>
                  <a:lnTo>
                    <a:pt x="137" y="138"/>
                  </a:lnTo>
                  <a:lnTo>
                    <a:pt x="146" y="141"/>
                  </a:lnTo>
                  <a:lnTo>
                    <a:pt x="150" y="143"/>
                  </a:lnTo>
                  <a:lnTo>
                    <a:pt x="153" y="146"/>
                  </a:lnTo>
                  <a:lnTo>
                    <a:pt x="156" y="150"/>
                  </a:lnTo>
                  <a:lnTo>
                    <a:pt x="159" y="154"/>
                  </a:lnTo>
                  <a:lnTo>
                    <a:pt x="159" y="154"/>
                  </a:lnTo>
                  <a:lnTo>
                    <a:pt x="160" y="149"/>
                  </a:lnTo>
                  <a:lnTo>
                    <a:pt x="161" y="145"/>
                  </a:lnTo>
                  <a:lnTo>
                    <a:pt x="163" y="142"/>
                  </a:lnTo>
                  <a:lnTo>
                    <a:pt x="166" y="139"/>
                  </a:lnTo>
                  <a:lnTo>
                    <a:pt x="169" y="137"/>
                  </a:lnTo>
                  <a:lnTo>
                    <a:pt x="173" y="135"/>
                  </a:lnTo>
                  <a:lnTo>
                    <a:pt x="180" y="132"/>
                  </a:lnTo>
                  <a:lnTo>
                    <a:pt x="189" y="132"/>
                  </a:lnTo>
                  <a:lnTo>
                    <a:pt x="197" y="134"/>
                  </a:lnTo>
                  <a:lnTo>
                    <a:pt x="204" y="138"/>
                  </a:lnTo>
                  <a:lnTo>
                    <a:pt x="208" y="141"/>
                  </a:lnTo>
                  <a:lnTo>
                    <a:pt x="211" y="144"/>
                  </a:lnTo>
                  <a:lnTo>
                    <a:pt x="211" y="144"/>
                  </a:lnTo>
                  <a:lnTo>
                    <a:pt x="212" y="140"/>
                  </a:lnTo>
                  <a:lnTo>
                    <a:pt x="214" y="137"/>
                  </a:lnTo>
                  <a:lnTo>
                    <a:pt x="217" y="134"/>
                  </a:lnTo>
                  <a:lnTo>
                    <a:pt x="220" y="132"/>
                  </a:lnTo>
                  <a:lnTo>
                    <a:pt x="224" y="130"/>
                  </a:lnTo>
                  <a:lnTo>
                    <a:pt x="228" y="129"/>
                  </a:lnTo>
                  <a:lnTo>
                    <a:pt x="236" y="128"/>
                  </a:lnTo>
                  <a:lnTo>
                    <a:pt x="244" y="129"/>
                  </a:lnTo>
                  <a:lnTo>
                    <a:pt x="248" y="131"/>
                  </a:lnTo>
                  <a:lnTo>
                    <a:pt x="252" y="133"/>
                  </a:lnTo>
                  <a:lnTo>
                    <a:pt x="255" y="135"/>
                  </a:lnTo>
                  <a:lnTo>
                    <a:pt x="258" y="139"/>
                  </a:lnTo>
                  <a:lnTo>
                    <a:pt x="261" y="143"/>
                  </a:lnTo>
                  <a:lnTo>
                    <a:pt x="263" y="147"/>
                  </a:lnTo>
                  <a:lnTo>
                    <a:pt x="305" y="262"/>
                  </a:lnTo>
                  <a:lnTo>
                    <a:pt x="305" y="262"/>
                  </a:lnTo>
                  <a:lnTo>
                    <a:pt x="308" y="273"/>
                  </a:lnTo>
                  <a:lnTo>
                    <a:pt x="311" y="284"/>
                  </a:lnTo>
                  <a:lnTo>
                    <a:pt x="313" y="295"/>
                  </a:lnTo>
                  <a:lnTo>
                    <a:pt x="313" y="306"/>
                  </a:lnTo>
                  <a:lnTo>
                    <a:pt x="313" y="317"/>
                  </a:lnTo>
                  <a:lnTo>
                    <a:pt x="312" y="328"/>
                  </a:lnTo>
                  <a:lnTo>
                    <a:pt x="311" y="339"/>
                  </a:lnTo>
                  <a:lnTo>
                    <a:pt x="307" y="350"/>
                  </a:lnTo>
                  <a:lnTo>
                    <a:pt x="303" y="360"/>
                  </a:lnTo>
                  <a:lnTo>
                    <a:pt x="298" y="369"/>
                  </a:lnTo>
                  <a:lnTo>
                    <a:pt x="292" y="379"/>
                  </a:lnTo>
                  <a:lnTo>
                    <a:pt x="284" y="387"/>
                  </a:lnTo>
                  <a:lnTo>
                    <a:pt x="276" y="395"/>
                  </a:lnTo>
                  <a:lnTo>
                    <a:pt x="266" y="402"/>
                  </a:lnTo>
                  <a:lnTo>
                    <a:pt x="255" y="408"/>
                  </a:lnTo>
                  <a:lnTo>
                    <a:pt x="242" y="414"/>
                  </a:lnTo>
                  <a:lnTo>
                    <a:pt x="242" y="414"/>
                  </a:lnTo>
                  <a:lnTo>
                    <a:pt x="232" y="417"/>
                  </a:lnTo>
                  <a:lnTo>
                    <a:pt x="223" y="418"/>
                  </a:lnTo>
                  <a:lnTo>
                    <a:pt x="213" y="419"/>
                  </a:lnTo>
                  <a:lnTo>
                    <a:pt x="203" y="418"/>
                  </a:lnTo>
                  <a:lnTo>
                    <a:pt x="194" y="417"/>
                  </a:lnTo>
                  <a:lnTo>
                    <a:pt x="184" y="414"/>
                  </a:lnTo>
                  <a:lnTo>
                    <a:pt x="176" y="411"/>
                  </a:lnTo>
                  <a:lnTo>
                    <a:pt x="167" y="406"/>
                  </a:lnTo>
                  <a:lnTo>
                    <a:pt x="159" y="402"/>
                  </a:lnTo>
                  <a:lnTo>
                    <a:pt x="152" y="396"/>
                  </a:lnTo>
                  <a:lnTo>
                    <a:pt x="145" y="390"/>
                  </a:lnTo>
                  <a:lnTo>
                    <a:pt x="138" y="384"/>
                  </a:lnTo>
                  <a:lnTo>
                    <a:pt x="132" y="377"/>
                  </a:lnTo>
                  <a:lnTo>
                    <a:pt x="127" y="371"/>
                  </a:lnTo>
                  <a:lnTo>
                    <a:pt x="123" y="364"/>
                  </a:lnTo>
                  <a:lnTo>
                    <a:pt x="120" y="357"/>
                  </a:lnTo>
                  <a:lnTo>
                    <a:pt x="3" y="38"/>
                  </a:lnTo>
                  <a:lnTo>
                    <a:pt x="3" y="38"/>
                  </a:lnTo>
                  <a:lnTo>
                    <a:pt x="1" y="31"/>
                  </a:lnTo>
                  <a:lnTo>
                    <a:pt x="0" y="25"/>
                  </a:lnTo>
                  <a:lnTo>
                    <a:pt x="1" y="19"/>
                  </a:lnTo>
                  <a:lnTo>
                    <a:pt x="3" y="14"/>
                  </a:lnTo>
                  <a:lnTo>
                    <a:pt x="6" y="9"/>
                  </a:lnTo>
                  <a:lnTo>
                    <a:pt x="9" y="6"/>
                  </a:lnTo>
                  <a:lnTo>
                    <a:pt x="14" y="3"/>
                  </a:lnTo>
                  <a:lnTo>
                    <a:pt x="18" y="1"/>
                  </a:lnTo>
                  <a:lnTo>
                    <a:pt x="23" y="0"/>
                  </a:lnTo>
                  <a:lnTo>
                    <a:pt x="29" y="0"/>
                  </a:lnTo>
                  <a:lnTo>
                    <a:pt x="34" y="1"/>
                  </a:lnTo>
                  <a:lnTo>
                    <a:pt x="39" y="2"/>
                  </a:lnTo>
                  <a:lnTo>
                    <a:pt x="43" y="5"/>
                  </a:lnTo>
                  <a:lnTo>
                    <a:pt x="48" y="9"/>
                  </a:lnTo>
                  <a:lnTo>
                    <a:pt x="51" y="13"/>
                  </a:lnTo>
                  <a:lnTo>
                    <a:pt x="54" y="19"/>
                  </a:lnTo>
                  <a:lnTo>
                    <a:pt x="54" y="19"/>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77" name="Freeform 1132"/>
            <p:cNvSpPr>
              <a:spLocks noEditPoints="1"/>
            </p:cNvSpPr>
            <p:nvPr/>
          </p:nvSpPr>
          <p:spPr bwMode="auto">
            <a:xfrm>
              <a:off x="1155616" y="2576960"/>
              <a:ext cx="253370" cy="142134"/>
            </a:xfrm>
            <a:custGeom>
              <a:avLst/>
              <a:gdLst>
                <a:gd name="T0" fmla="*/ 124 w 124"/>
                <a:gd name="T1" fmla="*/ 44 h 71"/>
                <a:gd name="T2" fmla="*/ 124 w 124"/>
                <a:gd name="T3" fmla="*/ 44 h 71"/>
                <a:gd name="T4" fmla="*/ 109 w 124"/>
                <a:gd name="T5" fmla="*/ 0 h 71"/>
                <a:gd name="T6" fmla="*/ 109 w 124"/>
                <a:gd name="T7" fmla="*/ 0 h 71"/>
                <a:gd name="T8" fmla="*/ 108 w 124"/>
                <a:gd name="T9" fmla="*/ 4 h 71"/>
                <a:gd name="T10" fmla="*/ 108 w 124"/>
                <a:gd name="T11" fmla="*/ 4 h 71"/>
                <a:gd name="T12" fmla="*/ 103 w 124"/>
                <a:gd name="T13" fmla="*/ 0 h 71"/>
                <a:gd name="T14" fmla="*/ 103 w 124"/>
                <a:gd name="T15" fmla="*/ 0 h 71"/>
                <a:gd name="T16" fmla="*/ 124 w 124"/>
                <a:gd name="T17" fmla="*/ 44 h 71"/>
                <a:gd name="T18" fmla="*/ 124 w 124"/>
                <a:gd name="T19" fmla="*/ 44 h 71"/>
                <a:gd name="T20" fmla="*/ 0 w 124"/>
                <a:gd name="T21" fmla="*/ 14 h 71"/>
                <a:gd name="T22" fmla="*/ 0 w 124"/>
                <a:gd name="T23" fmla="*/ 14 h 71"/>
                <a:gd name="T24" fmla="*/ 3 w 124"/>
                <a:gd name="T25" fmla="*/ 9 h 71"/>
                <a:gd name="T26" fmla="*/ 3 w 124"/>
                <a:gd name="T27" fmla="*/ 9 h 71"/>
                <a:gd name="T28" fmla="*/ 23 w 124"/>
                <a:gd name="T29" fmla="*/ 71 h 71"/>
                <a:gd name="T30" fmla="*/ 23 w 124"/>
                <a:gd name="T31" fmla="*/ 71 h 71"/>
                <a:gd name="T32" fmla="*/ 14 w 124"/>
                <a:gd name="T33" fmla="*/ 49 h 71"/>
                <a:gd name="T34" fmla="*/ 0 w 124"/>
                <a:gd name="T35" fmla="*/ 15 h 71"/>
                <a:gd name="T36" fmla="*/ 0 w 124"/>
                <a:gd name="T37" fmla="*/ 15 h 71"/>
                <a:gd name="T38" fmla="*/ 0 w 124"/>
                <a:gd name="T39" fmla="*/ 14 h 71"/>
                <a:gd name="T40" fmla="*/ 0 w 124"/>
                <a:gd name="T41" fmla="*/ 14 h 71"/>
                <a:gd name="T42" fmla="*/ 49 w 124"/>
                <a:gd name="T43" fmla="*/ 5 h 71"/>
                <a:gd name="T44" fmla="*/ 49 w 124"/>
                <a:gd name="T45" fmla="*/ 5 h 71"/>
                <a:gd name="T46" fmla="*/ 53 w 124"/>
                <a:gd name="T47" fmla="*/ 9 h 71"/>
                <a:gd name="T48" fmla="*/ 56 w 124"/>
                <a:gd name="T49" fmla="*/ 14 h 71"/>
                <a:gd name="T50" fmla="*/ 56 w 124"/>
                <a:gd name="T51" fmla="*/ 14 h 71"/>
                <a:gd name="T52" fmla="*/ 57 w 124"/>
                <a:gd name="T53" fmla="*/ 9 h 71"/>
                <a:gd name="T54" fmla="*/ 57 w 124"/>
                <a:gd name="T55" fmla="*/ 9 h 71"/>
                <a:gd name="T56" fmla="*/ 74 w 124"/>
                <a:gd name="T57" fmla="*/ 59 h 71"/>
                <a:gd name="T58" fmla="*/ 74 w 124"/>
                <a:gd name="T59" fmla="*/ 59 h 71"/>
                <a:gd name="T60" fmla="*/ 49 w 124"/>
                <a:gd name="T61" fmla="*/ 5 h 71"/>
                <a:gd name="T62" fmla="*/ 49 w 124"/>
                <a:gd name="T63"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4" h="71">
                  <a:moveTo>
                    <a:pt x="124" y="44"/>
                  </a:moveTo>
                  <a:lnTo>
                    <a:pt x="124" y="44"/>
                  </a:lnTo>
                  <a:lnTo>
                    <a:pt x="109" y="0"/>
                  </a:lnTo>
                  <a:lnTo>
                    <a:pt x="109" y="0"/>
                  </a:lnTo>
                  <a:lnTo>
                    <a:pt x="108" y="4"/>
                  </a:lnTo>
                  <a:lnTo>
                    <a:pt x="108" y="4"/>
                  </a:lnTo>
                  <a:lnTo>
                    <a:pt x="103" y="0"/>
                  </a:lnTo>
                  <a:lnTo>
                    <a:pt x="103" y="0"/>
                  </a:lnTo>
                  <a:lnTo>
                    <a:pt x="124" y="44"/>
                  </a:lnTo>
                  <a:lnTo>
                    <a:pt x="124" y="44"/>
                  </a:lnTo>
                  <a:close/>
                  <a:moveTo>
                    <a:pt x="0" y="14"/>
                  </a:moveTo>
                  <a:lnTo>
                    <a:pt x="0" y="14"/>
                  </a:lnTo>
                  <a:lnTo>
                    <a:pt x="3" y="9"/>
                  </a:lnTo>
                  <a:lnTo>
                    <a:pt x="3" y="9"/>
                  </a:lnTo>
                  <a:lnTo>
                    <a:pt x="23" y="71"/>
                  </a:lnTo>
                  <a:lnTo>
                    <a:pt x="23" y="71"/>
                  </a:lnTo>
                  <a:lnTo>
                    <a:pt x="14" y="49"/>
                  </a:lnTo>
                  <a:lnTo>
                    <a:pt x="0" y="15"/>
                  </a:lnTo>
                  <a:lnTo>
                    <a:pt x="0" y="15"/>
                  </a:lnTo>
                  <a:lnTo>
                    <a:pt x="0" y="14"/>
                  </a:lnTo>
                  <a:lnTo>
                    <a:pt x="0" y="14"/>
                  </a:lnTo>
                  <a:close/>
                  <a:moveTo>
                    <a:pt x="49" y="5"/>
                  </a:moveTo>
                  <a:lnTo>
                    <a:pt x="49" y="5"/>
                  </a:lnTo>
                  <a:lnTo>
                    <a:pt x="53" y="9"/>
                  </a:lnTo>
                  <a:lnTo>
                    <a:pt x="56" y="14"/>
                  </a:lnTo>
                  <a:lnTo>
                    <a:pt x="56" y="14"/>
                  </a:lnTo>
                  <a:lnTo>
                    <a:pt x="57" y="9"/>
                  </a:lnTo>
                  <a:lnTo>
                    <a:pt x="57" y="9"/>
                  </a:lnTo>
                  <a:lnTo>
                    <a:pt x="74" y="59"/>
                  </a:lnTo>
                  <a:lnTo>
                    <a:pt x="74" y="59"/>
                  </a:lnTo>
                  <a:lnTo>
                    <a:pt x="49" y="5"/>
                  </a:lnTo>
                  <a:lnTo>
                    <a:pt x="49" y="5"/>
                  </a:lnTo>
                  <a:close/>
                </a:path>
              </a:pathLst>
            </a:custGeom>
            <a:solidFill>
              <a:srgbClr val="DEB99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78" name="Freeform 1133"/>
            <p:cNvSpPr/>
            <p:nvPr/>
          </p:nvSpPr>
          <p:spPr bwMode="auto">
            <a:xfrm>
              <a:off x="951682" y="2292691"/>
              <a:ext cx="98876" cy="92697"/>
            </a:xfrm>
            <a:custGeom>
              <a:avLst/>
              <a:gdLst>
                <a:gd name="T0" fmla="*/ 46 w 50"/>
                <a:gd name="T1" fmla="*/ 15 h 45"/>
                <a:gd name="T2" fmla="*/ 50 w 50"/>
                <a:gd name="T3" fmla="*/ 27 h 45"/>
                <a:gd name="T4" fmla="*/ 50 w 50"/>
                <a:gd name="T5" fmla="*/ 27 h 45"/>
                <a:gd name="T6" fmla="*/ 46 w 50"/>
                <a:gd name="T7" fmla="*/ 33 h 45"/>
                <a:gd name="T8" fmla="*/ 41 w 50"/>
                <a:gd name="T9" fmla="*/ 37 h 45"/>
                <a:gd name="T10" fmla="*/ 36 w 50"/>
                <a:gd name="T11" fmla="*/ 41 h 45"/>
                <a:gd name="T12" fmla="*/ 31 w 50"/>
                <a:gd name="T13" fmla="*/ 43 h 45"/>
                <a:gd name="T14" fmla="*/ 25 w 50"/>
                <a:gd name="T15" fmla="*/ 45 h 45"/>
                <a:gd name="T16" fmla="*/ 19 w 50"/>
                <a:gd name="T17" fmla="*/ 45 h 45"/>
                <a:gd name="T18" fmla="*/ 13 w 50"/>
                <a:gd name="T19" fmla="*/ 45 h 45"/>
                <a:gd name="T20" fmla="*/ 6 w 50"/>
                <a:gd name="T21" fmla="*/ 43 h 45"/>
                <a:gd name="T22" fmla="*/ 2 w 50"/>
                <a:gd name="T23" fmla="*/ 31 h 45"/>
                <a:gd name="T24" fmla="*/ 2 w 50"/>
                <a:gd name="T25" fmla="*/ 31 h 45"/>
                <a:gd name="T26" fmla="*/ 0 w 50"/>
                <a:gd name="T27" fmla="*/ 26 h 45"/>
                <a:gd name="T28" fmla="*/ 0 w 50"/>
                <a:gd name="T29" fmla="*/ 21 h 45"/>
                <a:gd name="T30" fmla="*/ 1 w 50"/>
                <a:gd name="T31" fmla="*/ 16 h 45"/>
                <a:gd name="T32" fmla="*/ 2 w 50"/>
                <a:gd name="T33" fmla="*/ 12 h 45"/>
                <a:gd name="T34" fmla="*/ 5 w 50"/>
                <a:gd name="T35" fmla="*/ 8 h 45"/>
                <a:gd name="T36" fmla="*/ 8 w 50"/>
                <a:gd name="T37" fmla="*/ 5 h 45"/>
                <a:gd name="T38" fmla="*/ 12 w 50"/>
                <a:gd name="T39" fmla="*/ 3 h 45"/>
                <a:gd name="T40" fmla="*/ 16 w 50"/>
                <a:gd name="T41" fmla="*/ 1 h 45"/>
                <a:gd name="T42" fmla="*/ 20 w 50"/>
                <a:gd name="T43" fmla="*/ 0 h 45"/>
                <a:gd name="T44" fmla="*/ 25 w 50"/>
                <a:gd name="T45" fmla="*/ 0 h 45"/>
                <a:gd name="T46" fmla="*/ 29 w 50"/>
                <a:gd name="T47" fmla="*/ 1 h 45"/>
                <a:gd name="T48" fmla="*/ 33 w 50"/>
                <a:gd name="T49" fmla="*/ 2 h 45"/>
                <a:gd name="T50" fmla="*/ 37 w 50"/>
                <a:gd name="T51" fmla="*/ 4 h 45"/>
                <a:gd name="T52" fmla="*/ 41 w 50"/>
                <a:gd name="T53" fmla="*/ 7 h 45"/>
                <a:gd name="T54" fmla="*/ 44 w 50"/>
                <a:gd name="T55" fmla="*/ 10 h 45"/>
                <a:gd name="T56" fmla="*/ 46 w 50"/>
                <a:gd name="T57" fmla="*/ 15 h 45"/>
                <a:gd name="T58" fmla="*/ 46 w 50"/>
                <a:gd name="T59" fmla="*/ 1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45">
                  <a:moveTo>
                    <a:pt x="46" y="15"/>
                  </a:moveTo>
                  <a:lnTo>
                    <a:pt x="50" y="27"/>
                  </a:lnTo>
                  <a:lnTo>
                    <a:pt x="50" y="27"/>
                  </a:lnTo>
                  <a:lnTo>
                    <a:pt x="46" y="33"/>
                  </a:lnTo>
                  <a:lnTo>
                    <a:pt x="41" y="37"/>
                  </a:lnTo>
                  <a:lnTo>
                    <a:pt x="36" y="41"/>
                  </a:lnTo>
                  <a:lnTo>
                    <a:pt x="31" y="43"/>
                  </a:lnTo>
                  <a:lnTo>
                    <a:pt x="25" y="45"/>
                  </a:lnTo>
                  <a:lnTo>
                    <a:pt x="19" y="45"/>
                  </a:lnTo>
                  <a:lnTo>
                    <a:pt x="13" y="45"/>
                  </a:lnTo>
                  <a:lnTo>
                    <a:pt x="6" y="43"/>
                  </a:lnTo>
                  <a:lnTo>
                    <a:pt x="2" y="31"/>
                  </a:lnTo>
                  <a:lnTo>
                    <a:pt x="2" y="31"/>
                  </a:lnTo>
                  <a:lnTo>
                    <a:pt x="0" y="26"/>
                  </a:lnTo>
                  <a:lnTo>
                    <a:pt x="0" y="21"/>
                  </a:lnTo>
                  <a:lnTo>
                    <a:pt x="1" y="16"/>
                  </a:lnTo>
                  <a:lnTo>
                    <a:pt x="2" y="12"/>
                  </a:lnTo>
                  <a:lnTo>
                    <a:pt x="5" y="8"/>
                  </a:lnTo>
                  <a:lnTo>
                    <a:pt x="8" y="5"/>
                  </a:lnTo>
                  <a:lnTo>
                    <a:pt x="12" y="3"/>
                  </a:lnTo>
                  <a:lnTo>
                    <a:pt x="16" y="1"/>
                  </a:lnTo>
                  <a:lnTo>
                    <a:pt x="20" y="0"/>
                  </a:lnTo>
                  <a:lnTo>
                    <a:pt x="25" y="0"/>
                  </a:lnTo>
                  <a:lnTo>
                    <a:pt x="29" y="1"/>
                  </a:lnTo>
                  <a:lnTo>
                    <a:pt x="33" y="2"/>
                  </a:lnTo>
                  <a:lnTo>
                    <a:pt x="37" y="4"/>
                  </a:lnTo>
                  <a:lnTo>
                    <a:pt x="41" y="7"/>
                  </a:lnTo>
                  <a:lnTo>
                    <a:pt x="44" y="10"/>
                  </a:lnTo>
                  <a:lnTo>
                    <a:pt x="46" y="15"/>
                  </a:lnTo>
                  <a:lnTo>
                    <a:pt x="46" y="15"/>
                  </a:lnTo>
                  <a:close/>
                </a:path>
              </a:pathLst>
            </a:custGeom>
            <a:solidFill>
              <a:srgbClr val="FFEBD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79" name="Freeform 1134"/>
            <p:cNvSpPr/>
            <p:nvPr/>
          </p:nvSpPr>
          <p:spPr bwMode="auto">
            <a:xfrm>
              <a:off x="883706" y="2848869"/>
              <a:ext cx="67977" cy="67977"/>
            </a:xfrm>
            <a:custGeom>
              <a:avLst/>
              <a:gdLst>
                <a:gd name="T0" fmla="*/ 2 w 33"/>
                <a:gd name="T1" fmla="*/ 8 h 32"/>
                <a:gd name="T2" fmla="*/ 32 w 33"/>
                <a:gd name="T3" fmla="*/ 32 h 32"/>
                <a:gd name="T4" fmla="*/ 32 w 33"/>
                <a:gd name="T5" fmla="*/ 32 h 32"/>
                <a:gd name="T6" fmla="*/ 33 w 33"/>
                <a:gd name="T7" fmla="*/ 28 h 32"/>
                <a:gd name="T8" fmla="*/ 31 w 33"/>
                <a:gd name="T9" fmla="*/ 24 h 32"/>
                <a:gd name="T10" fmla="*/ 29 w 33"/>
                <a:gd name="T11" fmla="*/ 20 h 32"/>
                <a:gd name="T12" fmla="*/ 25 w 33"/>
                <a:gd name="T13" fmla="*/ 16 h 32"/>
                <a:gd name="T14" fmla="*/ 16 w 33"/>
                <a:gd name="T15" fmla="*/ 8 h 32"/>
                <a:gd name="T16" fmla="*/ 6 w 33"/>
                <a:gd name="T17" fmla="*/ 1 h 32"/>
                <a:gd name="T18" fmla="*/ 6 w 33"/>
                <a:gd name="T19" fmla="*/ 1 h 32"/>
                <a:gd name="T20" fmla="*/ 4 w 33"/>
                <a:gd name="T21" fmla="*/ 0 h 32"/>
                <a:gd name="T22" fmla="*/ 3 w 33"/>
                <a:gd name="T23" fmla="*/ 1 h 32"/>
                <a:gd name="T24" fmla="*/ 1 w 33"/>
                <a:gd name="T25" fmla="*/ 2 h 32"/>
                <a:gd name="T26" fmla="*/ 0 w 33"/>
                <a:gd name="T27" fmla="*/ 5 h 32"/>
                <a:gd name="T28" fmla="*/ 1 w 33"/>
                <a:gd name="T29" fmla="*/ 6 h 32"/>
                <a:gd name="T30" fmla="*/ 2 w 33"/>
                <a:gd name="T31" fmla="*/ 8 h 32"/>
                <a:gd name="T32" fmla="*/ 2 w 33"/>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32">
                  <a:moveTo>
                    <a:pt x="2" y="8"/>
                  </a:moveTo>
                  <a:lnTo>
                    <a:pt x="32" y="32"/>
                  </a:lnTo>
                  <a:lnTo>
                    <a:pt x="32" y="32"/>
                  </a:lnTo>
                  <a:lnTo>
                    <a:pt x="33" y="28"/>
                  </a:lnTo>
                  <a:lnTo>
                    <a:pt x="31" y="24"/>
                  </a:lnTo>
                  <a:lnTo>
                    <a:pt x="29" y="20"/>
                  </a:lnTo>
                  <a:lnTo>
                    <a:pt x="25" y="16"/>
                  </a:lnTo>
                  <a:lnTo>
                    <a:pt x="16" y="8"/>
                  </a:lnTo>
                  <a:lnTo>
                    <a:pt x="6" y="1"/>
                  </a:lnTo>
                  <a:lnTo>
                    <a:pt x="6" y="1"/>
                  </a:lnTo>
                  <a:lnTo>
                    <a:pt x="4" y="0"/>
                  </a:lnTo>
                  <a:lnTo>
                    <a:pt x="3" y="1"/>
                  </a:lnTo>
                  <a:lnTo>
                    <a:pt x="1" y="2"/>
                  </a:lnTo>
                  <a:lnTo>
                    <a:pt x="0" y="5"/>
                  </a:lnTo>
                  <a:lnTo>
                    <a:pt x="1" y="6"/>
                  </a:lnTo>
                  <a:lnTo>
                    <a:pt x="2" y="8"/>
                  </a:lnTo>
                  <a:lnTo>
                    <a:pt x="2" y="8"/>
                  </a:lnTo>
                  <a:close/>
                </a:path>
              </a:pathLst>
            </a:custGeom>
            <a:solidFill>
              <a:srgbClr val="FFEBD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80" name="Freeform 1135"/>
            <p:cNvSpPr/>
            <p:nvPr/>
          </p:nvSpPr>
          <p:spPr bwMode="auto">
            <a:xfrm>
              <a:off x="617976" y="3009542"/>
              <a:ext cx="346067" cy="420224"/>
            </a:xfrm>
            <a:custGeom>
              <a:avLst/>
              <a:gdLst>
                <a:gd name="T0" fmla="*/ 1 w 168"/>
                <a:gd name="T1" fmla="*/ 0 h 203"/>
                <a:gd name="T2" fmla="*/ 0 w 168"/>
                <a:gd name="T3" fmla="*/ 192 h 203"/>
                <a:gd name="T4" fmla="*/ 167 w 168"/>
                <a:gd name="T5" fmla="*/ 203 h 203"/>
                <a:gd name="T6" fmla="*/ 168 w 168"/>
                <a:gd name="T7" fmla="*/ 12 h 203"/>
                <a:gd name="T8" fmla="*/ 1 w 168"/>
                <a:gd name="T9" fmla="*/ 0 h 203"/>
              </a:gdLst>
              <a:ahLst/>
              <a:cxnLst>
                <a:cxn ang="0">
                  <a:pos x="T0" y="T1"/>
                </a:cxn>
                <a:cxn ang="0">
                  <a:pos x="T2" y="T3"/>
                </a:cxn>
                <a:cxn ang="0">
                  <a:pos x="T4" y="T5"/>
                </a:cxn>
                <a:cxn ang="0">
                  <a:pos x="T6" y="T7"/>
                </a:cxn>
                <a:cxn ang="0">
                  <a:pos x="T8" y="T9"/>
                </a:cxn>
              </a:cxnLst>
              <a:rect l="0" t="0" r="r" b="b"/>
              <a:pathLst>
                <a:path w="168" h="203">
                  <a:moveTo>
                    <a:pt x="1" y="0"/>
                  </a:moveTo>
                  <a:lnTo>
                    <a:pt x="0" y="192"/>
                  </a:lnTo>
                  <a:lnTo>
                    <a:pt x="167" y="203"/>
                  </a:lnTo>
                  <a:lnTo>
                    <a:pt x="168" y="12"/>
                  </a:lnTo>
                  <a:lnTo>
                    <a:pt x="1" y="0"/>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81" name="Freeform 1136"/>
            <p:cNvSpPr/>
            <p:nvPr/>
          </p:nvSpPr>
          <p:spPr bwMode="auto">
            <a:xfrm>
              <a:off x="580897" y="3201115"/>
              <a:ext cx="414044" cy="259550"/>
            </a:xfrm>
            <a:custGeom>
              <a:avLst/>
              <a:gdLst>
                <a:gd name="T0" fmla="*/ 0 w 200"/>
                <a:gd name="T1" fmla="*/ 0 h 126"/>
                <a:gd name="T2" fmla="*/ 0 w 200"/>
                <a:gd name="T3" fmla="*/ 126 h 126"/>
                <a:gd name="T4" fmla="*/ 200 w 200"/>
                <a:gd name="T5" fmla="*/ 126 h 126"/>
                <a:gd name="T6" fmla="*/ 200 w 200"/>
                <a:gd name="T7" fmla="*/ 6 h 126"/>
                <a:gd name="T8" fmla="*/ 0 w 200"/>
                <a:gd name="T9" fmla="*/ 0 h 126"/>
              </a:gdLst>
              <a:ahLst/>
              <a:cxnLst>
                <a:cxn ang="0">
                  <a:pos x="T0" y="T1"/>
                </a:cxn>
                <a:cxn ang="0">
                  <a:pos x="T2" y="T3"/>
                </a:cxn>
                <a:cxn ang="0">
                  <a:pos x="T4" y="T5"/>
                </a:cxn>
                <a:cxn ang="0">
                  <a:pos x="T6" y="T7"/>
                </a:cxn>
                <a:cxn ang="0">
                  <a:pos x="T8" y="T9"/>
                </a:cxn>
              </a:cxnLst>
              <a:rect l="0" t="0" r="r" b="b"/>
              <a:pathLst>
                <a:path w="200" h="126">
                  <a:moveTo>
                    <a:pt x="0" y="0"/>
                  </a:moveTo>
                  <a:lnTo>
                    <a:pt x="0" y="126"/>
                  </a:lnTo>
                  <a:lnTo>
                    <a:pt x="200" y="126"/>
                  </a:lnTo>
                  <a:lnTo>
                    <a:pt x="200" y="6"/>
                  </a:lnTo>
                  <a:lnTo>
                    <a:pt x="0" y="0"/>
                  </a:lnTo>
                  <a:close/>
                </a:path>
              </a:pathLst>
            </a:custGeom>
            <a:solidFill>
              <a:srgbClr val="CAEAFC"/>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82" name="Freeform 1137"/>
            <p:cNvSpPr/>
            <p:nvPr/>
          </p:nvSpPr>
          <p:spPr bwMode="auto">
            <a:xfrm>
              <a:off x="556178" y="2873588"/>
              <a:ext cx="290448" cy="234831"/>
            </a:xfrm>
            <a:custGeom>
              <a:avLst/>
              <a:gdLst>
                <a:gd name="T0" fmla="*/ 29 w 141"/>
                <a:gd name="T1" fmla="*/ 1 h 114"/>
                <a:gd name="T2" fmla="*/ 29 w 141"/>
                <a:gd name="T3" fmla="*/ 1 h 114"/>
                <a:gd name="T4" fmla="*/ 23 w 141"/>
                <a:gd name="T5" fmla="*/ 3 h 114"/>
                <a:gd name="T6" fmla="*/ 18 w 141"/>
                <a:gd name="T7" fmla="*/ 5 h 114"/>
                <a:gd name="T8" fmla="*/ 13 w 141"/>
                <a:gd name="T9" fmla="*/ 7 h 114"/>
                <a:gd name="T10" fmla="*/ 9 w 141"/>
                <a:gd name="T11" fmla="*/ 10 h 114"/>
                <a:gd name="T12" fmla="*/ 6 w 141"/>
                <a:gd name="T13" fmla="*/ 14 h 114"/>
                <a:gd name="T14" fmla="*/ 3 w 141"/>
                <a:gd name="T15" fmla="*/ 18 h 114"/>
                <a:gd name="T16" fmla="*/ 2 w 141"/>
                <a:gd name="T17" fmla="*/ 22 h 114"/>
                <a:gd name="T18" fmla="*/ 1 w 141"/>
                <a:gd name="T19" fmla="*/ 27 h 114"/>
                <a:gd name="T20" fmla="*/ 0 w 141"/>
                <a:gd name="T21" fmla="*/ 32 h 114"/>
                <a:gd name="T22" fmla="*/ 0 w 141"/>
                <a:gd name="T23" fmla="*/ 37 h 114"/>
                <a:gd name="T24" fmla="*/ 3 w 141"/>
                <a:gd name="T25" fmla="*/ 48 h 114"/>
                <a:gd name="T26" fmla="*/ 7 w 141"/>
                <a:gd name="T27" fmla="*/ 60 h 114"/>
                <a:gd name="T28" fmla="*/ 14 w 141"/>
                <a:gd name="T29" fmla="*/ 71 h 114"/>
                <a:gd name="T30" fmla="*/ 14 w 141"/>
                <a:gd name="T31" fmla="*/ 71 h 114"/>
                <a:gd name="T32" fmla="*/ 23 w 141"/>
                <a:gd name="T33" fmla="*/ 82 h 114"/>
                <a:gd name="T34" fmla="*/ 33 w 141"/>
                <a:gd name="T35" fmla="*/ 91 h 114"/>
                <a:gd name="T36" fmla="*/ 44 w 141"/>
                <a:gd name="T37" fmla="*/ 99 h 114"/>
                <a:gd name="T38" fmla="*/ 55 w 141"/>
                <a:gd name="T39" fmla="*/ 105 h 114"/>
                <a:gd name="T40" fmla="*/ 68 w 141"/>
                <a:gd name="T41" fmla="*/ 110 h 114"/>
                <a:gd name="T42" fmla="*/ 80 w 141"/>
                <a:gd name="T43" fmla="*/ 113 h 114"/>
                <a:gd name="T44" fmla="*/ 93 w 141"/>
                <a:gd name="T45" fmla="*/ 114 h 114"/>
                <a:gd name="T46" fmla="*/ 106 w 141"/>
                <a:gd name="T47" fmla="*/ 112 h 114"/>
                <a:gd name="T48" fmla="*/ 106 w 141"/>
                <a:gd name="T49" fmla="*/ 112 h 114"/>
                <a:gd name="T50" fmla="*/ 112 w 141"/>
                <a:gd name="T51" fmla="*/ 111 h 114"/>
                <a:gd name="T52" fmla="*/ 118 w 141"/>
                <a:gd name="T53" fmla="*/ 109 h 114"/>
                <a:gd name="T54" fmla="*/ 123 w 141"/>
                <a:gd name="T55" fmla="*/ 107 h 114"/>
                <a:gd name="T56" fmla="*/ 128 w 141"/>
                <a:gd name="T57" fmla="*/ 104 h 114"/>
                <a:gd name="T58" fmla="*/ 131 w 141"/>
                <a:gd name="T59" fmla="*/ 100 h 114"/>
                <a:gd name="T60" fmla="*/ 135 w 141"/>
                <a:gd name="T61" fmla="*/ 97 h 114"/>
                <a:gd name="T62" fmla="*/ 137 w 141"/>
                <a:gd name="T63" fmla="*/ 93 h 114"/>
                <a:gd name="T64" fmla="*/ 139 w 141"/>
                <a:gd name="T65" fmla="*/ 88 h 114"/>
                <a:gd name="T66" fmla="*/ 140 w 141"/>
                <a:gd name="T67" fmla="*/ 84 h 114"/>
                <a:gd name="T68" fmla="*/ 141 w 141"/>
                <a:gd name="T69" fmla="*/ 79 h 114"/>
                <a:gd name="T70" fmla="*/ 141 w 141"/>
                <a:gd name="T71" fmla="*/ 74 h 114"/>
                <a:gd name="T72" fmla="*/ 140 w 141"/>
                <a:gd name="T73" fmla="*/ 68 h 114"/>
                <a:gd name="T74" fmla="*/ 139 w 141"/>
                <a:gd name="T75" fmla="*/ 63 h 114"/>
                <a:gd name="T76" fmla="*/ 137 w 141"/>
                <a:gd name="T77" fmla="*/ 57 h 114"/>
                <a:gd name="T78" fmla="*/ 134 w 141"/>
                <a:gd name="T79" fmla="*/ 51 h 114"/>
                <a:gd name="T80" fmla="*/ 130 w 141"/>
                <a:gd name="T81" fmla="*/ 46 h 114"/>
                <a:gd name="T82" fmla="*/ 130 w 141"/>
                <a:gd name="T83" fmla="*/ 46 h 114"/>
                <a:gd name="T84" fmla="*/ 121 w 141"/>
                <a:gd name="T85" fmla="*/ 35 h 114"/>
                <a:gd name="T86" fmla="*/ 110 w 141"/>
                <a:gd name="T87" fmla="*/ 25 h 114"/>
                <a:gd name="T88" fmla="*/ 98 w 141"/>
                <a:gd name="T89" fmla="*/ 17 h 114"/>
                <a:gd name="T90" fmla="*/ 84 w 141"/>
                <a:gd name="T91" fmla="*/ 10 h 114"/>
                <a:gd name="T92" fmla="*/ 70 w 141"/>
                <a:gd name="T93" fmla="*/ 5 h 114"/>
                <a:gd name="T94" fmla="*/ 56 w 141"/>
                <a:gd name="T95" fmla="*/ 1 h 114"/>
                <a:gd name="T96" fmla="*/ 42 w 141"/>
                <a:gd name="T97" fmla="*/ 0 h 114"/>
                <a:gd name="T98" fmla="*/ 36 w 141"/>
                <a:gd name="T99" fmla="*/ 0 h 114"/>
                <a:gd name="T100" fmla="*/ 29 w 141"/>
                <a:gd name="T101" fmla="*/ 1 h 114"/>
                <a:gd name="T102" fmla="*/ 29 w 141"/>
                <a:gd name="T103" fmla="*/ 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1" h="114">
                  <a:moveTo>
                    <a:pt x="29" y="1"/>
                  </a:moveTo>
                  <a:lnTo>
                    <a:pt x="29" y="1"/>
                  </a:lnTo>
                  <a:lnTo>
                    <a:pt x="23" y="3"/>
                  </a:lnTo>
                  <a:lnTo>
                    <a:pt x="18" y="5"/>
                  </a:lnTo>
                  <a:lnTo>
                    <a:pt x="13" y="7"/>
                  </a:lnTo>
                  <a:lnTo>
                    <a:pt x="9" y="10"/>
                  </a:lnTo>
                  <a:lnTo>
                    <a:pt x="6" y="14"/>
                  </a:lnTo>
                  <a:lnTo>
                    <a:pt x="3" y="18"/>
                  </a:lnTo>
                  <a:lnTo>
                    <a:pt x="2" y="22"/>
                  </a:lnTo>
                  <a:lnTo>
                    <a:pt x="1" y="27"/>
                  </a:lnTo>
                  <a:lnTo>
                    <a:pt x="0" y="32"/>
                  </a:lnTo>
                  <a:lnTo>
                    <a:pt x="0" y="37"/>
                  </a:lnTo>
                  <a:lnTo>
                    <a:pt x="3" y="48"/>
                  </a:lnTo>
                  <a:lnTo>
                    <a:pt x="7" y="60"/>
                  </a:lnTo>
                  <a:lnTo>
                    <a:pt x="14" y="71"/>
                  </a:lnTo>
                  <a:lnTo>
                    <a:pt x="14" y="71"/>
                  </a:lnTo>
                  <a:lnTo>
                    <a:pt x="23" y="82"/>
                  </a:lnTo>
                  <a:lnTo>
                    <a:pt x="33" y="91"/>
                  </a:lnTo>
                  <a:lnTo>
                    <a:pt x="44" y="99"/>
                  </a:lnTo>
                  <a:lnTo>
                    <a:pt x="55" y="105"/>
                  </a:lnTo>
                  <a:lnTo>
                    <a:pt x="68" y="110"/>
                  </a:lnTo>
                  <a:lnTo>
                    <a:pt x="80" y="113"/>
                  </a:lnTo>
                  <a:lnTo>
                    <a:pt x="93" y="114"/>
                  </a:lnTo>
                  <a:lnTo>
                    <a:pt x="106" y="112"/>
                  </a:lnTo>
                  <a:lnTo>
                    <a:pt x="106" y="112"/>
                  </a:lnTo>
                  <a:lnTo>
                    <a:pt x="112" y="111"/>
                  </a:lnTo>
                  <a:lnTo>
                    <a:pt x="118" y="109"/>
                  </a:lnTo>
                  <a:lnTo>
                    <a:pt x="123" y="107"/>
                  </a:lnTo>
                  <a:lnTo>
                    <a:pt x="128" y="104"/>
                  </a:lnTo>
                  <a:lnTo>
                    <a:pt x="131" y="100"/>
                  </a:lnTo>
                  <a:lnTo>
                    <a:pt x="135" y="97"/>
                  </a:lnTo>
                  <a:lnTo>
                    <a:pt x="137" y="93"/>
                  </a:lnTo>
                  <a:lnTo>
                    <a:pt x="139" y="88"/>
                  </a:lnTo>
                  <a:lnTo>
                    <a:pt x="140" y="84"/>
                  </a:lnTo>
                  <a:lnTo>
                    <a:pt x="141" y="79"/>
                  </a:lnTo>
                  <a:lnTo>
                    <a:pt x="141" y="74"/>
                  </a:lnTo>
                  <a:lnTo>
                    <a:pt x="140" y="68"/>
                  </a:lnTo>
                  <a:lnTo>
                    <a:pt x="139" y="63"/>
                  </a:lnTo>
                  <a:lnTo>
                    <a:pt x="137" y="57"/>
                  </a:lnTo>
                  <a:lnTo>
                    <a:pt x="134" y="51"/>
                  </a:lnTo>
                  <a:lnTo>
                    <a:pt x="130" y="46"/>
                  </a:lnTo>
                  <a:lnTo>
                    <a:pt x="130" y="46"/>
                  </a:lnTo>
                  <a:lnTo>
                    <a:pt x="121" y="35"/>
                  </a:lnTo>
                  <a:lnTo>
                    <a:pt x="110" y="25"/>
                  </a:lnTo>
                  <a:lnTo>
                    <a:pt x="98" y="17"/>
                  </a:lnTo>
                  <a:lnTo>
                    <a:pt x="84" y="10"/>
                  </a:lnTo>
                  <a:lnTo>
                    <a:pt x="70" y="5"/>
                  </a:lnTo>
                  <a:lnTo>
                    <a:pt x="56" y="1"/>
                  </a:lnTo>
                  <a:lnTo>
                    <a:pt x="42" y="0"/>
                  </a:lnTo>
                  <a:lnTo>
                    <a:pt x="36" y="0"/>
                  </a:lnTo>
                  <a:lnTo>
                    <a:pt x="29" y="1"/>
                  </a:lnTo>
                  <a:lnTo>
                    <a:pt x="29" y="1"/>
                  </a:lnTo>
                  <a:close/>
                </a:path>
              </a:pathLst>
            </a:custGeom>
            <a:solidFill>
              <a:srgbClr val="DEB99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83" name="Freeform 1138"/>
            <p:cNvSpPr/>
            <p:nvPr/>
          </p:nvSpPr>
          <p:spPr bwMode="auto">
            <a:xfrm>
              <a:off x="531459" y="2576960"/>
              <a:ext cx="98876" cy="383145"/>
            </a:xfrm>
            <a:custGeom>
              <a:avLst/>
              <a:gdLst>
                <a:gd name="T0" fmla="*/ 11 w 50"/>
                <a:gd name="T1" fmla="*/ 0 h 187"/>
                <a:gd name="T2" fmla="*/ 11 w 50"/>
                <a:gd name="T3" fmla="*/ 0 h 187"/>
                <a:gd name="T4" fmla="*/ 8 w 50"/>
                <a:gd name="T5" fmla="*/ 1 h 187"/>
                <a:gd name="T6" fmla="*/ 6 w 50"/>
                <a:gd name="T7" fmla="*/ 1 h 187"/>
                <a:gd name="T8" fmla="*/ 5 w 50"/>
                <a:gd name="T9" fmla="*/ 3 h 187"/>
                <a:gd name="T10" fmla="*/ 4 w 50"/>
                <a:gd name="T11" fmla="*/ 5 h 187"/>
                <a:gd name="T12" fmla="*/ 3 w 50"/>
                <a:gd name="T13" fmla="*/ 9 h 187"/>
                <a:gd name="T14" fmla="*/ 3 w 50"/>
                <a:gd name="T15" fmla="*/ 14 h 187"/>
                <a:gd name="T16" fmla="*/ 0 w 50"/>
                <a:gd name="T17" fmla="*/ 154 h 187"/>
                <a:gd name="T18" fmla="*/ 0 w 50"/>
                <a:gd name="T19" fmla="*/ 154 h 187"/>
                <a:gd name="T20" fmla="*/ 0 w 50"/>
                <a:gd name="T21" fmla="*/ 159 h 187"/>
                <a:gd name="T22" fmla="*/ 2 w 50"/>
                <a:gd name="T23" fmla="*/ 165 h 187"/>
                <a:gd name="T24" fmla="*/ 4 w 50"/>
                <a:gd name="T25" fmla="*/ 170 h 187"/>
                <a:gd name="T26" fmla="*/ 7 w 50"/>
                <a:gd name="T27" fmla="*/ 175 h 187"/>
                <a:gd name="T28" fmla="*/ 10 w 50"/>
                <a:gd name="T29" fmla="*/ 180 h 187"/>
                <a:gd name="T30" fmla="*/ 14 w 50"/>
                <a:gd name="T31" fmla="*/ 184 h 187"/>
                <a:gd name="T32" fmla="*/ 19 w 50"/>
                <a:gd name="T33" fmla="*/ 186 h 187"/>
                <a:gd name="T34" fmla="*/ 23 w 50"/>
                <a:gd name="T35" fmla="*/ 187 h 187"/>
                <a:gd name="T36" fmla="*/ 23 w 50"/>
                <a:gd name="T37" fmla="*/ 187 h 187"/>
                <a:gd name="T38" fmla="*/ 28 w 50"/>
                <a:gd name="T39" fmla="*/ 186 h 187"/>
                <a:gd name="T40" fmla="*/ 33 w 50"/>
                <a:gd name="T41" fmla="*/ 185 h 187"/>
                <a:gd name="T42" fmla="*/ 37 w 50"/>
                <a:gd name="T43" fmla="*/ 183 h 187"/>
                <a:gd name="T44" fmla="*/ 41 w 50"/>
                <a:gd name="T45" fmla="*/ 180 h 187"/>
                <a:gd name="T46" fmla="*/ 45 w 50"/>
                <a:gd name="T47" fmla="*/ 176 h 187"/>
                <a:gd name="T48" fmla="*/ 47 w 50"/>
                <a:gd name="T49" fmla="*/ 172 h 187"/>
                <a:gd name="T50" fmla="*/ 49 w 50"/>
                <a:gd name="T51" fmla="*/ 168 h 187"/>
                <a:gd name="T52" fmla="*/ 49 w 50"/>
                <a:gd name="T53" fmla="*/ 163 h 187"/>
                <a:gd name="T54" fmla="*/ 50 w 50"/>
                <a:gd name="T55" fmla="*/ 39 h 187"/>
                <a:gd name="T56" fmla="*/ 50 w 50"/>
                <a:gd name="T57" fmla="*/ 39 h 187"/>
                <a:gd name="T58" fmla="*/ 49 w 50"/>
                <a:gd name="T59" fmla="*/ 32 h 187"/>
                <a:gd name="T60" fmla="*/ 46 w 50"/>
                <a:gd name="T61" fmla="*/ 24 h 187"/>
                <a:gd name="T62" fmla="*/ 42 w 50"/>
                <a:gd name="T63" fmla="*/ 18 h 187"/>
                <a:gd name="T64" fmla="*/ 36 w 50"/>
                <a:gd name="T65" fmla="*/ 12 h 187"/>
                <a:gd name="T66" fmla="*/ 30 w 50"/>
                <a:gd name="T67" fmla="*/ 7 h 187"/>
                <a:gd name="T68" fmla="*/ 24 w 50"/>
                <a:gd name="T69" fmla="*/ 3 h 187"/>
                <a:gd name="T70" fmla="*/ 17 w 50"/>
                <a:gd name="T71" fmla="*/ 1 h 187"/>
                <a:gd name="T72" fmla="*/ 11 w 50"/>
                <a:gd name="T73" fmla="*/ 0 h 187"/>
                <a:gd name="T74" fmla="*/ 11 w 50"/>
                <a:gd name="T7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187">
                  <a:moveTo>
                    <a:pt x="11" y="0"/>
                  </a:moveTo>
                  <a:lnTo>
                    <a:pt x="11" y="0"/>
                  </a:lnTo>
                  <a:lnTo>
                    <a:pt x="8" y="1"/>
                  </a:lnTo>
                  <a:lnTo>
                    <a:pt x="6" y="1"/>
                  </a:lnTo>
                  <a:lnTo>
                    <a:pt x="5" y="3"/>
                  </a:lnTo>
                  <a:lnTo>
                    <a:pt x="4" y="5"/>
                  </a:lnTo>
                  <a:lnTo>
                    <a:pt x="3" y="9"/>
                  </a:lnTo>
                  <a:lnTo>
                    <a:pt x="3" y="14"/>
                  </a:lnTo>
                  <a:lnTo>
                    <a:pt x="0" y="154"/>
                  </a:lnTo>
                  <a:lnTo>
                    <a:pt x="0" y="154"/>
                  </a:lnTo>
                  <a:lnTo>
                    <a:pt x="0" y="159"/>
                  </a:lnTo>
                  <a:lnTo>
                    <a:pt x="2" y="165"/>
                  </a:lnTo>
                  <a:lnTo>
                    <a:pt x="4" y="170"/>
                  </a:lnTo>
                  <a:lnTo>
                    <a:pt x="7" y="175"/>
                  </a:lnTo>
                  <a:lnTo>
                    <a:pt x="10" y="180"/>
                  </a:lnTo>
                  <a:lnTo>
                    <a:pt x="14" y="184"/>
                  </a:lnTo>
                  <a:lnTo>
                    <a:pt x="19" y="186"/>
                  </a:lnTo>
                  <a:lnTo>
                    <a:pt x="23" y="187"/>
                  </a:lnTo>
                  <a:lnTo>
                    <a:pt x="23" y="187"/>
                  </a:lnTo>
                  <a:lnTo>
                    <a:pt x="28" y="186"/>
                  </a:lnTo>
                  <a:lnTo>
                    <a:pt x="33" y="185"/>
                  </a:lnTo>
                  <a:lnTo>
                    <a:pt x="37" y="183"/>
                  </a:lnTo>
                  <a:lnTo>
                    <a:pt x="41" y="180"/>
                  </a:lnTo>
                  <a:lnTo>
                    <a:pt x="45" y="176"/>
                  </a:lnTo>
                  <a:lnTo>
                    <a:pt x="47" y="172"/>
                  </a:lnTo>
                  <a:lnTo>
                    <a:pt x="49" y="168"/>
                  </a:lnTo>
                  <a:lnTo>
                    <a:pt x="49" y="163"/>
                  </a:lnTo>
                  <a:lnTo>
                    <a:pt x="50" y="39"/>
                  </a:lnTo>
                  <a:lnTo>
                    <a:pt x="50" y="39"/>
                  </a:lnTo>
                  <a:lnTo>
                    <a:pt x="49" y="32"/>
                  </a:lnTo>
                  <a:lnTo>
                    <a:pt x="46" y="24"/>
                  </a:lnTo>
                  <a:lnTo>
                    <a:pt x="42" y="18"/>
                  </a:lnTo>
                  <a:lnTo>
                    <a:pt x="36" y="12"/>
                  </a:lnTo>
                  <a:lnTo>
                    <a:pt x="30" y="7"/>
                  </a:lnTo>
                  <a:lnTo>
                    <a:pt x="24" y="3"/>
                  </a:lnTo>
                  <a:lnTo>
                    <a:pt x="17" y="1"/>
                  </a:lnTo>
                  <a:lnTo>
                    <a:pt x="11" y="0"/>
                  </a:lnTo>
                  <a:lnTo>
                    <a:pt x="11" y="0"/>
                  </a:lnTo>
                  <a:close/>
                </a:path>
              </a:pathLst>
            </a:custGeom>
            <a:solidFill>
              <a:srgbClr val="DEB99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84" name="Freeform 1139"/>
            <p:cNvSpPr/>
            <p:nvPr/>
          </p:nvSpPr>
          <p:spPr bwMode="auto">
            <a:xfrm>
              <a:off x="525279" y="2576960"/>
              <a:ext cx="92697" cy="401684"/>
            </a:xfrm>
            <a:custGeom>
              <a:avLst/>
              <a:gdLst>
                <a:gd name="T0" fmla="*/ 14 w 45"/>
                <a:gd name="T1" fmla="*/ 0 h 197"/>
                <a:gd name="T2" fmla="*/ 14 w 45"/>
                <a:gd name="T3" fmla="*/ 0 h 197"/>
                <a:gd name="T4" fmla="*/ 9 w 45"/>
                <a:gd name="T5" fmla="*/ 1 h 197"/>
                <a:gd name="T6" fmla="*/ 5 w 45"/>
                <a:gd name="T7" fmla="*/ 4 h 197"/>
                <a:gd name="T8" fmla="*/ 3 w 45"/>
                <a:gd name="T9" fmla="*/ 8 h 197"/>
                <a:gd name="T10" fmla="*/ 2 w 45"/>
                <a:gd name="T11" fmla="*/ 12 h 197"/>
                <a:gd name="T12" fmla="*/ 0 w 45"/>
                <a:gd name="T13" fmla="*/ 169 h 197"/>
                <a:gd name="T14" fmla="*/ 0 w 45"/>
                <a:gd name="T15" fmla="*/ 169 h 197"/>
                <a:gd name="T16" fmla="*/ 1 w 45"/>
                <a:gd name="T17" fmla="*/ 173 h 197"/>
                <a:gd name="T18" fmla="*/ 2 w 45"/>
                <a:gd name="T19" fmla="*/ 178 h 197"/>
                <a:gd name="T20" fmla="*/ 4 w 45"/>
                <a:gd name="T21" fmla="*/ 183 h 197"/>
                <a:gd name="T22" fmla="*/ 6 w 45"/>
                <a:gd name="T23" fmla="*/ 187 h 197"/>
                <a:gd name="T24" fmla="*/ 10 w 45"/>
                <a:gd name="T25" fmla="*/ 191 h 197"/>
                <a:gd name="T26" fmla="*/ 13 w 45"/>
                <a:gd name="T27" fmla="*/ 194 h 197"/>
                <a:gd name="T28" fmla="*/ 17 w 45"/>
                <a:gd name="T29" fmla="*/ 197 h 197"/>
                <a:gd name="T30" fmla="*/ 21 w 45"/>
                <a:gd name="T31" fmla="*/ 197 h 197"/>
                <a:gd name="T32" fmla="*/ 21 w 45"/>
                <a:gd name="T33" fmla="*/ 197 h 197"/>
                <a:gd name="T34" fmla="*/ 26 w 45"/>
                <a:gd name="T35" fmla="*/ 197 h 197"/>
                <a:gd name="T36" fmla="*/ 30 w 45"/>
                <a:gd name="T37" fmla="*/ 196 h 197"/>
                <a:gd name="T38" fmla="*/ 34 w 45"/>
                <a:gd name="T39" fmla="*/ 194 h 197"/>
                <a:gd name="T40" fmla="*/ 37 w 45"/>
                <a:gd name="T41" fmla="*/ 191 h 197"/>
                <a:gd name="T42" fmla="*/ 40 w 45"/>
                <a:gd name="T43" fmla="*/ 188 h 197"/>
                <a:gd name="T44" fmla="*/ 43 w 45"/>
                <a:gd name="T45" fmla="*/ 184 h 197"/>
                <a:gd name="T46" fmla="*/ 44 w 45"/>
                <a:gd name="T47" fmla="*/ 180 h 197"/>
                <a:gd name="T48" fmla="*/ 45 w 45"/>
                <a:gd name="T49" fmla="*/ 176 h 197"/>
                <a:gd name="T50" fmla="*/ 43 w 45"/>
                <a:gd name="T51" fmla="*/ 34 h 197"/>
                <a:gd name="T52" fmla="*/ 43 w 45"/>
                <a:gd name="T53" fmla="*/ 34 h 197"/>
                <a:gd name="T54" fmla="*/ 43 w 45"/>
                <a:gd name="T55" fmla="*/ 28 h 197"/>
                <a:gd name="T56" fmla="*/ 41 w 45"/>
                <a:gd name="T57" fmla="*/ 21 h 197"/>
                <a:gd name="T58" fmla="*/ 38 w 45"/>
                <a:gd name="T59" fmla="*/ 15 h 197"/>
                <a:gd name="T60" fmla="*/ 34 w 45"/>
                <a:gd name="T61" fmla="*/ 10 h 197"/>
                <a:gd name="T62" fmla="*/ 29 w 45"/>
                <a:gd name="T63" fmla="*/ 6 h 197"/>
                <a:gd name="T64" fmla="*/ 24 w 45"/>
                <a:gd name="T65" fmla="*/ 3 h 197"/>
                <a:gd name="T66" fmla="*/ 19 w 45"/>
                <a:gd name="T67" fmla="*/ 1 h 197"/>
                <a:gd name="T68" fmla="*/ 14 w 45"/>
                <a:gd name="T69" fmla="*/ 0 h 197"/>
                <a:gd name="T70" fmla="*/ 14 w 45"/>
                <a:gd name="T71"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 h="197">
                  <a:moveTo>
                    <a:pt x="14" y="0"/>
                  </a:moveTo>
                  <a:lnTo>
                    <a:pt x="14" y="0"/>
                  </a:lnTo>
                  <a:lnTo>
                    <a:pt x="9" y="1"/>
                  </a:lnTo>
                  <a:lnTo>
                    <a:pt x="5" y="4"/>
                  </a:lnTo>
                  <a:lnTo>
                    <a:pt x="3" y="8"/>
                  </a:lnTo>
                  <a:lnTo>
                    <a:pt x="2" y="12"/>
                  </a:lnTo>
                  <a:lnTo>
                    <a:pt x="0" y="169"/>
                  </a:lnTo>
                  <a:lnTo>
                    <a:pt x="0" y="169"/>
                  </a:lnTo>
                  <a:lnTo>
                    <a:pt x="1" y="173"/>
                  </a:lnTo>
                  <a:lnTo>
                    <a:pt x="2" y="178"/>
                  </a:lnTo>
                  <a:lnTo>
                    <a:pt x="4" y="183"/>
                  </a:lnTo>
                  <a:lnTo>
                    <a:pt x="6" y="187"/>
                  </a:lnTo>
                  <a:lnTo>
                    <a:pt x="10" y="191"/>
                  </a:lnTo>
                  <a:lnTo>
                    <a:pt x="13" y="194"/>
                  </a:lnTo>
                  <a:lnTo>
                    <a:pt x="17" y="197"/>
                  </a:lnTo>
                  <a:lnTo>
                    <a:pt x="21" y="197"/>
                  </a:lnTo>
                  <a:lnTo>
                    <a:pt x="21" y="197"/>
                  </a:lnTo>
                  <a:lnTo>
                    <a:pt x="26" y="197"/>
                  </a:lnTo>
                  <a:lnTo>
                    <a:pt x="30" y="196"/>
                  </a:lnTo>
                  <a:lnTo>
                    <a:pt x="34" y="194"/>
                  </a:lnTo>
                  <a:lnTo>
                    <a:pt x="37" y="191"/>
                  </a:lnTo>
                  <a:lnTo>
                    <a:pt x="40" y="188"/>
                  </a:lnTo>
                  <a:lnTo>
                    <a:pt x="43" y="184"/>
                  </a:lnTo>
                  <a:lnTo>
                    <a:pt x="44" y="180"/>
                  </a:lnTo>
                  <a:lnTo>
                    <a:pt x="45" y="176"/>
                  </a:lnTo>
                  <a:lnTo>
                    <a:pt x="43" y="34"/>
                  </a:lnTo>
                  <a:lnTo>
                    <a:pt x="43" y="34"/>
                  </a:lnTo>
                  <a:lnTo>
                    <a:pt x="43" y="28"/>
                  </a:lnTo>
                  <a:lnTo>
                    <a:pt x="41" y="21"/>
                  </a:lnTo>
                  <a:lnTo>
                    <a:pt x="38" y="15"/>
                  </a:lnTo>
                  <a:lnTo>
                    <a:pt x="34" y="10"/>
                  </a:lnTo>
                  <a:lnTo>
                    <a:pt x="29" y="6"/>
                  </a:lnTo>
                  <a:lnTo>
                    <a:pt x="24" y="3"/>
                  </a:lnTo>
                  <a:lnTo>
                    <a:pt x="19" y="1"/>
                  </a:lnTo>
                  <a:lnTo>
                    <a:pt x="14" y="0"/>
                  </a:lnTo>
                  <a:lnTo>
                    <a:pt x="14" y="0"/>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85" name="Freeform 1140"/>
            <p:cNvSpPr/>
            <p:nvPr/>
          </p:nvSpPr>
          <p:spPr bwMode="auto">
            <a:xfrm>
              <a:off x="525279" y="2879767"/>
              <a:ext cx="296628" cy="265729"/>
            </a:xfrm>
            <a:custGeom>
              <a:avLst/>
              <a:gdLst>
                <a:gd name="T0" fmla="*/ 42 w 146"/>
                <a:gd name="T1" fmla="*/ 1 h 128"/>
                <a:gd name="T2" fmla="*/ 42 w 146"/>
                <a:gd name="T3" fmla="*/ 1 h 128"/>
                <a:gd name="T4" fmla="*/ 35 w 146"/>
                <a:gd name="T5" fmla="*/ 2 h 128"/>
                <a:gd name="T6" fmla="*/ 28 w 146"/>
                <a:gd name="T7" fmla="*/ 3 h 128"/>
                <a:gd name="T8" fmla="*/ 15 w 146"/>
                <a:gd name="T9" fmla="*/ 2 h 128"/>
                <a:gd name="T10" fmla="*/ 9 w 146"/>
                <a:gd name="T11" fmla="*/ 2 h 128"/>
                <a:gd name="T12" fmla="*/ 5 w 146"/>
                <a:gd name="T13" fmla="*/ 3 h 128"/>
                <a:gd name="T14" fmla="*/ 2 w 146"/>
                <a:gd name="T15" fmla="*/ 5 h 128"/>
                <a:gd name="T16" fmla="*/ 1 w 146"/>
                <a:gd name="T17" fmla="*/ 7 h 128"/>
                <a:gd name="T18" fmla="*/ 0 w 146"/>
                <a:gd name="T19" fmla="*/ 9 h 128"/>
                <a:gd name="T20" fmla="*/ 0 w 146"/>
                <a:gd name="T21" fmla="*/ 9 h 128"/>
                <a:gd name="T22" fmla="*/ 1 w 146"/>
                <a:gd name="T23" fmla="*/ 20 h 128"/>
                <a:gd name="T24" fmla="*/ 2 w 146"/>
                <a:gd name="T25" fmla="*/ 33 h 128"/>
                <a:gd name="T26" fmla="*/ 5 w 146"/>
                <a:gd name="T27" fmla="*/ 48 h 128"/>
                <a:gd name="T28" fmla="*/ 7 w 146"/>
                <a:gd name="T29" fmla="*/ 57 h 128"/>
                <a:gd name="T30" fmla="*/ 10 w 146"/>
                <a:gd name="T31" fmla="*/ 66 h 128"/>
                <a:gd name="T32" fmla="*/ 10 w 146"/>
                <a:gd name="T33" fmla="*/ 66 h 128"/>
                <a:gd name="T34" fmla="*/ 15 w 146"/>
                <a:gd name="T35" fmla="*/ 77 h 128"/>
                <a:gd name="T36" fmla="*/ 21 w 146"/>
                <a:gd name="T37" fmla="*/ 86 h 128"/>
                <a:gd name="T38" fmla="*/ 27 w 146"/>
                <a:gd name="T39" fmla="*/ 94 h 128"/>
                <a:gd name="T40" fmla="*/ 33 w 146"/>
                <a:gd name="T41" fmla="*/ 101 h 128"/>
                <a:gd name="T42" fmla="*/ 40 w 146"/>
                <a:gd name="T43" fmla="*/ 108 h 128"/>
                <a:gd name="T44" fmla="*/ 47 w 146"/>
                <a:gd name="T45" fmla="*/ 113 h 128"/>
                <a:gd name="T46" fmla="*/ 54 w 146"/>
                <a:gd name="T47" fmla="*/ 117 h 128"/>
                <a:gd name="T48" fmla="*/ 61 w 146"/>
                <a:gd name="T49" fmla="*/ 121 h 128"/>
                <a:gd name="T50" fmla="*/ 69 w 146"/>
                <a:gd name="T51" fmla="*/ 124 h 128"/>
                <a:gd name="T52" fmla="*/ 76 w 146"/>
                <a:gd name="T53" fmla="*/ 126 h 128"/>
                <a:gd name="T54" fmla="*/ 84 w 146"/>
                <a:gd name="T55" fmla="*/ 127 h 128"/>
                <a:gd name="T56" fmla="*/ 91 w 146"/>
                <a:gd name="T57" fmla="*/ 128 h 128"/>
                <a:gd name="T58" fmla="*/ 105 w 146"/>
                <a:gd name="T59" fmla="*/ 128 h 128"/>
                <a:gd name="T60" fmla="*/ 117 w 146"/>
                <a:gd name="T61" fmla="*/ 126 h 128"/>
                <a:gd name="T62" fmla="*/ 117 w 146"/>
                <a:gd name="T63" fmla="*/ 126 h 128"/>
                <a:gd name="T64" fmla="*/ 123 w 146"/>
                <a:gd name="T65" fmla="*/ 124 h 128"/>
                <a:gd name="T66" fmla="*/ 127 w 146"/>
                <a:gd name="T67" fmla="*/ 122 h 128"/>
                <a:gd name="T68" fmla="*/ 132 w 146"/>
                <a:gd name="T69" fmla="*/ 119 h 128"/>
                <a:gd name="T70" fmla="*/ 136 w 146"/>
                <a:gd name="T71" fmla="*/ 116 h 128"/>
                <a:gd name="T72" fmla="*/ 139 w 146"/>
                <a:gd name="T73" fmla="*/ 111 h 128"/>
                <a:gd name="T74" fmla="*/ 141 w 146"/>
                <a:gd name="T75" fmla="*/ 107 h 128"/>
                <a:gd name="T76" fmla="*/ 144 w 146"/>
                <a:gd name="T77" fmla="*/ 102 h 128"/>
                <a:gd name="T78" fmla="*/ 145 w 146"/>
                <a:gd name="T79" fmla="*/ 97 h 128"/>
                <a:gd name="T80" fmla="*/ 146 w 146"/>
                <a:gd name="T81" fmla="*/ 91 h 128"/>
                <a:gd name="T82" fmla="*/ 146 w 146"/>
                <a:gd name="T83" fmla="*/ 85 h 128"/>
                <a:gd name="T84" fmla="*/ 146 w 146"/>
                <a:gd name="T85" fmla="*/ 79 h 128"/>
                <a:gd name="T86" fmla="*/ 145 w 146"/>
                <a:gd name="T87" fmla="*/ 73 h 128"/>
                <a:gd name="T88" fmla="*/ 143 w 146"/>
                <a:gd name="T89" fmla="*/ 67 h 128"/>
                <a:gd name="T90" fmla="*/ 141 w 146"/>
                <a:gd name="T91" fmla="*/ 61 h 128"/>
                <a:gd name="T92" fmla="*/ 138 w 146"/>
                <a:gd name="T93" fmla="*/ 54 h 128"/>
                <a:gd name="T94" fmla="*/ 134 w 146"/>
                <a:gd name="T95" fmla="*/ 48 h 128"/>
                <a:gd name="T96" fmla="*/ 134 w 146"/>
                <a:gd name="T97" fmla="*/ 48 h 128"/>
                <a:gd name="T98" fmla="*/ 126 w 146"/>
                <a:gd name="T99" fmla="*/ 36 h 128"/>
                <a:gd name="T100" fmla="*/ 115 w 146"/>
                <a:gd name="T101" fmla="*/ 26 h 128"/>
                <a:gd name="T102" fmla="*/ 104 w 146"/>
                <a:gd name="T103" fmla="*/ 17 h 128"/>
                <a:gd name="T104" fmla="*/ 91 w 146"/>
                <a:gd name="T105" fmla="*/ 10 h 128"/>
                <a:gd name="T106" fmla="*/ 79 w 146"/>
                <a:gd name="T107" fmla="*/ 4 h 128"/>
                <a:gd name="T108" fmla="*/ 66 w 146"/>
                <a:gd name="T109" fmla="*/ 1 h 128"/>
                <a:gd name="T110" fmla="*/ 54 w 146"/>
                <a:gd name="T111" fmla="*/ 0 h 128"/>
                <a:gd name="T112" fmla="*/ 48 w 146"/>
                <a:gd name="T113" fmla="*/ 0 h 128"/>
                <a:gd name="T114" fmla="*/ 42 w 146"/>
                <a:gd name="T115" fmla="*/ 1 h 128"/>
                <a:gd name="T116" fmla="*/ 42 w 146"/>
                <a:gd name="T117" fmla="*/ 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6" h="128">
                  <a:moveTo>
                    <a:pt x="42" y="1"/>
                  </a:moveTo>
                  <a:lnTo>
                    <a:pt x="42" y="1"/>
                  </a:lnTo>
                  <a:lnTo>
                    <a:pt x="35" y="2"/>
                  </a:lnTo>
                  <a:lnTo>
                    <a:pt x="28" y="3"/>
                  </a:lnTo>
                  <a:lnTo>
                    <a:pt x="15" y="2"/>
                  </a:lnTo>
                  <a:lnTo>
                    <a:pt x="9" y="2"/>
                  </a:lnTo>
                  <a:lnTo>
                    <a:pt x="5" y="3"/>
                  </a:lnTo>
                  <a:lnTo>
                    <a:pt x="2" y="5"/>
                  </a:lnTo>
                  <a:lnTo>
                    <a:pt x="1" y="7"/>
                  </a:lnTo>
                  <a:lnTo>
                    <a:pt x="0" y="9"/>
                  </a:lnTo>
                  <a:lnTo>
                    <a:pt x="0" y="9"/>
                  </a:lnTo>
                  <a:lnTo>
                    <a:pt x="1" y="20"/>
                  </a:lnTo>
                  <a:lnTo>
                    <a:pt x="2" y="33"/>
                  </a:lnTo>
                  <a:lnTo>
                    <a:pt x="5" y="48"/>
                  </a:lnTo>
                  <a:lnTo>
                    <a:pt x="7" y="57"/>
                  </a:lnTo>
                  <a:lnTo>
                    <a:pt x="10" y="66"/>
                  </a:lnTo>
                  <a:lnTo>
                    <a:pt x="10" y="66"/>
                  </a:lnTo>
                  <a:lnTo>
                    <a:pt x="15" y="77"/>
                  </a:lnTo>
                  <a:lnTo>
                    <a:pt x="21" y="86"/>
                  </a:lnTo>
                  <a:lnTo>
                    <a:pt x="27" y="94"/>
                  </a:lnTo>
                  <a:lnTo>
                    <a:pt x="33" y="101"/>
                  </a:lnTo>
                  <a:lnTo>
                    <a:pt x="40" y="108"/>
                  </a:lnTo>
                  <a:lnTo>
                    <a:pt x="47" y="113"/>
                  </a:lnTo>
                  <a:lnTo>
                    <a:pt x="54" y="117"/>
                  </a:lnTo>
                  <a:lnTo>
                    <a:pt x="61" y="121"/>
                  </a:lnTo>
                  <a:lnTo>
                    <a:pt x="69" y="124"/>
                  </a:lnTo>
                  <a:lnTo>
                    <a:pt x="76" y="126"/>
                  </a:lnTo>
                  <a:lnTo>
                    <a:pt x="84" y="127"/>
                  </a:lnTo>
                  <a:lnTo>
                    <a:pt x="91" y="128"/>
                  </a:lnTo>
                  <a:lnTo>
                    <a:pt x="105" y="128"/>
                  </a:lnTo>
                  <a:lnTo>
                    <a:pt x="117" y="126"/>
                  </a:lnTo>
                  <a:lnTo>
                    <a:pt x="117" y="126"/>
                  </a:lnTo>
                  <a:lnTo>
                    <a:pt x="123" y="124"/>
                  </a:lnTo>
                  <a:lnTo>
                    <a:pt x="127" y="122"/>
                  </a:lnTo>
                  <a:lnTo>
                    <a:pt x="132" y="119"/>
                  </a:lnTo>
                  <a:lnTo>
                    <a:pt x="136" y="116"/>
                  </a:lnTo>
                  <a:lnTo>
                    <a:pt x="139" y="111"/>
                  </a:lnTo>
                  <a:lnTo>
                    <a:pt x="141" y="107"/>
                  </a:lnTo>
                  <a:lnTo>
                    <a:pt x="144" y="102"/>
                  </a:lnTo>
                  <a:lnTo>
                    <a:pt x="145" y="97"/>
                  </a:lnTo>
                  <a:lnTo>
                    <a:pt x="146" y="91"/>
                  </a:lnTo>
                  <a:lnTo>
                    <a:pt x="146" y="85"/>
                  </a:lnTo>
                  <a:lnTo>
                    <a:pt x="146" y="79"/>
                  </a:lnTo>
                  <a:lnTo>
                    <a:pt x="145" y="73"/>
                  </a:lnTo>
                  <a:lnTo>
                    <a:pt x="143" y="67"/>
                  </a:lnTo>
                  <a:lnTo>
                    <a:pt x="141" y="61"/>
                  </a:lnTo>
                  <a:lnTo>
                    <a:pt x="138" y="54"/>
                  </a:lnTo>
                  <a:lnTo>
                    <a:pt x="134" y="48"/>
                  </a:lnTo>
                  <a:lnTo>
                    <a:pt x="134" y="48"/>
                  </a:lnTo>
                  <a:lnTo>
                    <a:pt x="126" y="36"/>
                  </a:lnTo>
                  <a:lnTo>
                    <a:pt x="115" y="26"/>
                  </a:lnTo>
                  <a:lnTo>
                    <a:pt x="104" y="17"/>
                  </a:lnTo>
                  <a:lnTo>
                    <a:pt x="91" y="10"/>
                  </a:lnTo>
                  <a:lnTo>
                    <a:pt x="79" y="4"/>
                  </a:lnTo>
                  <a:lnTo>
                    <a:pt x="66" y="1"/>
                  </a:lnTo>
                  <a:lnTo>
                    <a:pt x="54" y="0"/>
                  </a:lnTo>
                  <a:lnTo>
                    <a:pt x="48" y="0"/>
                  </a:lnTo>
                  <a:lnTo>
                    <a:pt x="42" y="1"/>
                  </a:lnTo>
                  <a:lnTo>
                    <a:pt x="42" y="1"/>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86" name="Freeform 1141"/>
            <p:cNvSpPr/>
            <p:nvPr/>
          </p:nvSpPr>
          <p:spPr bwMode="auto">
            <a:xfrm>
              <a:off x="525279" y="2583139"/>
              <a:ext cx="43258" cy="80336"/>
            </a:xfrm>
            <a:custGeom>
              <a:avLst/>
              <a:gdLst>
                <a:gd name="T0" fmla="*/ 3 w 21"/>
                <a:gd name="T1" fmla="*/ 0 h 39"/>
                <a:gd name="T2" fmla="*/ 3 w 21"/>
                <a:gd name="T3" fmla="*/ 0 h 39"/>
                <a:gd name="T4" fmla="*/ 1 w 21"/>
                <a:gd name="T5" fmla="*/ 3 h 39"/>
                <a:gd name="T6" fmla="*/ 1 w 21"/>
                <a:gd name="T7" fmla="*/ 7 h 39"/>
                <a:gd name="T8" fmla="*/ 0 w 21"/>
                <a:gd name="T9" fmla="*/ 39 h 39"/>
                <a:gd name="T10" fmla="*/ 0 w 21"/>
                <a:gd name="T11" fmla="*/ 39 h 39"/>
                <a:gd name="T12" fmla="*/ 11 w 21"/>
                <a:gd name="T13" fmla="*/ 36 h 39"/>
                <a:gd name="T14" fmla="*/ 21 w 21"/>
                <a:gd name="T15" fmla="*/ 31 h 39"/>
                <a:gd name="T16" fmla="*/ 21 w 21"/>
                <a:gd name="T17" fmla="*/ 31 h 39"/>
                <a:gd name="T18" fmla="*/ 21 w 21"/>
                <a:gd name="T19" fmla="*/ 21 h 39"/>
                <a:gd name="T20" fmla="*/ 19 w 21"/>
                <a:gd name="T21" fmla="*/ 15 h 39"/>
                <a:gd name="T22" fmla="*/ 18 w 21"/>
                <a:gd name="T23" fmla="*/ 10 h 39"/>
                <a:gd name="T24" fmla="*/ 15 w 21"/>
                <a:gd name="T25" fmla="*/ 5 h 39"/>
                <a:gd name="T26" fmla="*/ 12 w 21"/>
                <a:gd name="T27" fmla="*/ 2 h 39"/>
                <a:gd name="T28" fmla="*/ 8 w 21"/>
                <a:gd name="T29" fmla="*/ 0 h 39"/>
                <a:gd name="T30" fmla="*/ 3 w 21"/>
                <a:gd name="T31" fmla="*/ 0 h 39"/>
                <a:gd name="T32" fmla="*/ 3 w 21"/>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9">
                  <a:moveTo>
                    <a:pt x="3" y="0"/>
                  </a:moveTo>
                  <a:lnTo>
                    <a:pt x="3" y="0"/>
                  </a:lnTo>
                  <a:lnTo>
                    <a:pt x="1" y="3"/>
                  </a:lnTo>
                  <a:lnTo>
                    <a:pt x="1" y="7"/>
                  </a:lnTo>
                  <a:lnTo>
                    <a:pt x="0" y="39"/>
                  </a:lnTo>
                  <a:lnTo>
                    <a:pt x="0" y="39"/>
                  </a:lnTo>
                  <a:lnTo>
                    <a:pt x="11" y="36"/>
                  </a:lnTo>
                  <a:lnTo>
                    <a:pt x="21" y="31"/>
                  </a:lnTo>
                  <a:lnTo>
                    <a:pt x="21" y="31"/>
                  </a:lnTo>
                  <a:lnTo>
                    <a:pt x="21" y="21"/>
                  </a:lnTo>
                  <a:lnTo>
                    <a:pt x="19" y="15"/>
                  </a:lnTo>
                  <a:lnTo>
                    <a:pt x="18" y="10"/>
                  </a:lnTo>
                  <a:lnTo>
                    <a:pt x="15" y="5"/>
                  </a:lnTo>
                  <a:lnTo>
                    <a:pt x="12" y="2"/>
                  </a:lnTo>
                  <a:lnTo>
                    <a:pt x="8" y="0"/>
                  </a:lnTo>
                  <a:lnTo>
                    <a:pt x="3" y="0"/>
                  </a:lnTo>
                  <a:lnTo>
                    <a:pt x="3" y="0"/>
                  </a:lnTo>
                  <a:close/>
                </a:path>
              </a:pathLst>
            </a:custGeom>
            <a:solidFill>
              <a:srgbClr val="FFEBD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grpSp>
      <p:grpSp>
        <p:nvGrpSpPr>
          <p:cNvPr id="87" name="Group 86"/>
          <p:cNvGrpSpPr/>
          <p:nvPr/>
        </p:nvGrpSpPr>
        <p:grpSpPr>
          <a:xfrm>
            <a:off x="2803967" y="2152536"/>
            <a:ext cx="459788" cy="648894"/>
            <a:chOff x="5666838" y="3782012"/>
            <a:chExt cx="766290" cy="1081457"/>
          </a:xfrm>
        </p:grpSpPr>
        <p:sp>
          <p:nvSpPr>
            <p:cNvPr id="88" name="Freeform 1236"/>
            <p:cNvSpPr/>
            <p:nvPr/>
          </p:nvSpPr>
          <p:spPr bwMode="auto">
            <a:xfrm>
              <a:off x="5666838" y="3782012"/>
              <a:ext cx="766290" cy="1081457"/>
            </a:xfrm>
            <a:custGeom>
              <a:avLst/>
              <a:gdLst>
                <a:gd name="T0" fmla="*/ 77 w 372"/>
                <a:gd name="T1" fmla="*/ 0 h 525"/>
                <a:gd name="T2" fmla="*/ 295 w 372"/>
                <a:gd name="T3" fmla="*/ 0 h 525"/>
                <a:gd name="T4" fmla="*/ 295 w 372"/>
                <a:gd name="T5" fmla="*/ 0 h 525"/>
                <a:gd name="T6" fmla="*/ 310 w 372"/>
                <a:gd name="T7" fmla="*/ 1 h 525"/>
                <a:gd name="T8" fmla="*/ 325 w 372"/>
                <a:gd name="T9" fmla="*/ 5 h 525"/>
                <a:gd name="T10" fmla="*/ 338 w 372"/>
                <a:gd name="T11" fmla="*/ 10 h 525"/>
                <a:gd name="T12" fmla="*/ 349 w 372"/>
                <a:gd name="T13" fmla="*/ 16 h 525"/>
                <a:gd name="T14" fmla="*/ 358 w 372"/>
                <a:gd name="T15" fmla="*/ 24 h 525"/>
                <a:gd name="T16" fmla="*/ 362 w 372"/>
                <a:gd name="T17" fmla="*/ 29 h 525"/>
                <a:gd name="T18" fmla="*/ 366 w 372"/>
                <a:gd name="T19" fmla="*/ 34 h 525"/>
                <a:gd name="T20" fmla="*/ 368 w 372"/>
                <a:gd name="T21" fmla="*/ 39 h 525"/>
                <a:gd name="T22" fmla="*/ 370 w 372"/>
                <a:gd name="T23" fmla="*/ 44 h 525"/>
                <a:gd name="T24" fmla="*/ 371 w 372"/>
                <a:gd name="T25" fmla="*/ 49 h 525"/>
                <a:gd name="T26" fmla="*/ 372 w 372"/>
                <a:gd name="T27" fmla="*/ 55 h 525"/>
                <a:gd name="T28" fmla="*/ 372 w 372"/>
                <a:gd name="T29" fmla="*/ 470 h 525"/>
                <a:gd name="T30" fmla="*/ 372 w 372"/>
                <a:gd name="T31" fmla="*/ 470 h 525"/>
                <a:gd name="T32" fmla="*/ 371 w 372"/>
                <a:gd name="T33" fmla="*/ 476 h 525"/>
                <a:gd name="T34" fmla="*/ 370 w 372"/>
                <a:gd name="T35" fmla="*/ 481 h 525"/>
                <a:gd name="T36" fmla="*/ 368 w 372"/>
                <a:gd name="T37" fmla="*/ 486 h 525"/>
                <a:gd name="T38" fmla="*/ 366 w 372"/>
                <a:gd name="T39" fmla="*/ 491 h 525"/>
                <a:gd name="T40" fmla="*/ 362 w 372"/>
                <a:gd name="T41" fmla="*/ 496 h 525"/>
                <a:gd name="T42" fmla="*/ 358 w 372"/>
                <a:gd name="T43" fmla="*/ 501 h 525"/>
                <a:gd name="T44" fmla="*/ 349 w 372"/>
                <a:gd name="T45" fmla="*/ 509 h 525"/>
                <a:gd name="T46" fmla="*/ 338 w 372"/>
                <a:gd name="T47" fmla="*/ 515 h 525"/>
                <a:gd name="T48" fmla="*/ 325 w 372"/>
                <a:gd name="T49" fmla="*/ 520 h 525"/>
                <a:gd name="T50" fmla="*/ 310 w 372"/>
                <a:gd name="T51" fmla="*/ 524 h 525"/>
                <a:gd name="T52" fmla="*/ 295 w 372"/>
                <a:gd name="T53" fmla="*/ 525 h 525"/>
                <a:gd name="T54" fmla="*/ 77 w 372"/>
                <a:gd name="T55" fmla="*/ 525 h 525"/>
                <a:gd name="T56" fmla="*/ 77 w 372"/>
                <a:gd name="T57" fmla="*/ 525 h 525"/>
                <a:gd name="T58" fmla="*/ 62 w 372"/>
                <a:gd name="T59" fmla="*/ 524 h 525"/>
                <a:gd name="T60" fmla="*/ 47 w 372"/>
                <a:gd name="T61" fmla="*/ 520 h 525"/>
                <a:gd name="T62" fmla="*/ 34 w 372"/>
                <a:gd name="T63" fmla="*/ 515 h 525"/>
                <a:gd name="T64" fmla="*/ 23 w 372"/>
                <a:gd name="T65" fmla="*/ 509 h 525"/>
                <a:gd name="T66" fmla="*/ 13 w 372"/>
                <a:gd name="T67" fmla="*/ 501 h 525"/>
                <a:gd name="T68" fmla="*/ 10 w 372"/>
                <a:gd name="T69" fmla="*/ 496 h 525"/>
                <a:gd name="T70" fmla="*/ 6 w 372"/>
                <a:gd name="T71" fmla="*/ 491 h 525"/>
                <a:gd name="T72" fmla="*/ 4 w 372"/>
                <a:gd name="T73" fmla="*/ 486 h 525"/>
                <a:gd name="T74" fmla="*/ 2 w 372"/>
                <a:gd name="T75" fmla="*/ 481 h 525"/>
                <a:gd name="T76" fmla="*/ 1 w 372"/>
                <a:gd name="T77" fmla="*/ 476 h 525"/>
                <a:gd name="T78" fmla="*/ 0 w 372"/>
                <a:gd name="T79" fmla="*/ 470 h 525"/>
                <a:gd name="T80" fmla="*/ 0 w 372"/>
                <a:gd name="T81" fmla="*/ 55 h 525"/>
                <a:gd name="T82" fmla="*/ 0 w 372"/>
                <a:gd name="T83" fmla="*/ 55 h 525"/>
                <a:gd name="T84" fmla="*/ 1 w 372"/>
                <a:gd name="T85" fmla="*/ 49 h 525"/>
                <a:gd name="T86" fmla="*/ 2 w 372"/>
                <a:gd name="T87" fmla="*/ 44 h 525"/>
                <a:gd name="T88" fmla="*/ 4 w 372"/>
                <a:gd name="T89" fmla="*/ 39 h 525"/>
                <a:gd name="T90" fmla="*/ 6 w 372"/>
                <a:gd name="T91" fmla="*/ 34 h 525"/>
                <a:gd name="T92" fmla="*/ 10 w 372"/>
                <a:gd name="T93" fmla="*/ 29 h 525"/>
                <a:gd name="T94" fmla="*/ 13 w 372"/>
                <a:gd name="T95" fmla="*/ 24 h 525"/>
                <a:gd name="T96" fmla="*/ 23 w 372"/>
                <a:gd name="T97" fmla="*/ 16 h 525"/>
                <a:gd name="T98" fmla="*/ 34 w 372"/>
                <a:gd name="T99" fmla="*/ 10 h 525"/>
                <a:gd name="T100" fmla="*/ 47 w 372"/>
                <a:gd name="T101" fmla="*/ 5 h 525"/>
                <a:gd name="T102" fmla="*/ 62 w 372"/>
                <a:gd name="T103" fmla="*/ 1 h 525"/>
                <a:gd name="T104" fmla="*/ 77 w 372"/>
                <a:gd name="T105" fmla="*/ 0 h 525"/>
                <a:gd name="T106" fmla="*/ 77 w 372"/>
                <a:gd name="T107"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2" h="525">
                  <a:moveTo>
                    <a:pt x="77" y="0"/>
                  </a:moveTo>
                  <a:lnTo>
                    <a:pt x="295" y="0"/>
                  </a:lnTo>
                  <a:lnTo>
                    <a:pt x="295" y="0"/>
                  </a:lnTo>
                  <a:lnTo>
                    <a:pt x="310" y="1"/>
                  </a:lnTo>
                  <a:lnTo>
                    <a:pt x="325" y="5"/>
                  </a:lnTo>
                  <a:lnTo>
                    <a:pt x="338" y="10"/>
                  </a:lnTo>
                  <a:lnTo>
                    <a:pt x="349" y="16"/>
                  </a:lnTo>
                  <a:lnTo>
                    <a:pt x="358" y="24"/>
                  </a:lnTo>
                  <a:lnTo>
                    <a:pt x="362" y="29"/>
                  </a:lnTo>
                  <a:lnTo>
                    <a:pt x="366" y="34"/>
                  </a:lnTo>
                  <a:lnTo>
                    <a:pt x="368" y="39"/>
                  </a:lnTo>
                  <a:lnTo>
                    <a:pt x="370" y="44"/>
                  </a:lnTo>
                  <a:lnTo>
                    <a:pt x="371" y="49"/>
                  </a:lnTo>
                  <a:lnTo>
                    <a:pt x="372" y="55"/>
                  </a:lnTo>
                  <a:lnTo>
                    <a:pt x="372" y="470"/>
                  </a:lnTo>
                  <a:lnTo>
                    <a:pt x="372" y="470"/>
                  </a:lnTo>
                  <a:lnTo>
                    <a:pt x="371" y="476"/>
                  </a:lnTo>
                  <a:lnTo>
                    <a:pt x="370" y="481"/>
                  </a:lnTo>
                  <a:lnTo>
                    <a:pt x="368" y="486"/>
                  </a:lnTo>
                  <a:lnTo>
                    <a:pt x="366" y="491"/>
                  </a:lnTo>
                  <a:lnTo>
                    <a:pt x="362" y="496"/>
                  </a:lnTo>
                  <a:lnTo>
                    <a:pt x="358" y="501"/>
                  </a:lnTo>
                  <a:lnTo>
                    <a:pt x="349" y="509"/>
                  </a:lnTo>
                  <a:lnTo>
                    <a:pt x="338" y="515"/>
                  </a:lnTo>
                  <a:lnTo>
                    <a:pt x="325" y="520"/>
                  </a:lnTo>
                  <a:lnTo>
                    <a:pt x="310" y="524"/>
                  </a:lnTo>
                  <a:lnTo>
                    <a:pt x="295" y="525"/>
                  </a:lnTo>
                  <a:lnTo>
                    <a:pt x="77" y="525"/>
                  </a:lnTo>
                  <a:lnTo>
                    <a:pt x="77" y="525"/>
                  </a:lnTo>
                  <a:lnTo>
                    <a:pt x="62" y="524"/>
                  </a:lnTo>
                  <a:lnTo>
                    <a:pt x="47" y="520"/>
                  </a:lnTo>
                  <a:lnTo>
                    <a:pt x="34" y="515"/>
                  </a:lnTo>
                  <a:lnTo>
                    <a:pt x="23" y="509"/>
                  </a:lnTo>
                  <a:lnTo>
                    <a:pt x="13" y="501"/>
                  </a:lnTo>
                  <a:lnTo>
                    <a:pt x="10" y="496"/>
                  </a:lnTo>
                  <a:lnTo>
                    <a:pt x="6" y="491"/>
                  </a:lnTo>
                  <a:lnTo>
                    <a:pt x="4" y="486"/>
                  </a:lnTo>
                  <a:lnTo>
                    <a:pt x="2" y="481"/>
                  </a:lnTo>
                  <a:lnTo>
                    <a:pt x="1" y="476"/>
                  </a:lnTo>
                  <a:lnTo>
                    <a:pt x="0" y="470"/>
                  </a:lnTo>
                  <a:lnTo>
                    <a:pt x="0" y="55"/>
                  </a:lnTo>
                  <a:lnTo>
                    <a:pt x="0" y="55"/>
                  </a:lnTo>
                  <a:lnTo>
                    <a:pt x="1" y="49"/>
                  </a:lnTo>
                  <a:lnTo>
                    <a:pt x="2" y="44"/>
                  </a:lnTo>
                  <a:lnTo>
                    <a:pt x="4" y="39"/>
                  </a:lnTo>
                  <a:lnTo>
                    <a:pt x="6" y="34"/>
                  </a:lnTo>
                  <a:lnTo>
                    <a:pt x="10" y="29"/>
                  </a:lnTo>
                  <a:lnTo>
                    <a:pt x="13" y="24"/>
                  </a:lnTo>
                  <a:lnTo>
                    <a:pt x="23" y="16"/>
                  </a:lnTo>
                  <a:lnTo>
                    <a:pt x="34" y="10"/>
                  </a:lnTo>
                  <a:lnTo>
                    <a:pt x="47" y="5"/>
                  </a:lnTo>
                  <a:lnTo>
                    <a:pt x="62" y="1"/>
                  </a:lnTo>
                  <a:lnTo>
                    <a:pt x="77" y="0"/>
                  </a:lnTo>
                  <a:lnTo>
                    <a:pt x="77" y="0"/>
                  </a:lnTo>
                  <a:close/>
                </a:path>
              </a:pathLst>
            </a:custGeom>
            <a:solidFill>
              <a:srgbClr val="004E78"/>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89" name="Freeform 1237"/>
            <p:cNvSpPr/>
            <p:nvPr/>
          </p:nvSpPr>
          <p:spPr bwMode="auto">
            <a:xfrm>
              <a:off x="5710097" y="3874709"/>
              <a:ext cx="673594" cy="889885"/>
            </a:xfrm>
            <a:custGeom>
              <a:avLst/>
              <a:gdLst>
                <a:gd name="T0" fmla="*/ 1 w 326"/>
                <a:gd name="T1" fmla="*/ 0 h 433"/>
                <a:gd name="T2" fmla="*/ 325 w 326"/>
                <a:gd name="T3" fmla="*/ 0 h 433"/>
                <a:gd name="T4" fmla="*/ 325 w 326"/>
                <a:gd name="T5" fmla="*/ 0 h 433"/>
                <a:gd name="T6" fmla="*/ 326 w 326"/>
                <a:gd name="T7" fmla="*/ 1 h 433"/>
                <a:gd name="T8" fmla="*/ 326 w 326"/>
                <a:gd name="T9" fmla="*/ 432 h 433"/>
                <a:gd name="T10" fmla="*/ 326 w 326"/>
                <a:gd name="T11" fmla="*/ 432 h 433"/>
                <a:gd name="T12" fmla="*/ 325 w 326"/>
                <a:gd name="T13" fmla="*/ 433 h 433"/>
                <a:gd name="T14" fmla="*/ 1 w 326"/>
                <a:gd name="T15" fmla="*/ 433 h 433"/>
                <a:gd name="T16" fmla="*/ 1 w 326"/>
                <a:gd name="T17" fmla="*/ 433 h 433"/>
                <a:gd name="T18" fmla="*/ 0 w 326"/>
                <a:gd name="T19" fmla="*/ 432 h 433"/>
                <a:gd name="T20" fmla="*/ 0 w 326"/>
                <a:gd name="T21" fmla="*/ 1 h 433"/>
                <a:gd name="T22" fmla="*/ 0 w 326"/>
                <a:gd name="T23" fmla="*/ 1 h 433"/>
                <a:gd name="T24" fmla="*/ 1 w 326"/>
                <a:gd name="T25" fmla="*/ 0 h 433"/>
                <a:gd name="T26" fmla="*/ 1 w 326"/>
                <a:gd name="T27"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 h="433">
                  <a:moveTo>
                    <a:pt x="1" y="0"/>
                  </a:moveTo>
                  <a:lnTo>
                    <a:pt x="325" y="0"/>
                  </a:lnTo>
                  <a:lnTo>
                    <a:pt x="325" y="0"/>
                  </a:lnTo>
                  <a:lnTo>
                    <a:pt x="326" y="1"/>
                  </a:lnTo>
                  <a:lnTo>
                    <a:pt x="326" y="432"/>
                  </a:lnTo>
                  <a:lnTo>
                    <a:pt x="326" y="432"/>
                  </a:lnTo>
                  <a:lnTo>
                    <a:pt x="325" y="433"/>
                  </a:lnTo>
                  <a:lnTo>
                    <a:pt x="1" y="433"/>
                  </a:lnTo>
                  <a:lnTo>
                    <a:pt x="1" y="433"/>
                  </a:lnTo>
                  <a:lnTo>
                    <a:pt x="0" y="432"/>
                  </a:lnTo>
                  <a:lnTo>
                    <a:pt x="0" y="1"/>
                  </a:lnTo>
                  <a:lnTo>
                    <a:pt x="0" y="1"/>
                  </a:lnTo>
                  <a:lnTo>
                    <a:pt x="1" y="0"/>
                  </a:ln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90" name="Freeform 1238"/>
            <p:cNvSpPr/>
            <p:nvPr/>
          </p:nvSpPr>
          <p:spPr bwMode="auto">
            <a:xfrm>
              <a:off x="5957287" y="3806732"/>
              <a:ext cx="179214" cy="18540"/>
            </a:xfrm>
            <a:custGeom>
              <a:avLst/>
              <a:gdLst>
                <a:gd name="T0" fmla="*/ 4 w 88"/>
                <a:gd name="T1" fmla="*/ 0 h 8"/>
                <a:gd name="T2" fmla="*/ 84 w 88"/>
                <a:gd name="T3" fmla="*/ 0 h 8"/>
                <a:gd name="T4" fmla="*/ 84 w 88"/>
                <a:gd name="T5" fmla="*/ 0 h 8"/>
                <a:gd name="T6" fmla="*/ 86 w 88"/>
                <a:gd name="T7" fmla="*/ 0 h 8"/>
                <a:gd name="T8" fmla="*/ 87 w 88"/>
                <a:gd name="T9" fmla="*/ 1 h 8"/>
                <a:gd name="T10" fmla="*/ 88 w 88"/>
                <a:gd name="T11" fmla="*/ 3 h 8"/>
                <a:gd name="T12" fmla="*/ 88 w 88"/>
                <a:gd name="T13" fmla="*/ 4 h 8"/>
                <a:gd name="T14" fmla="*/ 88 w 88"/>
                <a:gd name="T15" fmla="*/ 4 h 8"/>
                <a:gd name="T16" fmla="*/ 88 w 88"/>
                <a:gd name="T17" fmla="*/ 4 h 8"/>
                <a:gd name="T18" fmla="*/ 88 w 88"/>
                <a:gd name="T19" fmla="*/ 6 h 8"/>
                <a:gd name="T20" fmla="*/ 87 w 88"/>
                <a:gd name="T21" fmla="*/ 7 h 8"/>
                <a:gd name="T22" fmla="*/ 86 w 88"/>
                <a:gd name="T23" fmla="*/ 8 h 8"/>
                <a:gd name="T24" fmla="*/ 84 w 88"/>
                <a:gd name="T25" fmla="*/ 8 h 8"/>
                <a:gd name="T26" fmla="*/ 4 w 88"/>
                <a:gd name="T27" fmla="*/ 8 h 8"/>
                <a:gd name="T28" fmla="*/ 4 w 88"/>
                <a:gd name="T29" fmla="*/ 8 h 8"/>
                <a:gd name="T30" fmla="*/ 2 w 88"/>
                <a:gd name="T31" fmla="*/ 8 h 8"/>
                <a:gd name="T32" fmla="*/ 1 w 88"/>
                <a:gd name="T33" fmla="*/ 7 h 8"/>
                <a:gd name="T34" fmla="*/ 0 w 88"/>
                <a:gd name="T35" fmla="*/ 6 h 8"/>
                <a:gd name="T36" fmla="*/ 0 w 88"/>
                <a:gd name="T37" fmla="*/ 4 h 8"/>
                <a:gd name="T38" fmla="*/ 0 w 88"/>
                <a:gd name="T39" fmla="*/ 4 h 8"/>
                <a:gd name="T40" fmla="*/ 0 w 88"/>
                <a:gd name="T41" fmla="*/ 4 h 8"/>
                <a:gd name="T42" fmla="*/ 0 w 88"/>
                <a:gd name="T43" fmla="*/ 3 h 8"/>
                <a:gd name="T44" fmla="*/ 1 w 88"/>
                <a:gd name="T45" fmla="*/ 1 h 8"/>
                <a:gd name="T46" fmla="*/ 2 w 88"/>
                <a:gd name="T47" fmla="*/ 0 h 8"/>
                <a:gd name="T48" fmla="*/ 4 w 88"/>
                <a:gd name="T49" fmla="*/ 0 h 8"/>
                <a:gd name="T50" fmla="*/ 4 w 88"/>
                <a:gd name="T5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8" h="8">
                  <a:moveTo>
                    <a:pt x="4" y="0"/>
                  </a:moveTo>
                  <a:lnTo>
                    <a:pt x="84" y="0"/>
                  </a:lnTo>
                  <a:lnTo>
                    <a:pt x="84" y="0"/>
                  </a:lnTo>
                  <a:lnTo>
                    <a:pt x="86" y="0"/>
                  </a:lnTo>
                  <a:lnTo>
                    <a:pt x="87" y="1"/>
                  </a:lnTo>
                  <a:lnTo>
                    <a:pt x="88" y="3"/>
                  </a:lnTo>
                  <a:lnTo>
                    <a:pt x="88" y="4"/>
                  </a:lnTo>
                  <a:lnTo>
                    <a:pt x="88" y="4"/>
                  </a:lnTo>
                  <a:lnTo>
                    <a:pt x="88" y="4"/>
                  </a:lnTo>
                  <a:lnTo>
                    <a:pt x="88" y="6"/>
                  </a:lnTo>
                  <a:lnTo>
                    <a:pt x="87" y="7"/>
                  </a:lnTo>
                  <a:lnTo>
                    <a:pt x="86" y="8"/>
                  </a:lnTo>
                  <a:lnTo>
                    <a:pt x="84" y="8"/>
                  </a:lnTo>
                  <a:lnTo>
                    <a:pt x="4" y="8"/>
                  </a:lnTo>
                  <a:lnTo>
                    <a:pt x="4" y="8"/>
                  </a:lnTo>
                  <a:lnTo>
                    <a:pt x="2" y="8"/>
                  </a:lnTo>
                  <a:lnTo>
                    <a:pt x="1" y="7"/>
                  </a:lnTo>
                  <a:lnTo>
                    <a:pt x="0" y="6"/>
                  </a:lnTo>
                  <a:lnTo>
                    <a:pt x="0" y="4"/>
                  </a:lnTo>
                  <a:lnTo>
                    <a:pt x="0" y="4"/>
                  </a:lnTo>
                  <a:lnTo>
                    <a:pt x="0" y="4"/>
                  </a:lnTo>
                  <a:lnTo>
                    <a:pt x="0" y="3"/>
                  </a:lnTo>
                  <a:lnTo>
                    <a:pt x="1" y="1"/>
                  </a:lnTo>
                  <a:lnTo>
                    <a:pt x="2" y="0"/>
                  </a:lnTo>
                  <a:lnTo>
                    <a:pt x="4" y="0"/>
                  </a:lnTo>
                  <a:lnTo>
                    <a:pt x="4" y="0"/>
                  </a:lnTo>
                  <a:close/>
                </a:path>
              </a:pathLst>
            </a:custGeom>
            <a:solidFill>
              <a:srgbClr val="57A5C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91" name="Freeform 1239"/>
            <p:cNvSpPr/>
            <p:nvPr/>
          </p:nvSpPr>
          <p:spPr bwMode="auto">
            <a:xfrm>
              <a:off x="6019086" y="4783133"/>
              <a:ext cx="55618" cy="55618"/>
            </a:xfrm>
            <a:custGeom>
              <a:avLst/>
              <a:gdLst>
                <a:gd name="T0" fmla="*/ 13 w 26"/>
                <a:gd name="T1" fmla="*/ 0 h 27"/>
                <a:gd name="T2" fmla="*/ 13 w 26"/>
                <a:gd name="T3" fmla="*/ 0 h 27"/>
                <a:gd name="T4" fmla="*/ 18 w 26"/>
                <a:gd name="T5" fmla="*/ 2 h 27"/>
                <a:gd name="T6" fmla="*/ 22 w 26"/>
                <a:gd name="T7" fmla="*/ 4 h 27"/>
                <a:gd name="T8" fmla="*/ 25 w 26"/>
                <a:gd name="T9" fmla="*/ 9 h 27"/>
                <a:gd name="T10" fmla="*/ 26 w 26"/>
                <a:gd name="T11" fmla="*/ 14 h 27"/>
                <a:gd name="T12" fmla="*/ 26 w 26"/>
                <a:gd name="T13" fmla="*/ 14 h 27"/>
                <a:gd name="T14" fmla="*/ 25 w 26"/>
                <a:gd name="T15" fmla="*/ 19 h 27"/>
                <a:gd name="T16" fmla="*/ 22 w 26"/>
                <a:gd name="T17" fmla="*/ 23 h 27"/>
                <a:gd name="T18" fmla="*/ 18 w 26"/>
                <a:gd name="T19" fmla="*/ 26 h 27"/>
                <a:gd name="T20" fmla="*/ 13 w 26"/>
                <a:gd name="T21" fmla="*/ 27 h 27"/>
                <a:gd name="T22" fmla="*/ 13 w 26"/>
                <a:gd name="T23" fmla="*/ 27 h 27"/>
                <a:gd name="T24" fmla="*/ 8 w 26"/>
                <a:gd name="T25" fmla="*/ 26 h 27"/>
                <a:gd name="T26" fmla="*/ 3 w 26"/>
                <a:gd name="T27" fmla="*/ 23 h 27"/>
                <a:gd name="T28" fmla="*/ 1 w 26"/>
                <a:gd name="T29" fmla="*/ 19 h 27"/>
                <a:gd name="T30" fmla="*/ 0 w 26"/>
                <a:gd name="T31" fmla="*/ 14 h 27"/>
                <a:gd name="T32" fmla="*/ 0 w 26"/>
                <a:gd name="T33" fmla="*/ 14 h 27"/>
                <a:gd name="T34" fmla="*/ 1 w 26"/>
                <a:gd name="T35" fmla="*/ 9 h 27"/>
                <a:gd name="T36" fmla="*/ 3 w 26"/>
                <a:gd name="T37" fmla="*/ 4 h 27"/>
                <a:gd name="T38" fmla="*/ 8 w 26"/>
                <a:gd name="T39" fmla="*/ 2 h 27"/>
                <a:gd name="T40" fmla="*/ 13 w 26"/>
                <a:gd name="T41" fmla="*/ 0 h 27"/>
                <a:gd name="T42" fmla="*/ 13 w 26"/>
                <a:gd name="T4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7">
                  <a:moveTo>
                    <a:pt x="13" y="0"/>
                  </a:moveTo>
                  <a:lnTo>
                    <a:pt x="13" y="0"/>
                  </a:lnTo>
                  <a:lnTo>
                    <a:pt x="18" y="2"/>
                  </a:lnTo>
                  <a:lnTo>
                    <a:pt x="22" y="4"/>
                  </a:lnTo>
                  <a:lnTo>
                    <a:pt x="25" y="9"/>
                  </a:lnTo>
                  <a:lnTo>
                    <a:pt x="26" y="14"/>
                  </a:lnTo>
                  <a:lnTo>
                    <a:pt x="26" y="14"/>
                  </a:lnTo>
                  <a:lnTo>
                    <a:pt x="25" y="19"/>
                  </a:lnTo>
                  <a:lnTo>
                    <a:pt x="22" y="23"/>
                  </a:lnTo>
                  <a:lnTo>
                    <a:pt x="18" y="26"/>
                  </a:lnTo>
                  <a:lnTo>
                    <a:pt x="13" y="27"/>
                  </a:lnTo>
                  <a:lnTo>
                    <a:pt x="13" y="27"/>
                  </a:lnTo>
                  <a:lnTo>
                    <a:pt x="8" y="26"/>
                  </a:lnTo>
                  <a:lnTo>
                    <a:pt x="3" y="23"/>
                  </a:lnTo>
                  <a:lnTo>
                    <a:pt x="1" y="19"/>
                  </a:lnTo>
                  <a:lnTo>
                    <a:pt x="0" y="14"/>
                  </a:lnTo>
                  <a:lnTo>
                    <a:pt x="0" y="14"/>
                  </a:lnTo>
                  <a:lnTo>
                    <a:pt x="1" y="9"/>
                  </a:lnTo>
                  <a:lnTo>
                    <a:pt x="3" y="4"/>
                  </a:lnTo>
                  <a:lnTo>
                    <a:pt x="8" y="2"/>
                  </a:lnTo>
                  <a:lnTo>
                    <a:pt x="13" y="0"/>
                  </a:lnTo>
                  <a:lnTo>
                    <a:pt x="13" y="0"/>
                  </a:lnTo>
                  <a:close/>
                </a:path>
              </a:pathLst>
            </a:custGeom>
            <a:solidFill>
              <a:srgbClr val="57A5C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92" name="Freeform 1240"/>
            <p:cNvSpPr/>
            <p:nvPr/>
          </p:nvSpPr>
          <p:spPr bwMode="auto">
            <a:xfrm>
              <a:off x="5876950" y="4053922"/>
              <a:ext cx="358426" cy="253370"/>
            </a:xfrm>
            <a:custGeom>
              <a:avLst/>
              <a:gdLst>
                <a:gd name="T0" fmla="*/ 173 w 173"/>
                <a:gd name="T1" fmla="*/ 63 h 125"/>
                <a:gd name="T2" fmla="*/ 86 w 173"/>
                <a:gd name="T3" fmla="*/ 125 h 125"/>
                <a:gd name="T4" fmla="*/ 0 w 173"/>
                <a:gd name="T5" fmla="*/ 63 h 125"/>
                <a:gd name="T6" fmla="*/ 86 w 173"/>
                <a:gd name="T7" fmla="*/ 0 h 125"/>
                <a:gd name="T8" fmla="*/ 173 w 173"/>
                <a:gd name="T9" fmla="*/ 63 h 125"/>
              </a:gdLst>
              <a:ahLst/>
              <a:cxnLst>
                <a:cxn ang="0">
                  <a:pos x="T0" y="T1"/>
                </a:cxn>
                <a:cxn ang="0">
                  <a:pos x="T2" y="T3"/>
                </a:cxn>
                <a:cxn ang="0">
                  <a:pos x="T4" y="T5"/>
                </a:cxn>
                <a:cxn ang="0">
                  <a:pos x="T6" y="T7"/>
                </a:cxn>
                <a:cxn ang="0">
                  <a:pos x="T8" y="T9"/>
                </a:cxn>
              </a:cxnLst>
              <a:rect l="0" t="0" r="r" b="b"/>
              <a:pathLst>
                <a:path w="173" h="125">
                  <a:moveTo>
                    <a:pt x="173" y="63"/>
                  </a:moveTo>
                  <a:lnTo>
                    <a:pt x="86" y="125"/>
                  </a:lnTo>
                  <a:lnTo>
                    <a:pt x="0" y="63"/>
                  </a:lnTo>
                  <a:lnTo>
                    <a:pt x="86" y="0"/>
                  </a:lnTo>
                  <a:lnTo>
                    <a:pt x="173" y="63"/>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93" name="Freeform 1241"/>
            <p:cNvSpPr/>
            <p:nvPr/>
          </p:nvSpPr>
          <p:spPr bwMode="auto">
            <a:xfrm>
              <a:off x="5870771" y="4047742"/>
              <a:ext cx="364605" cy="265729"/>
            </a:xfrm>
            <a:custGeom>
              <a:avLst/>
              <a:gdLst>
                <a:gd name="T0" fmla="*/ 176 w 178"/>
                <a:gd name="T1" fmla="*/ 65 h 129"/>
                <a:gd name="T2" fmla="*/ 175 w 178"/>
                <a:gd name="T3" fmla="*/ 63 h 129"/>
                <a:gd name="T4" fmla="*/ 89 w 178"/>
                <a:gd name="T5" fmla="*/ 124 h 129"/>
                <a:gd name="T6" fmla="*/ 7 w 178"/>
                <a:gd name="T7" fmla="*/ 65 h 129"/>
                <a:gd name="T8" fmla="*/ 89 w 178"/>
                <a:gd name="T9" fmla="*/ 5 h 129"/>
                <a:gd name="T10" fmla="*/ 175 w 178"/>
                <a:gd name="T11" fmla="*/ 67 h 129"/>
                <a:gd name="T12" fmla="*/ 176 w 178"/>
                <a:gd name="T13" fmla="*/ 65 h 129"/>
                <a:gd name="T14" fmla="*/ 175 w 178"/>
                <a:gd name="T15" fmla="*/ 63 h 129"/>
                <a:gd name="T16" fmla="*/ 176 w 178"/>
                <a:gd name="T17" fmla="*/ 65 h 129"/>
                <a:gd name="T18" fmla="*/ 177 w 178"/>
                <a:gd name="T19" fmla="*/ 63 h 129"/>
                <a:gd name="T20" fmla="*/ 91 w 178"/>
                <a:gd name="T21" fmla="*/ 0 h 129"/>
                <a:gd name="T22" fmla="*/ 91 w 178"/>
                <a:gd name="T23" fmla="*/ 0 h 129"/>
                <a:gd name="T24" fmla="*/ 89 w 178"/>
                <a:gd name="T25" fmla="*/ 0 h 129"/>
                <a:gd name="T26" fmla="*/ 88 w 178"/>
                <a:gd name="T27" fmla="*/ 0 h 129"/>
                <a:gd name="T28" fmla="*/ 1 w 178"/>
                <a:gd name="T29" fmla="*/ 63 h 129"/>
                <a:gd name="T30" fmla="*/ 1 w 178"/>
                <a:gd name="T31" fmla="*/ 63 h 129"/>
                <a:gd name="T32" fmla="*/ 0 w 178"/>
                <a:gd name="T33" fmla="*/ 65 h 129"/>
                <a:gd name="T34" fmla="*/ 0 w 178"/>
                <a:gd name="T35" fmla="*/ 65 h 129"/>
                <a:gd name="T36" fmla="*/ 1 w 178"/>
                <a:gd name="T37" fmla="*/ 67 h 129"/>
                <a:gd name="T38" fmla="*/ 88 w 178"/>
                <a:gd name="T39" fmla="*/ 129 h 129"/>
                <a:gd name="T40" fmla="*/ 88 w 178"/>
                <a:gd name="T41" fmla="*/ 129 h 129"/>
                <a:gd name="T42" fmla="*/ 89 w 178"/>
                <a:gd name="T43" fmla="*/ 129 h 129"/>
                <a:gd name="T44" fmla="*/ 91 w 178"/>
                <a:gd name="T45" fmla="*/ 129 h 129"/>
                <a:gd name="T46" fmla="*/ 177 w 178"/>
                <a:gd name="T47" fmla="*/ 67 h 129"/>
                <a:gd name="T48" fmla="*/ 177 w 178"/>
                <a:gd name="T49" fmla="*/ 67 h 129"/>
                <a:gd name="T50" fmla="*/ 178 w 178"/>
                <a:gd name="T51" fmla="*/ 65 h 129"/>
                <a:gd name="T52" fmla="*/ 178 w 178"/>
                <a:gd name="T53" fmla="*/ 65 h 129"/>
                <a:gd name="T54" fmla="*/ 177 w 178"/>
                <a:gd name="T55" fmla="*/ 63 h 129"/>
                <a:gd name="T56" fmla="*/ 176 w 178"/>
                <a:gd name="T57"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8" h="129">
                  <a:moveTo>
                    <a:pt x="176" y="65"/>
                  </a:moveTo>
                  <a:lnTo>
                    <a:pt x="175" y="63"/>
                  </a:lnTo>
                  <a:lnTo>
                    <a:pt x="89" y="124"/>
                  </a:lnTo>
                  <a:lnTo>
                    <a:pt x="7" y="65"/>
                  </a:lnTo>
                  <a:lnTo>
                    <a:pt x="89" y="5"/>
                  </a:lnTo>
                  <a:lnTo>
                    <a:pt x="175" y="67"/>
                  </a:lnTo>
                  <a:lnTo>
                    <a:pt x="176" y="65"/>
                  </a:lnTo>
                  <a:lnTo>
                    <a:pt x="175" y="63"/>
                  </a:lnTo>
                  <a:lnTo>
                    <a:pt x="176" y="65"/>
                  </a:lnTo>
                  <a:lnTo>
                    <a:pt x="177" y="63"/>
                  </a:lnTo>
                  <a:lnTo>
                    <a:pt x="91" y="0"/>
                  </a:lnTo>
                  <a:lnTo>
                    <a:pt x="91" y="0"/>
                  </a:lnTo>
                  <a:lnTo>
                    <a:pt x="89" y="0"/>
                  </a:lnTo>
                  <a:lnTo>
                    <a:pt x="88" y="0"/>
                  </a:lnTo>
                  <a:lnTo>
                    <a:pt x="1" y="63"/>
                  </a:lnTo>
                  <a:lnTo>
                    <a:pt x="1" y="63"/>
                  </a:lnTo>
                  <a:lnTo>
                    <a:pt x="0" y="65"/>
                  </a:lnTo>
                  <a:lnTo>
                    <a:pt x="0" y="65"/>
                  </a:lnTo>
                  <a:lnTo>
                    <a:pt x="1" y="67"/>
                  </a:lnTo>
                  <a:lnTo>
                    <a:pt x="88" y="129"/>
                  </a:lnTo>
                  <a:lnTo>
                    <a:pt x="88" y="129"/>
                  </a:lnTo>
                  <a:lnTo>
                    <a:pt x="89" y="129"/>
                  </a:lnTo>
                  <a:lnTo>
                    <a:pt x="91" y="129"/>
                  </a:lnTo>
                  <a:lnTo>
                    <a:pt x="177" y="67"/>
                  </a:lnTo>
                  <a:lnTo>
                    <a:pt x="177" y="67"/>
                  </a:lnTo>
                  <a:lnTo>
                    <a:pt x="178" y="65"/>
                  </a:lnTo>
                  <a:lnTo>
                    <a:pt x="178" y="65"/>
                  </a:lnTo>
                  <a:lnTo>
                    <a:pt x="177" y="63"/>
                  </a:lnTo>
                  <a:lnTo>
                    <a:pt x="176" y="65"/>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94" name="Rectangle 1242"/>
            <p:cNvSpPr>
              <a:spLocks noChangeArrowheads="1"/>
            </p:cNvSpPr>
            <p:nvPr/>
          </p:nvSpPr>
          <p:spPr bwMode="auto">
            <a:xfrm>
              <a:off x="5926387" y="4072461"/>
              <a:ext cx="259550" cy="3213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en-US" sz="1015"/>
            </a:p>
          </p:txBody>
        </p:sp>
        <p:sp>
          <p:nvSpPr>
            <p:cNvPr id="95" name="Freeform 1243"/>
            <p:cNvSpPr/>
            <p:nvPr/>
          </p:nvSpPr>
          <p:spPr bwMode="auto">
            <a:xfrm>
              <a:off x="5920209" y="4072461"/>
              <a:ext cx="271909" cy="321348"/>
            </a:xfrm>
            <a:custGeom>
              <a:avLst/>
              <a:gdLst>
                <a:gd name="T0" fmla="*/ 2 w 131"/>
                <a:gd name="T1" fmla="*/ 156 h 158"/>
                <a:gd name="T2" fmla="*/ 2 w 131"/>
                <a:gd name="T3" fmla="*/ 158 h 158"/>
                <a:gd name="T4" fmla="*/ 128 w 131"/>
                <a:gd name="T5" fmla="*/ 158 h 158"/>
                <a:gd name="T6" fmla="*/ 128 w 131"/>
                <a:gd name="T7" fmla="*/ 158 h 158"/>
                <a:gd name="T8" fmla="*/ 130 w 131"/>
                <a:gd name="T9" fmla="*/ 157 h 158"/>
                <a:gd name="T10" fmla="*/ 130 w 131"/>
                <a:gd name="T11" fmla="*/ 157 h 158"/>
                <a:gd name="T12" fmla="*/ 131 w 131"/>
                <a:gd name="T13" fmla="*/ 156 h 158"/>
                <a:gd name="T14" fmla="*/ 131 w 131"/>
                <a:gd name="T15" fmla="*/ 2 h 158"/>
                <a:gd name="T16" fmla="*/ 131 w 131"/>
                <a:gd name="T17" fmla="*/ 2 h 158"/>
                <a:gd name="T18" fmla="*/ 130 w 131"/>
                <a:gd name="T19" fmla="*/ 0 h 158"/>
                <a:gd name="T20" fmla="*/ 130 w 131"/>
                <a:gd name="T21" fmla="*/ 0 h 158"/>
                <a:gd name="T22" fmla="*/ 128 w 131"/>
                <a:gd name="T23" fmla="*/ 0 h 158"/>
                <a:gd name="T24" fmla="*/ 2 w 131"/>
                <a:gd name="T25" fmla="*/ 0 h 158"/>
                <a:gd name="T26" fmla="*/ 2 w 131"/>
                <a:gd name="T27" fmla="*/ 0 h 158"/>
                <a:gd name="T28" fmla="*/ 1 w 131"/>
                <a:gd name="T29" fmla="*/ 0 h 158"/>
                <a:gd name="T30" fmla="*/ 1 w 131"/>
                <a:gd name="T31" fmla="*/ 0 h 158"/>
                <a:gd name="T32" fmla="*/ 0 w 131"/>
                <a:gd name="T33" fmla="*/ 2 h 158"/>
                <a:gd name="T34" fmla="*/ 0 w 131"/>
                <a:gd name="T35" fmla="*/ 156 h 158"/>
                <a:gd name="T36" fmla="*/ 0 w 131"/>
                <a:gd name="T37" fmla="*/ 156 h 158"/>
                <a:gd name="T38" fmla="*/ 1 w 131"/>
                <a:gd name="T39" fmla="*/ 157 h 158"/>
                <a:gd name="T40" fmla="*/ 1 w 131"/>
                <a:gd name="T41" fmla="*/ 157 h 158"/>
                <a:gd name="T42" fmla="*/ 2 w 131"/>
                <a:gd name="T43" fmla="*/ 158 h 158"/>
                <a:gd name="T44" fmla="*/ 2 w 131"/>
                <a:gd name="T45" fmla="*/ 156 h 158"/>
                <a:gd name="T46" fmla="*/ 5 w 131"/>
                <a:gd name="T47" fmla="*/ 156 h 158"/>
                <a:gd name="T48" fmla="*/ 5 w 131"/>
                <a:gd name="T49" fmla="*/ 4 h 158"/>
                <a:gd name="T50" fmla="*/ 126 w 131"/>
                <a:gd name="T51" fmla="*/ 4 h 158"/>
                <a:gd name="T52" fmla="*/ 126 w 131"/>
                <a:gd name="T53" fmla="*/ 153 h 158"/>
                <a:gd name="T54" fmla="*/ 2 w 131"/>
                <a:gd name="T55" fmla="*/ 153 h 158"/>
                <a:gd name="T56" fmla="*/ 2 w 131"/>
                <a:gd name="T57" fmla="*/ 156 h 158"/>
                <a:gd name="T58" fmla="*/ 5 w 131"/>
                <a:gd name="T59" fmla="*/ 156 h 158"/>
                <a:gd name="T60" fmla="*/ 2 w 131"/>
                <a:gd name="T61" fmla="*/ 15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1" h="158">
                  <a:moveTo>
                    <a:pt x="2" y="156"/>
                  </a:moveTo>
                  <a:lnTo>
                    <a:pt x="2" y="158"/>
                  </a:lnTo>
                  <a:lnTo>
                    <a:pt x="128" y="158"/>
                  </a:lnTo>
                  <a:lnTo>
                    <a:pt x="128" y="158"/>
                  </a:lnTo>
                  <a:lnTo>
                    <a:pt x="130" y="157"/>
                  </a:lnTo>
                  <a:lnTo>
                    <a:pt x="130" y="157"/>
                  </a:lnTo>
                  <a:lnTo>
                    <a:pt x="131" y="156"/>
                  </a:lnTo>
                  <a:lnTo>
                    <a:pt x="131" y="2"/>
                  </a:lnTo>
                  <a:lnTo>
                    <a:pt x="131" y="2"/>
                  </a:lnTo>
                  <a:lnTo>
                    <a:pt x="130" y="0"/>
                  </a:lnTo>
                  <a:lnTo>
                    <a:pt x="130" y="0"/>
                  </a:lnTo>
                  <a:lnTo>
                    <a:pt x="128" y="0"/>
                  </a:lnTo>
                  <a:lnTo>
                    <a:pt x="2" y="0"/>
                  </a:lnTo>
                  <a:lnTo>
                    <a:pt x="2" y="0"/>
                  </a:lnTo>
                  <a:lnTo>
                    <a:pt x="1" y="0"/>
                  </a:lnTo>
                  <a:lnTo>
                    <a:pt x="1" y="0"/>
                  </a:lnTo>
                  <a:lnTo>
                    <a:pt x="0" y="2"/>
                  </a:lnTo>
                  <a:lnTo>
                    <a:pt x="0" y="156"/>
                  </a:lnTo>
                  <a:lnTo>
                    <a:pt x="0" y="156"/>
                  </a:lnTo>
                  <a:lnTo>
                    <a:pt x="1" y="157"/>
                  </a:lnTo>
                  <a:lnTo>
                    <a:pt x="1" y="157"/>
                  </a:lnTo>
                  <a:lnTo>
                    <a:pt x="2" y="158"/>
                  </a:lnTo>
                  <a:lnTo>
                    <a:pt x="2" y="156"/>
                  </a:lnTo>
                  <a:lnTo>
                    <a:pt x="5" y="156"/>
                  </a:lnTo>
                  <a:lnTo>
                    <a:pt x="5" y="4"/>
                  </a:lnTo>
                  <a:lnTo>
                    <a:pt x="126" y="4"/>
                  </a:lnTo>
                  <a:lnTo>
                    <a:pt x="126" y="153"/>
                  </a:lnTo>
                  <a:lnTo>
                    <a:pt x="2" y="153"/>
                  </a:lnTo>
                  <a:lnTo>
                    <a:pt x="2" y="156"/>
                  </a:lnTo>
                  <a:lnTo>
                    <a:pt x="5" y="156"/>
                  </a:lnTo>
                  <a:lnTo>
                    <a:pt x="2" y="156"/>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96" name="Rectangle 1244"/>
            <p:cNvSpPr>
              <a:spLocks noChangeArrowheads="1"/>
            </p:cNvSpPr>
            <p:nvPr/>
          </p:nvSpPr>
          <p:spPr bwMode="auto">
            <a:xfrm>
              <a:off x="5963468" y="4115720"/>
              <a:ext cx="74157" cy="18540"/>
            </a:xfrm>
            <a:prstGeom prst="rect">
              <a:avLst/>
            </a:prstGeom>
            <a:solidFill>
              <a:srgbClr val="287E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en-US" sz="1015"/>
            </a:p>
          </p:txBody>
        </p:sp>
        <p:sp>
          <p:nvSpPr>
            <p:cNvPr id="97" name="Rectangle 1245"/>
            <p:cNvSpPr>
              <a:spLocks noChangeArrowheads="1"/>
            </p:cNvSpPr>
            <p:nvPr/>
          </p:nvSpPr>
          <p:spPr bwMode="auto">
            <a:xfrm>
              <a:off x="5963468" y="4146619"/>
              <a:ext cx="179214" cy="12359"/>
            </a:xfrm>
            <a:prstGeom prst="rect">
              <a:avLst/>
            </a:prstGeom>
            <a:solidFill>
              <a:srgbClr val="287E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en-US" sz="1015"/>
            </a:p>
          </p:txBody>
        </p:sp>
        <p:sp>
          <p:nvSpPr>
            <p:cNvPr id="98" name="Rectangle 1246"/>
            <p:cNvSpPr>
              <a:spLocks noChangeArrowheads="1"/>
            </p:cNvSpPr>
            <p:nvPr/>
          </p:nvSpPr>
          <p:spPr bwMode="auto">
            <a:xfrm>
              <a:off x="5963468" y="4177517"/>
              <a:ext cx="179214" cy="12359"/>
            </a:xfrm>
            <a:prstGeom prst="rect">
              <a:avLst/>
            </a:prstGeom>
            <a:solidFill>
              <a:srgbClr val="287E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en-US" sz="1015"/>
            </a:p>
          </p:txBody>
        </p:sp>
        <p:sp>
          <p:nvSpPr>
            <p:cNvPr id="99" name="Rectangle 1247"/>
            <p:cNvSpPr>
              <a:spLocks noChangeArrowheads="1"/>
            </p:cNvSpPr>
            <p:nvPr/>
          </p:nvSpPr>
          <p:spPr bwMode="auto">
            <a:xfrm>
              <a:off x="5963468" y="4202236"/>
              <a:ext cx="179214" cy="12359"/>
            </a:xfrm>
            <a:prstGeom prst="rect">
              <a:avLst/>
            </a:prstGeom>
            <a:solidFill>
              <a:srgbClr val="287E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en-US" sz="1015"/>
            </a:p>
          </p:txBody>
        </p:sp>
        <p:sp>
          <p:nvSpPr>
            <p:cNvPr id="100" name="Rectangle 1248"/>
            <p:cNvSpPr>
              <a:spLocks noChangeArrowheads="1"/>
            </p:cNvSpPr>
            <p:nvPr/>
          </p:nvSpPr>
          <p:spPr bwMode="auto">
            <a:xfrm>
              <a:off x="5963468" y="4233135"/>
              <a:ext cx="179214" cy="12359"/>
            </a:xfrm>
            <a:prstGeom prst="rect">
              <a:avLst/>
            </a:prstGeom>
            <a:solidFill>
              <a:srgbClr val="287E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en-US" sz="1015"/>
            </a:p>
          </p:txBody>
        </p:sp>
        <p:sp>
          <p:nvSpPr>
            <p:cNvPr id="101" name="Rectangle 1249"/>
            <p:cNvSpPr>
              <a:spLocks noChangeArrowheads="1"/>
            </p:cNvSpPr>
            <p:nvPr/>
          </p:nvSpPr>
          <p:spPr bwMode="auto">
            <a:xfrm>
              <a:off x="5963468" y="4257854"/>
              <a:ext cx="179214" cy="12359"/>
            </a:xfrm>
            <a:prstGeom prst="rect">
              <a:avLst/>
            </a:prstGeom>
            <a:solidFill>
              <a:srgbClr val="287E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en-US" sz="1015"/>
            </a:p>
          </p:txBody>
        </p:sp>
        <p:sp>
          <p:nvSpPr>
            <p:cNvPr id="102" name="Rectangle 1250"/>
            <p:cNvSpPr>
              <a:spLocks noChangeArrowheads="1"/>
            </p:cNvSpPr>
            <p:nvPr/>
          </p:nvSpPr>
          <p:spPr bwMode="auto">
            <a:xfrm>
              <a:off x="5963468" y="4288753"/>
              <a:ext cx="179214" cy="12359"/>
            </a:xfrm>
            <a:prstGeom prst="rect">
              <a:avLst/>
            </a:prstGeom>
            <a:solidFill>
              <a:srgbClr val="287E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en-US" sz="1015"/>
            </a:p>
          </p:txBody>
        </p:sp>
        <p:sp>
          <p:nvSpPr>
            <p:cNvPr id="103" name="Freeform 1251"/>
            <p:cNvSpPr/>
            <p:nvPr/>
          </p:nvSpPr>
          <p:spPr bwMode="auto">
            <a:xfrm>
              <a:off x="5876950" y="4183697"/>
              <a:ext cx="358426" cy="210111"/>
            </a:xfrm>
            <a:custGeom>
              <a:avLst/>
              <a:gdLst>
                <a:gd name="T0" fmla="*/ 0 w 173"/>
                <a:gd name="T1" fmla="*/ 102 h 102"/>
                <a:gd name="T2" fmla="*/ 173 w 173"/>
                <a:gd name="T3" fmla="*/ 102 h 102"/>
                <a:gd name="T4" fmla="*/ 173 w 173"/>
                <a:gd name="T5" fmla="*/ 0 h 102"/>
                <a:gd name="T6" fmla="*/ 86 w 173"/>
                <a:gd name="T7" fmla="*/ 62 h 102"/>
                <a:gd name="T8" fmla="*/ 0 w 173"/>
                <a:gd name="T9" fmla="*/ 0 h 102"/>
                <a:gd name="T10" fmla="*/ 0 w 173"/>
                <a:gd name="T11" fmla="*/ 102 h 102"/>
              </a:gdLst>
              <a:ahLst/>
              <a:cxnLst>
                <a:cxn ang="0">
                  <a:pos x="T0" y="T1"/>
                </a:cxn>
                <a:cxn ang="0">
                  <a:pos x="T2" y="T3"/>
                </a:cxn>
                <a:cxn ang="0">
                  <a:pos x="T4" y="T5"/>
                </a:cxn>
                <a:cxn ang="0">
                  <a:pos x="T6" y="T7"/>
                </a:cxn>
                <a:cxn ang="0">
                  <a:pos x="T8" y="T9"/>
                </a:cxn>
                <a:cxn ang="0">
                  <a:pos x="T10" y="T11"/>
                </a:cxn>
              </a:cxnLst>
              <a:rect l="0" t="0" r="r" b="b"/>
              <a:pathLst>
                <a:path w="173" h="102">
                  <a:moveTo>
                    <a:pt x="0" y="102"/>
                  </a:moveTo>
                  <a:lnTo>
                    <a:pt x="173" y="102"/>
                  </a:lnTo>
                  <a:lnTo>
                    <a:pt x="173" y="0"/>
                  </a:lnTo>
                  <a:lnTo>
                    <a:pt x="86" y="62"/>
                  </a:lnTo>
                  <a:lnTo>
                    <a:pt x="0" y="0"/>
                  </a:lnTo>
                  <a:lnTo>
                    <a:pt x="0" y="102"/>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04" name="Freeform 1252"/>
            <p:cNvSpPr/>
            <p:nvPr/>
          </p:nvSpPr>
          <p:spPr bwMode="auto">
            <a:xfrm>
              <a:off x="5870771" y="4177517"/>
              <a:ext cx="364605" cy="216292"/>
            </a:xfrm>
            <a:custGeom>
              <a:avLst/>
              <a:gdLst>
                <a:gd name="T0" fmla="*/ 3 w 178"/>
                <a:gd name="T1" fmla="*/ 105 h 107"/>
                <a:gd name="T2" fmla="*/ 3 w 178"/>
                <a:gd name="T3" fmla="*/ 107 h 107"/>
                <a:gd name="T4" fmla="*/ 176 w 178"/>
                <a:gd name="T5" fmla="*/ 107 h 107"/>
                <a:gd name="T6" fmla="*/ 176 w 178"/>
                <a:gd name="T7" fmla="*/ 107 h 107"/>
                <a:gd name="T8" fmla="*/ 178 w 178"/>
                <a:gd name="T9" fmla="*/ 106 h 107"/>
                <a:gd name="T10" fmla="*/ 178 w 178"/>
                <a:gd name="T11" fmla="*/ 106 h 107"/>
                <a:gd name="T12" fmla="*/ 178 w 178"/>
                <a:gd name="T13" fmla="*/ 105 h 107"/>
                <a:gd name="T14" fmla="*/ 178 w 178"/>
                <a:gd name="T15" fmla="*/ 3 h 107"/>
                <a:gd name="T16" fmla="*/ 178 w 178"/>
                <a:gd name="T17" fmla="*/ 3 h 107"/>
                <a:gd name="T18" fmla="*/ 178 w 178"/>
                <a:gd name="T19" fmla="*/ 1 h 107"/>
                <a:gd name="T20" fmla="*/ 177 w 178"/>
                <a:gd name="T21" fmla="*/ 0 h 107"/>
                <a:gd name="T22" fmla="*/ 177 w 178"/>
                <a:gd name="T23" fmla="*/ 0 h 107"/>
                <a:gd name="T24" fmla="*/ 176 w 178"/>
                <a:gd name="T25" fmla="*/ 0 h 107"/>
                <a:gd name="T26" fmla="*/ 175 w 178"/>
                <a:gd name="T27" fmla="*/ 1 h 107"/>
                <a:gd name="T28" fmla="*/ 89 w 178"/>
                <a:gd name="T29" fmla="*/ 62 h 107"/>
                <a:gd name="T30" fmla="*/ 4 w 178"/>
                <a:gd name="T31" fmla="*/ 1 h 107"/>
                <a:gd name="T32" fmla="*/ 4 w 178"/>
                <a:gd name="T33" fmla="*/ 1 h 107"/>
                <a:gd name="T34" fmla="*/ 3 w 178"/>
                <a:gd name="T35" fmla="*/ 0 h 107"/>
                <a:gd name="T36" fmla="*/ 2 w 178"/>
                <a:gd name="T37" fmla="*/ 0 h 107"/>
                <a:gd name="T38" fmla="*/ 2 w 178"/>
                <a:gd name="T39" fmla="*/ 0 h 107"/>
                <a:gd name="T40" fmla="*/ 1 w 178"/>
                <a:gd name="T41" fmla="*/ 1 h 107"/>
                <a:gd name="T42" fmla="*/ 0 w 178"/>
                <a:gd name="T43" fmla="*/ 3 h 107"/>
                <a:gd name="T44" fmla="*/ 0 w 178"/>
                <a:gd name="T45" fmla="*/ 105 h 107"/>
                <a:gd name="T46" fmla="*/ 0 w 178"/>
                <a:gd name="T47" fmla="*/ 105 h 107"/>
                <a:gd name="T48" fmla="*/ 1 w 178"/>
                <a:gd name="T49" fmla="*/ 106 h 107"/>
                <a:gd name="T50" fmla="*/ 1 w 178"/>
                <a:gd name="T51" fmla="*/ 106 h 107"/>
                <a:gd name="T52" fmla="*/ 3 w 178"/>
                <a:gd name="T53" fmla="*/ 107 h 107"/>
                <a:gd name="T54" fmla="*/ 3 w 178"/>
                <a:gd name="T55" fmla="*/ 105 h 107"/>
                <a:gd name="T56" fmla="*/ 5 w 178"/>
                <a:gd name="T57" fmla="*/ 105 h 107"/>
                <a:gd name="T58" fmla="*/ 5 w 178"/>
                <a:gd name="T59" fmla="*/ 7 h 107"/>
                <a:gd name="T60" fmla="*/ 88 w 178"/>
                <a:gd name="T61" fmla="*/ 67 h 107"/>
                <a:gd name="T62" fmla="*/ 88 w 178"/>
                <a:gd name="T63" fmla="*/ 67 h 107"/>
                <a:gd name="T64" fmla="*/ 89 w 178"/>
                <a:gd name="T65" fmla="*/ 67 h 107"/>
                <a:gd name="T66" fmla="*/ 91 w 178"/>
                <a:gd name="T67" fmla="*/ 67 h 107"/>
                <a:gd name="T68" fmla="*/ 174 w 178"/>
                <a:gd name="T69" fmla="*/ 7 h 107"/>
                <a:gd name="T70" fmla="*/ 174 w 178"/>
                <a:gd name="T71" fmla="*/ 102 h 107"/>
                <a:gd name="T72" fmla="*/ 3 w 178"/>
                <a:gd name="T73" fmla="*/ 102 h 107"/>
                <a:gd name="T74" fmla="*/ 3 w 178"/>
                <a:gd name="T75" fmla="*/ 105 h 107"/>
                <a:gd name="T76" fmla="*/ 5 w 178"/>
                <a:gd name="T77" fmla="*/ 105 h 107"/>
                <a:gd name="T78" fmla="*/ 3 w 178"/>
                <a:gd name="T79" fmla="*/ 10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8" h="107">
                  <a:moveTo>
                    <a:pt x="3" y="105"/>
                  </a:moveTo>
                  <a:lnTo>
                    <a:pt x="3" y="107"/>
                  </a:lnTo>
                  <a:lnTo>
                    <a:pt x="176" y="107"/>
                  </a:lnTo>
                  <a:lnTo>
                    <a:pt x="176" y="107"/>
                  </a:lnTo>
                  <a:lnTo>
                    <a:pt x="178" y="106"/>
                  </a:lnTo>
                  <a:lnTo>
                    <a:pt x="178" y="106"/>
                  </a:lnTo>
                  <a:lnTo>
                    <a:pt x="178" y="105"/>
                  </a:lnTo>
                  <a:lnTo>
                    <a:pt x="178" y="3"/>
                  </a:lnTo>
                  <a:lnTo>
                    <a:pt x="178" y="3"/>
                  </a:lnTo>
                  <a:lnTo>
                    <a:pt x="178" y="1"/>
                  </a:lnTo>
                  <a:lnTo>
                    <a:pt x="177" y="0"/>
                  </a:lnTo>
                  <a:lnTo>
                    <a:pt x="177" y="0"/>
                  </a:lnTo>
                  <a:lnTo>
                    <a:pt x="176" y="0"/>
                  </a:lnTo>
                  <a:lnTo>
                    <a:pt x="175" y="1"/>
                  </a:lnTo>
                  <a:lnTo>
                    <a:pt x="89" y="62"/>
                  </a:lnTo>
                  <a:lnTo>
                    <a:pt x="4" y="1"/>
                  </a:lnTo>
                  <a:lnTo>
                    <a:pt x="4" y="1"/>
                  </a:lnTo>
                  <a:lnTo>
                    <a:pt x="3" y="0"/>
                  </a:lnTo>
                  <a:lnTo>
                    <a:pt x="2" y="0"/>
                  </a:lnTo>
                  <a:lnTo>
                    <a:pt x="2" y="0"/>
                  </a:lnTo>
                  <a:lnTo>
                    <a:pt x="1" y="1"/>
                  </a:lnTo>
                  <a:lnTo>
                    <a:pt x="0" y="3"/>
                  </a:lnTo>
                  <a:lnTo>
                    <a:pt x="0" y="105"/>
                  </a:lnTo>
                  <a:lnTo>
                    <a:pt x="0" y="105"/>
                  </a:lnTo>
                  <a:lnTo>
                    <a:pt x="1" y="106"/>
                  </a:lnTo>
                  <a:lnTo>
                    <a:pt x="1" y="106"/>
                  </a:lnTo>
                  <a:lnTo>
                    <a:pt x="3" y="107"/>
                  </a:lnTo>
                  <a:lnTo>
                    <a:pt x="3" y="105"/>
                  </a:lnTo>
                  <a:lnTo>
                    <a:pt x="5" y="105"/>
                  </a:lnTo>
                  <a:lnTo>
                    <a:pt x="5" y="7"/>
                  </a:lnTo>
                  <a:lnTo>
                    <a:pt x="88" y="67"/>
                  </a:lnTo>
                  <a:lnTo>
                    <a:pt x="88" y="67"/>
                  </a:lnTo>
                  <a:lnTo>
                    <a:pt x="89" y="67"/>
                  </a:lnTo>
                  <a:lnTo>
                    <a:pt x="91" y="67"/>
                  </a:lnTo>
                  <a:lnTo>
                    <a:pt x="174" y="7"/>
                  </a:lnTo>
                  <a:lnTo>
                    <a:pt x="174" y="102"/>
                  </a:lnTo>
                  <a:lnTo>
                    <a:pt x="3" y="102"/>
                  </a:lnTo>
                  <a:lnTo>
                    <a:pt x="3" y="105"/>
                  </a:lnTo>
                  <a:lnTo>
                    <a:pt x="5" y="105"/>
                  </a:lnTo>
                  <a:lnTo>
                    <a:pt x="3" y="105"/>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05" name="Freeform 1253"/>
            <p:cNvSpPr/>
            <p:nvPr/>
          </p:nvSpPr>
          <p:spPr bwMode="auto">
            <a:xfrm>
              <a:off x="5876950" y="4288753"/>
              <a:ext cx="358426" cy="105056"/>
            </a:xfrm>
            <a:custGeom>
              <a:avLst/>
              <a:gdLst>
                <a:gd name="T0" fmla="*/ 0 w 173"/>
                <a:gd name="T1" fmla="*/ 51 h 51"/>
                <a:gd name="T2" fmla="*/ 173 w 173"/>
                <a:gd name="T3" fmla="*/ 51 h 51"/>
                <a:gd name="T4" fmla="*/ 102 w 173"/>
                <a:gd name="T5" fmla="*/ 0 h 51"/>
                <a:gd name="T6" fmla="*/ 71 w 173"/>
                <a:gd name="T7" fmla="*/ 0 h 51"/>
                <a:gd name="T8" fmla="*/ 71 w 173"/>
                <a:gd name="T9" fmla="*/ 0 h 51"/>
                <a:gd name="T10" fmla="*/ 0 w 173"/>
                <a:gd name="T11" fmla="*/ 51 h 51"/>
              </a:gdLst>
              <a:ahLst/>
              <a:cxnLst>
                <a:cxn ang="0">
                  <a:pos x="T0" y="T1"/>
                </a:cxn>
                <a:cxn ang="0">
                  <a:pos x="T2" y="T3"/>
                </a:cxn>
                <a:cxn ang="0">
                  <a:pos x="T4" y="T5"/>
                </a:cxn>
                <a:cxn ang="0">
                  <a:pos x="T6" y="T7"/>
                </a:cxn>
                <a:cxn ang="0">
                  <a:pos x="T8" y="T9"/>
                </a:cxn>
                <a:cxn ang="0">
                  <a:pos x="T10" y="T11"/>
                </a:cxn>
              </a:cxnLst>
              <a:rect l="0" t="0" r="r" b="b"/>
              <a:pathLst>
                <a:path w="173" h="51">
                  <a:moveTo>
                    <a:pt x="0" y="51"/>
                  </a:moveTo>
                  <a:lnTo>
                    <a:pt x="173" y="51"/>
                  </a:lnTo>
                  <a:lnTo>
                    <a:pt x="102" y="0"/>
                  </a:lnTo>
                  <a:lnTo>
                    <a:pt x="71" y="0"/>
                  </a:lnTo>
                  <a:lnTo>
                    <a:pt x="71" y="0"/>
                  </a:ln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06" name="Freeform 1254"/>
            <p:cNvSpPr/>
            <p:nvPr/>
          </p:nvSpPr>
          <p:spPr bwMode="auto">
            <a:xfrm>
              <a:off x="5870771" y="4282573"/>
              <a:ext cx="364605" cy="111235"/>
            </a:xfrm>
            <a:custGeom>
              <a:avLst/>
              <a:gdLst>
                <a:gd name="T0" fmla="*/ 2 w 177"/>
                <a:gd name="T1" fmla="*/ 54 h 56"/>
                <a:gd name="T2" fmla="*/ 2 w 177"/>
                <a:gd name="T3" fmla="*/ 56 h 56"/>
                <a:gd name="T4" fmla="*/ 175 w 177"/>
                <a:gd name="T5" fmla="*/ 56 h 56"/>
                <a:gd name="T6" fmla="*/ 175 w 177"/>
                <a:gd name="T7" fmla="*/ 56 h 56"/>
                <a:gd name="T8" fmla="*/ 176 w 177"/>
                <a:gd name="T9" fmla="*/ 56 h 56"/>
                <a:gd name="T10" fmla="*/ 177 w 177"/>
                <a:gd name="T11" fmla="*/ 55 h 56"/>
                <a:gd name="T12" fmla="*/ 177 w 177"/>
                <a:gd name="T13" fmla="*/ 55 h 56"/>
                <a:gd name="T14" fmla="*/ 177 w 177"/>
                <a:gd name="T15" fmla="*/ 53 h 56"/>
                <a:gd name="T16" fmla="*/ 176 w 177"/>
                <a:gd name="T17" fmla="*/ 52 h 56"/>
                <a:gd name="T18" fmla="*/ 106 w 177"/>
                <a:gd name="T19" fmla="*/ 1 h 56"/>
                <a:gd name="T20" fmla="*/ 106 w 177"/>
                <a:gd name="T21" fmla="*/ 1 h 56"/>
                <a:gd name="T22" fmla="*/ 104 w 177"/>
                <a:gd name="T23" fmla="*/ 0 h 56"/>
                <a:gd name="T24" fmla="*/ 73 w 177"/>
                <a:gd name="T25" fmla="*/ 0 h 56"/>
                <a:gd name="T26" fmla="*/ 73 w 177"/>
                <a:gd name="T27" fmla="*/ 3 h 56"/>
                <a:gd name="T28" fmla="*/ 75 w 177"/>
                <a:gd name="T29" fmla="*/ 3 h 56"/>
                <a:gd name="T30" fmla="*/ 75 w 177"/>
                <a:gd name="T31" fmla="*/ 3 h 56"/>
                <a:gd name="T32" fmla="*/ 75 w 177"/>
                <a:gd name="T33" fmla="*/ 3 h 56"/>
                <a:gd name="T34" fmla="*/ 75 w 177"/>
                <a:gd name="T35" fmla="*/ 1 h 56"/>
                <a:gd name="T36" fmla="*/ 74 w 177"/>
                <a:gd name="T37" fmla="*/ 1 h 56"/>
                <a:gd name="T38" fmla="*/ 74 w 177"/>
                <a:gd name="T39" fmla="*/ 1 h 56"/>
                <a:gd name="T40" fmla="*/ 72 w 177"/>
                <a:gd name="T41" fmla="*/ 0 h 56"/>
                <a:gd name="T42" fmla="*/ 71 w 177"/>
                <a:gd name="T43" fmla="*/ 1 h 56"/>
                <a:gd name="T44" fmla="*/ 0 w 177"/>
                <a:gd name="T45" fmla="*/ 52 h 56"/>
                <a:gd name="T46" fmla="*/ 0 w 177"/>
                <a:gd name="T47" fmla="*/ 52 h 56"/>
                <a:gd name="T48" fmla="*/ 0 w 177"/>
                <a:gd name="T49" fmla="*/ 53 h 56"/>
                <a:gd name="T50" fmla="*/ 0 w 177"/>
                <a:gd name="T51" fmla="*/ 55 h 56"/>
                <a:gd name="T52" fmla="*/ 0 w 177"/>
                <a:gd name="T53" fmla="*/ 55 h 56"/>
                <a:gd name="T54" fmla="*/ 0 w 177"/>
                <a:gd name="T55" fmla="*/ 56 h 56"/>
                <a:gd name="T56" fmla="*/ 2 w 177"/>
                <a:gd name="T57" fmla="*/ 56 h 56"/>
                <a:gd name="T58" fmla="*/ 2 w 177"/>
                <a:gd name="T59" fmla="*/ 54 h 56"/>
                <a:gd name="T60" fmla="*/ 3 w 177"/>
                <a:gd name="T61" fmla="*/ 56 h 56"/>
                <a:gd name="T62" fmla="*/ 74 w 177"/>
                <a:gd name="T63" fmla="*/ 5 h 56"/>
                <a:gd name="T64" fmla="*/ 73 w 177"/>
                <a:gd name="T65" fmla="*/ 3 h 56"/>
                <a:gd name="T66" fmla="*/ 70 w 177"/>
                <a:gd name="T67" fmla="*/ 3 h 56"/>
                <a:gd name="T68" fmla="*/ 70 w 177"/>
                <a:gd name="T69" fmla="*/ 3 h 56"/>
                <a:gd name="T70" fmla="*/ 70 w 177"/>
                <a:gd name="T71" fmla="*/ 3 h 56"/>
                <a:gd name="T72" fmla="*/ 71 w 177"/>
                <a:gd name="T73" fmla="*/ 4 h 56"/>
                <a:gd name="T74" fmla="*/ 71 w 177"/>
                <a:gd name="T75" fmla="*/ 4 h 56"/>
                <a:gd name="T76" fmla="*/ 73 w 177"/>
                <a:gd name="T77" fmla="*/ 5 h 56"/>
                <a:gd name="T78" fmla="*/ 103 w 177"/>
                <a:gd name="T79" fmla="*/ 5 h 56"/>
                <a:gd name="T80" fmla="*/ 168 w 177"/>
                <a:gd name="T81" fmla="*/ 51 h 56"/>
                <a:gd name="T82" fmla="*/ 2 w 177"/>
                <a:gd name="T83" fmla="*/ 51 h 56"/>
                <a:gd name="T84" fmla="*/ 2 w 177"/>
                <a:gd name="T85" fmla="*/ 54 h 56"/>
                <a:gd name="T86" fmla="*/ 3 w 177"/>
                <a:gd name="T87" fmla="*/ 56 h 56"/>
                <a:gd name="T88" fmla="*/ 2 w 177"/>
                <a:gd name="T89" fmla="*/ 5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56">
                  <a:moveTo>
                    <a:pt x="2" y="54"/>
                  </a:moveTo>
                  <a:lnTo>
                    <a:pt x="2" y="56"/>
                  </a:lnTo>
                  <a:lnTo>
                    <a:pt x="175" y="56"/>
                  </a:lnTo>
                  <a:lnTo>
                    <a:pt x="175" y="56"/>
                  </a:lnTo>
                  <a:lnTo>
                    <a:pt x="176" y="56"/>
                  </a:lnTo>
                  <a:lnTo>
                    <a:pt x="177" y="55"/>
                  </a:lnTo>
                  <a:lnTo>
                    <a:pt x="177" y="55"/>
                  </a:lnTo>
                  <a:lnTo>
                    <a:pt x="177" y="53"/>
                  </a:lnTo>
                  <a:lnTo>
                    <a:pt x="176" y="52"/>
                  </a:lnTo>
                  <a:lnTo>
                    <a:pt x="106" y="1"/>
                  </a:lnTo>
                  <a:lnTo>
                    <a:pt x="106" y="1"/>
                  </a:lnTo>
                  <a:lnTo>
                    <a:pt x="104" y="0"/>
                  </a:lnTo>
                  <a:lnTo>
                    <a:pt x="73" y="0"/>
                  </a:lnTo>
                  <a:lnTo>
                    <a:pt x="73" y="3"/>
                  </a:lnTo>
                  <a:lnTo>
                    <a:pt x="75" y="3"/>
                  </a:lnTo>
                  <a:lnTo>
                    <a:pt x="75" y="3"/>
                  </a:lnTo>
                  <a:lnTo>
                    <a:pt x="75" y="3"/>
                  </a:lnTo>
                  <a:lnTo>
                    <a:pt x="75" y="1"/>
                  </a:lnTo>
                  <a:lnTo>
                    <a:pt x="74" y="1"/>
                  </a:lnTo>
                  <a:lnTo>
                    <a:pt x="74" y="1"/>
                  </a:lnTo>
                  <a:lnTo>
                    <a:pt x="72" y="0"/>
                  </a:lnTo>
                  <a:lnTo>
                    <a:pt x="71" y="1"/>
                  </a:lnTo>
                  <a:lnTo>
                    <a:pt x="0" y="52"/>
                  </a:lnTo>
                  <a:lnTo>
                    <a:pt x="0" y="52"/>
                  </a:lnTo>
                  <a:lnTo>
                    <a:pt x="0" y="53"/>
                  </a:lnTo>
                  <a:lnTo>
                    <a:pt x="0" y="55"/>
                  </a:lnTo>
                  <a:lnTo>
                    <a:pt x="0" y="55"/>
                  </a:lnTo>
                  <a:lnTo>
                    <a:pt x="0" y="56"/>
                  </a:lnTo>
                  <a:lnTo>
                    <a:pt x="2" y="56"/>
                  </a:lnTo>
                  <a:lnTo>
                    <a:pt x="2" y="54"/>
                  </a:lnTo>
                  <a:lnTo>
                    <a:pt x="3" y="56"/>
                  </a:lnTo>
                  <a:lnTo>
                    <a:pt x="74" y="5"/>
                  </a:lnTo>
                  <a:lnTo>
                    <a:pt x="73" y="3"/>
                  </a:lnTo>
                  <a:lnTo>
                    <a:pt x="70" y="3"/>
                  </a:lnTo>
                  <a:lnTo>
                    <a:pt x="70" y="3"/>
                  </a:lnTo>
                  <a:lnTo>
                    <a:pt x="70" y="3"/>
                  </a:lnTo>
                  <a:lnTo>
                    <a:pt x="71" y="4"/>
                  </a:lnTo>
                  <a:lnTo>
                    <a:pt x="71" y="4"/>
                  </a:lnTo>
                  <a:lnTo>
                    <a:pt x="73" y="5"/>
                  </a:lnTo>
                  <a:lnTo>
                    <a:pt x="103" y="5"/>
                  </a:lnTo>
                  <a:lnTo>
                    <a:pt x="168" y="51"/>
                  </a:lnTo>
                  <a:lnTo>
                    <a:pt x="2" y="51"/>
                  </a:lnTo>
                  <a:lnTo>
                    <a:pt x="2" y="54"/>
                  </a:lnTo>
                  <a:lnTo>
                    <a:pt x="3" y="56"/>
                  </a:lnTo>
                  <a:lnTo>
                    <a:pt x="2" y="54"/>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grpSp>
      <p:grpSp>
        <p:nvGrpSpPr>
          <p:cNvPr id="157" name="Group 156"/>
          <p:cNvGrpSpPr/>
          <p:nvPr/>
        </p:nvGrpSpPr>
        <p:grpSpPr>
          <a:xfrm>
            <a:off x="5861849" y="1980846"/>
            <a:ext cx="1103089" cy="1061374"/>
            <a:chOff x="5265154" y="315168"/>
            <a:chExt cx="1470785" cy="1415165"/>
          </a:xfrm>
        </p:grpSpPr>
        <p:sp>
          <p:nvSpPr>
            <p:cNvPr id="158" name="Freeform 1359"/>
            <p:cNvSpPr/>
            <p:nvPr/>
          </p:nvSpPr>
          <p:spPr bwMode="auto">
            <a:xfrm>
              <a:off x="6253916" y="908426"/>
              <a:ext cx="475842" cy="543819"/>
            </a:xfrm>
            <a:custGeom>
              <a:avLst/>
              <a:gdLst>
                <a:gd name="T0" fmla="*/ 182 w 231"/>
                <a:gd name="T1" fmla="*/ 49 h 264"/>
                <a:gd name="T2" fmla="*/ 201 w 231"/>
                <a:gd name="T3" fmla="*/ 66 h 264"/>
                <a:gd name="T4" fmla="*/ 215 w 231"/>
                <a:gd name="T5" fmla="*/ 85 h 264"/>
                <a:gd name="T6" fmla="*/ 225 w 231"/>
                <a:gd name="T7" fmla="*/ 107 h 264"/>
                <a:gd name="T8" fmla="*/ 230 w 231"/>
                <a:gd name="T9" fmla="*/ 130 h 264"/>
                <a:gd name="T10" fmla="*/ 231 w 231"/>
                <a:gd name="T11" fmla="*/ 153 h 264"/>
                <a:gd name="T12" fmla="*/ 227 w 231"/>
                <a:gd name="T13" fmla="*/ 176 h 264"/>
                <a:gd name="T14" fmla="*/ 219 w 231"/>
                <a:gd name="T15" fmla="*/ 198 h 264"/>
                <a:gd name="T16" fmla="*/ 206 w 231"/>
                <a:gd name="T17" fmla="*/ 219 h 264"/>
                <a:gd name="T18" fmla="*/ 198 w 231"/>
                <a:gd name="T19" fmla="*/ 229 h 264"/>
                <a:gd name="T20" fmla="*/ 180 w 231"/>
                <a:gd name="T21" fmla="*/ 244 h 264"/>
                <a:gd name="T22" fmla="*/ 161 w 231"/>
                <a:gd name="T23" fmla="*/ 255 h 264"/>
                <a:gd name="T24" fmla="*/ 140 w 231"/>
                <a:gd name="T25" fmla="*/ 262 h 264"/>
                <a:gd name="T26" fmla="*/ 119 w 231"/>
                <a:gd name="T27" fmla="*/ 264 h 264"/>
                <a:gd name="T28" fmla="*/ 97 w 231"/>
                <a:gd name="T29" fmla="*/ 262 h 264"/>
                <a:gd name="T30" fmla="*/ 76 w 231"/>
                <a:gd name="T31" fmla="*/ 256 h 264"/>
                <a:gd name="T32" fmla="*/ 55 w 231"/>
                <a:gd name="T33" fmla="*/ 245 h 264"/>
                <a:gd name="T34" fmla="*/ 45 w 231"/>
                <a:gd name="T35" fmla="*/ 238 h 264"/>
                <a:gd name="T36" fmla="*/ 27 w 231"/>
                <a:gd name="T37" fmla="*/ 219 h 264"/>
                <a:gd name="T38" fmla="*/ 14 w 231"/>
                <a:gd name="T39" fmla="*/ 195 h 264"/>
                <a:gd name="T40" fmla="*/ 5 w 231"/>
                <a:gd name="T41" fmla="*/ 167 h 264"/>
                <a:gd name="T42" fmla="*/ 0 w 231"/>
                <a:gd name="T43" fmla="*/ 137 h 264"/>
                <a:gd name="T44" fmla="*/ 0 w 231"/>
                <a:gd name="T45" fmla="*/ 107 h 264"/>
                <a:gd name="T46" fmla="*/ 5 w 231"/>
                <a:gd name="T47" fmla="*/ 77 h 264"/>
                <a:gd name="T48" fmla="*/ 13 w 231"/>
                <a:gd name="T49" fmla="*/ 50 h 264"/>
                <a:gd name="T50" fmla="*/ 26 w 231"/>
                <a:gd name="T51" fmla="*/ 28 h 264"/>
                <a:gd name="T52" fmla="*/ 34 w 231"/>
                <a:gd name="T53" fmla="*/ 19 h 264"/>
                <a:gd name="T54" fmla="*/ 51 w 231"/>
                <a:gd name="T55" fmla="*/ 6 h 264"/>
                <a:gd name="T56" fmla="*/ 70 w 231"/>
                <a:gd name="T57" fmla="*/ 1 h 264"/>
                <a:gd name="T58" fmla="*/ 90 w 231"/>
                <a:gd name="T59" fmla="*/ 1 h 264"/>
                <a:gd name="T60" fmla="*/ 110 w 231"/>
                <a:gd name="T61" fmla="*/ 6 h 264"/>
                <a:gd name="T62" fmla="*/ 131 w 231"/>
                <a:gd name="T63" fmla="*/ 15 h 264"/>
                <a:gd name="T64" fmla="*/ 162 w 231"/>
                <a:gd name="T65" fmla="*/ 34 h 264"/>
                <a:gd name="T66" fmla="*/ 182 w 231"/>
                <a:gd name="T67" fmla="*/ 4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 h="264">
                  <a:moveTo>
                    <a:pt x="182" y="49"/>
                  </a:moveTo>
                  <a:lnTo>
                    <a:pt x="182" y="49"/>
                  </a:lnTo>
                  <a:lnTo>
                    <a:pt x="192" y="57"/>
                  </a:lnTo>
                  <a:lnTo>
                    <a:pt x="201" y="66"/>
                  </a:lnTo>
                  <a:lnTo>
                    <a:pt x="209" y="75"/>
                  </a:lnTo>
                  <a:lnTo>
                    <a:pt x="215" y="85"/>
                  </a:lnTo>
                  <a:lnTo>
                    <a:pt x="220" y="96"/>
                  </a:lnTo>
                  <a:lnTo>
                    <a:pt x="225" y="107"/>
                  </a:lnTo>
                  <a:lnTo>
                    <a:pt x="228" y="118"/>
                  </a:lnTo>
                  <a:lnTo>
                    <a:pt x="230" y="130"/>
                  </a:lnTo>
                  <a:lnTo>
                    <a:pt x="231" y="141"/>
                  </a:lnTo>
                  <a:lnTo>
                    <a:pt x="231" y="153"/>
                  </a:lnTo>
                  <a:lnTo>
                    <a:pt x="230" y="164"/>
                  </a:lnTo>
                  <a:lnTo>
                    <a:pt x="227" y="176"/>
                  </a:lnTo>
                  <a:lnTo>
                    <a:pt x="224" y="187"/>
                  </a:lnTo>
                  <a:lnTo>
                    <a:pt x="219" y="198"/>
                  </a:lnTo>
                  <a:lnTo>
                    <a:pt x="213" y="209"/>
                  </a:lnTo>
                  <a:lnTo>
                    <a:pt x="206" y="219"/>
                  </a:lnTo>
                  <a:lnTo>
                    <a:pt x="206" y="219"/>
                  </a:lnTo>
                  <a:lnTo>
                    <a:pt x="198" y="229"/>
                  </a:lnTo>
                  <a:lnTo>
                    <a:pt x="189" y="237"/>
                  </a:lnTo>
                  <a:lnTo>
                    <a:pt x="180" y="244"/>
                  </a:lnTo>
                  <a:lnTo>
                    <a:pt x="170" y="250"/>
                  </a:lnTo>
                  <a:lnTo>
                    <a:pt x="161" y="255"/>
                  </a:lnTo>
                  <a:lnTo>
                    <a:pt x="150" y="259"/>
                  </a:lnTo>
                  <a:lnTo>
                    <a:pt x="140" y="262"/>
                  </a:lnTo>
                  <a:lnTo>
                    <a:pt x="130" y="264"/>
                  </a:lnTo>
                  <a:lnTo>
                    <a:pt x="119" y="264"/>
                  </a:lnTo>
                  <a:lnTo>
                    <a:pt x="108" y="264"/>
                  </a:lnTo>
                  <a:lnTo>
                    <a:pt x="97" y="262"/>
                  </a:lnTo>
                  <a:lnTo>
                    <a:pt x="87" y="259"/>
                  </a:lnTo>
                  <a:lnTo>
                    <a:pt x="76" y="256"/>
                  </a:lnTo>
                  <a:lnTo>
                    <a:pt x="65" y="251"/>
                  </a:lnTo>
                  <a:lnTo>
                    <a:pt x="55" y="245"/>
                  </a:lnTo>
                  <a:lnTo>
                    <a:pt x="45" y="238"/>
                  </a:lnTo>
                  <a:lnTo>
                    <a:pt x="45" y="238"/>
                  </a:lnTo>
                  <a:lnTo>
                    <a:pt x="35" y="229"/>
                  </a:lnTo>
                  <a:lnTo>
                    <a:pt x="27" y="219"/>
                  </a:lnTo>
                  <a:lnTo>
                    <a:pt x="20" y="208"/>
                  </a:lnTo>
                  <a:lnTo>
                    <a:pt x="14" y="195"/>
                  </a:lnTo>
                  <a:lnTo>
                    <a:pt x="9" y="182"/>
                  </a:lnTo>
                  <a:lnTo>
                    <a:pt x="5" y="167"/>
                  </a:lnTo>
                  <a:lnTo>
                    <a:pt x="2" y="153"/>
                  </a:lnTo>
                  <a:lnTo>
                    <a:pt x="0" y="137"/>
                  </a:lnTo>
                  <a:lnTo>
                    <a:pt x="0" y="122"/>
                  </a:lnTo>
                  <a:lnTo>
                    <a:pt x="0" y="107"/>
                  </a:lnTo>
                  <a:lnTo>
                    <a:pt x="2" y="92"/>
                  </a:lnTo>
                  <a:lnTo>
                    <a:pt x="5" y="77"/>
                  </a:lnTo>
                  <a:lnTo>
                    <a:pt x="8" y="63"/>
                  </a:lnTo>
                  <a:lnTo>
                    <a:pt x="13" y="50"/>
                  </a:lnTo>
                  <a:lnTo>
                    <a:pt x="19" y="38"/>
                  </a:lnTo>
                  <a:lnTo>
                    <a:pt x="26" y="28"/>
                  </a:lnTo>
                  <a:lnTo>
                    <a:pt x="26" y="28"/>
                  </a:lnTo>
                  <a:lnTo>
                    <a:pt x="34" y="19"/>
                  </a:lnTo>
                  <a:lnTo>
                    <a:pt x="42" y="12"/>
                  </a:lnTo>
                  <a:lnTo>
                    <a:pt x="51" y="6"/>
                  </a:lnTo>
                  <a:lnTo>
                    <a:pt x="60" y="3"/>
                  </a:lnTo>
                  <a:lnTo>
                    <a:pt x="70" y="1"/>
                  </a:lnTo>
                  <a:lnTo>
                    <a:pt x="80" y="0"/>
                  </a:lnTo>
                  <a:lnTo>
                    <a:pt x="90" y="1"/>
                  </a:lnTo>
                  <a:lnTo>
                    <a:pt x="100" y="3"/>
                  </a:lnTo>
                  <a:lnTo>
                    <a:pt x="110" y="6"/>
                  </a:lnTo>
                  <a:lnTo>
                    <a:pt x="120" y="11"/>
                  </a:lnTo>
                  <a:lnTo>
                    <a:pt x="131" y="15"/>
                  </a:lnTo>
                  <a:lnTo>
                    <a:pt x="141" y="21"/>
                  </a:lnTo>
                  <a:lnTo>
                    <a:pt x="162" y="34"/>
                  </a:lnTo>
                  <a:lnTo>
                    <a:pt x="182" y="49"/>
                  </a:lnTo>
                  <a:lnTo>
                    <a:pt x="182" y="49"/>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59" name="Freeform 1360"/>
            <p:cNvSpPr/>
            <p:nvPr/>
          </p:nvSpPr>
          <p:spPr bwMode="auto">
            <a:xfrm>
              <a:off x="5487626" y="315168"/>
              <a:ext cx="1124716" cy="803369"/>
            </a:xfrm>
            <a:custGeom>
              <a:avLst/>
              <a:gdLst>
                <a:gd name="T0" fmla="*/ 33 w 547"/>
                <a:gd name="T1" fmla="*/ 0 h 389"/>
                <a:gd name="T2" fmla="*/ 514 w 547"/>
                <a:gd name="T3" fmla="*/ 0 h 389"/>
                <a:gd name="T4" fmla="*/ 514 w 547"/>
                <a:gd name="T5" fmla="*/ 0 h 389"/>
                <a:gd name="T6" fmla="*/ 520 w 547"/>
                <a:gd name="T7" fmla="*/ 1 h 389"/>
                <a:gd name="T8" fmla="*/ 526 w 547"/>
                <a:gd name="T9" fmla="*/ 3 h 389"/>
                <a:gd name="T10" fmla="*/ 532 w 547"/>
                <a:gd name="T11" fmla="*/ 6 h 389"/>
                <a:gd name="T12" fmla="*/ 537 w 547"/>
                <a:gd name="T13" fmla="*/ 10 h 389"/>
                <a:gd name="T14" fmla="*/ 541 w 547"/>
                <a:gd name="T15" fmla="*/ 15 h 389"/>
                <a:gd name="T16" fmla="*/ 544 w 547"/>
                <a:gd name="T17" fmla="*/ 20 h 389"/>
                <a:gd name="T18" fmla="*/ 546 w 547"/>
                <a:gd name="T19" fmla="*/ 27 h 389"/>
                <a:gd name="T20" fmla="*/ 547 w 547"/>
                <a:gd name="T21" fmla="*/ 34 h 389"/>
                <a:gd name="T22" fmla="*/ 547 w 547"/>
                <a:gd name="T23" fmla="*/ 356 h 389"/>
                <a:gd name="T24" fmla="*/ 547 w 547"/>
                <a:gd name="T25" fmla="*/ 356 h 389"/>
                <a:gd name="T26" fmla="*/ 546 w 547"/>
                <a:gd name="T27" fmla="*/ 362 h 389"/>
                <a:gd name="T28" fmla="*/ 544 w 547"/>
                <a:gd name="T29" fmla="*/ 368 h 389"/>
                <a:gd name="T30" fmla="*/ 541 w 547"/>
                <a:gd name="T31" fmla="*/ 374 h 389"/>
                <a:gd name="T32" fmla="*/ 537 w 547"/>
                <a:gd name="T33" fmla="*/ 379 h 389"/>
                <a:gd name="T34" fmla="*/ 532 w 547"/>
                <a:gd name="T35" fmla="*/ 383 h 389"/>
                <a:gd name="T36" fmla="*/ 526 w 547"/>
                <a:gd name="T37" fmla="*/ 386 h 389"/>
                <a:gd name="T38" fmla="*/ 520 w 547"/>
                <a:gd name="T39" fmla="*/ 388 h 389"/>
                <a:gd name="T40" fmla="*/ 514 w 547"/>
                <a:gd name="T41" fmla="*/ 389 h 389"/>
                <a:gd name="T42" fmla="*/ 33 w 547"/>
                <a:gd name="T43" fmla="*/ 389 h 389"/>
                <a:gd name="T44" fmla="*/ 33 w 547"/>
                <a:gd name="T45" fmla="*/ 389 h 389"/>
                <a:gd name="T46" fmla="*/ 27 w 547"/>
                <a:gd name="T47" fmla="*/ 388 h 389"/>
                <a:gd name="T48" fmla="*/ 20 w 547"/>
                <a:gd name="T49" fmla="*/ 386 h 389"/>
                <a:gd name="T50" fmla="*/ 15 w 547"/>
                <a:gd name="T51" fmla="*/ 383 h 389"/>
                <a:gd name="T52" fmla="*/ 10 w 547"/>
                <a:gd name="T53" fmla="*/ 379 h 389"/>
                <a:gd name="T54" fmla="*/ 6 w 547"/>
                <a:gd name="T55" fmla="*/ 374 h 389"/>
                <a:gd name="T56" fmla="*/ 3 w 547"/>
                <a:gd name="T57" fmla="*/ 368 h 389"/>
                <a:gd name="T58" fmla="*/ 1 w 547"/>
                <a:gd name="T59" fmla="*/ 362 h 389"/>
                <a:gd name="T60" fmla="*/ 0 w 547"/>
                <a:gd name="T61" fmla="*/ 356 h 389"/>
                <a:gd name="T62" fmla="*/ 0 w 547"/>
                <a:gd name="T63" fmla="*/ 34 h 389"/>
                <a:gd name="T64" fmla="*/ 0 w 547"/>
                <a:gd name="T65" fmla="*/ 34 h 389"/>
                <a:gd name="T66" fmla="*/ 1 w 547"/>
                <a:gd name="T67" fmla="*/ 27 h 389"/>
                <a:gd name="T68" fmla="*/ 3 w 547"/>
                <a:gd name="T69" fmla="*/ 20 h 389"/>
                <a:gd name="T70" fmla="*/ 6 w 547"/>
                <a:gd name="T71" fmla="*/ 15 h 389"/>
                <a:gd name="T72" fmla="*/ 10 w 547"/>
                <a:gd name="T73" fmla="*/ 10 h 389"/>
                <a:gd name="T74" fmla="*/ 15 w 547"/>
                <a:gd name="T75" fmla="*/ 6 h 389"/>
                <a:gd name="T76" fmla="*/ 20 w 547"/>
                <a:gd name="T77" fmla="*/ 3 h 389"/>
                <a:gd name="T78" fmla="*/ 27 w 547"/>
                <a:gd name="T79" fmla="*/ 1 h 389"/>
                <a:gd name="T80" fmla="*/ 33 w 547"/>
                <a:gd name="T81" fmla="*/ 0 h 389"/>
                <a:gd name="T82" fmla="*/ 33 w 547"/>
                <a:gd name="T83"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7" h="389">
                  <a:moveTo>
                    <a:pt x="33" y="0"/>
                  </a:moveTo>
                  <a:lnTo>
                    <a:pt x="514" y="0"/>
                  </a:lnTo>
                  <a:lnTo>
                    <a:pt x="514" y="0"/>
                  </a:lnTo>
                  <a:lnTo>
                    <a:pt x="520" y="1"/>
                  </a:lnTo>
                  <a:lnTo>
                    <a:pt x="526" y="3"/>
                  </a:lnTo>
                  <a:lnTo>
                    <a:pt x="532" y="6"/>
                  </a:lnTo>
                  <a:lnTo>
                    <a:pt x="537" y="10"/>
                  </a:lnTo>
                  <a:lnTo>
                    <a:pt x="541" y="15"/>
                  </a:lnTo>
                  <a:lnTo>
                    <a:pt x="544" y="20"/>
                  </a:lnTo>
                  <a:lnTo>
                    <a:pt x="546" y="27"/>
                  </a:lnTo>
                  <a:lnTo>
                    <a:pt x="547" y="34"/>
                  </a:lnTo>
                  <a:lnTo>
                    <a:pt x="547" y="356"/>
                  </a:lnTo>
                  <a:lnTo>
                    <a:pt x="547" y="356"/>
                  </a:lnTo>
                  <a:lnTo>
                    <a:pt x="546" y="362"/>
                  </a:lnTo>
                  <a:lnTo>
                    <a:pt x="544" y="368"/>
                  </a:lnTo>
                  <a:lnTo>
                    <a:pt x="541" y="374"/>
                  </a:lnTo>
                  <a:lnTo>
                    <a:pt x="537" y="379"/>
                  </a:lnTo>
                  <a:lnTo>
                    <a:pt x="532" y="383"/>
                  </a:lnTo>
                  <a:lnTo>
                    <a:pt x="526" y="386"/>
                  </a:lnTo>
                  <a:lnTo>
                    <a:pt x="520" y="388"/>
                  </a:lnTo>
                  <a:lnTo>
                    <a:pt x="514" y="389"/>
                  </a:lnTo>
                  <a:lnTo>
                    <a:pt x="33" y="389"/>
                  </a:lnTo>
                  <a:lnTo>
                    <a:pt x="33" y="389"/>
                  </a:lnTo>
                  <a:lnTo>
                    <a:pt x="27" y="388"/>
                  </a:lnTo>
                  <a:lnTo>
                    <a:pt x="20" y="386"/>
                  </a:lnTo>
                  <a:lnTo>
                    <a:pt x="15" y="383"/>
                  </a:lnTo>
                  <a:lnTo>
                    <a:pt x="10" y="379"/>
                  </a:lnTo>
                  <a:lnTo>
                    <a:pt x="6" y="374"/>
                  </a:lnTo>
                  <a:lnTo>
                    <a:pt x="3" y="368"/>
                  </a:lnTo>
                  <a:lnTo>
                    <a:pt x="1" y="362"/>
                  </a:lnTo>
                  <a:lnTo>
                    <a:pt x="0" y="356"/>
                  </a:lnTo>
                  <a:lnTo>
                    <a:pt x="0" y="34"/>
                  </a:lnTo>
                  <a:lnTo>
                    <a:pt x="0" y="34"/>
                  </a:lnTo>
                  <a:lnTo>
                    <a:pt x="1" y="27"/>
                  </a:lnTo>
                  <a:lnTo>
                    <a:pt x="3" y="20"/>
                  </a:lnTo>
                  <a:lnTo>
                    <a:pt x="6" y="15"/>
                  </a:lnTo>
                  <a:lnTo>
                    <a:pt x="10" y="10"/>
                  </a:lnTo>
                  <a:lnTo>
                    <a:pt x="15" y="6"/>
                  </a:lnTo>
                  <a:lnTo>
                    <a:pt x="20" y="3"/>
                  </a:lnTo>
                  <a:lnTo>
                    <a:pt x="27" y="1"/>
                  </a:lnTo>
                  <a:lnTo>
                    <a:pt x="33" y="0"/>
                  </a:lnTo>
                  <a:lnTo>
                    <a:pt x="33" y="0"/>
                  </a:lnTo>
                  <a:close/>
                </a:path>
              </a:pathLst>
            </a:custGeom>
            <a:solidFill>
              <a:srgbClr val="004E78"/>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60" name="Freeform 1361"/>
            <p:cNvSpPr/>
            <p:nvPr/>
          </p:nvSpPr>
          <p:spPr bwMode="auto">
            <a:xfrm>
              <a:off x="5580323" y="364607"/>
              <a:ext cx="926964" cy="704493"/>
            </a:xfrm>
            <a:custGeom>
              <a:avLst/>
              <a:gdLst>
                <a:gd name="T0" fmla="*/ 0 w 450"/>
                <a:gd name="T1" fmla="*/ 339 h 340"/>
                <a:gd name="T2" fmla="*/ 0 w 450"/>
                <a:gd name="T3" fmla="*/ 1 h 340"/>
                <a:gd name="T4" fmla="*/ 0 w 450"/>
                <a:gd name="T5" fmla="*/ 1 h 340"/>
                <a:gd name="T6" fmla="*/ 1 w 450"/>
                <a:gd name="T7" fmla="*/ 0 h 340"/>
                <a:gd name="T8" fmla="*/ 450 w 450"/>
                <a:gd name="T9" fmla="*/ 0 h 340"/>
                <a:gd name="T10" fmla="*/ 450 w 450"/>
                <a:gd name="T11" fmla="*/ 0 h 340"/>
                <a:gd name="T12" fmla="*/ 450 w 450"/>
                <a:gd name="T13" fmla="*/ 1 h 340"/>
                <a:gd name="T14" fmla="*/ 450 w 450"/>
                <a:gd name="T15" fmla="*/ 339 h 340"/>
                <a:gd name="T16" fmla="*/ 450 w 450"/>
                <a:gd name="T17" fmla="*/ 339 h 340"/>
                <a:gd name="T18" fmla="*/ 450 w 450"/>
                <a:gd name="T19" fmla="*/ 340 h 340"/>
                <a:gd name="T20" fmla="*/ 1 w 450"/>
                <a:gd name="T21" fmla="*/ 340 h 340"/>
                <a:gd name="T22" fmla="*/ 1 w 450"/>
                <a:gd name="T23" fmla="*/ 340 h 340"/>
                <a:gd name="T24" fmla="*/ 0 w 450"/>
                <a:gd name="T25" fmla="*/ 339 h 340"/>
                <a:gd name="T26" fmla="*/ 0 w 450"/>
                <a:gd name="T27" fmla="*/ 33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0" h="340">
                  <a:moveTo>
                    <a:pt x="0" y="339"/>
                  </a:moveTo>
                  <a:lnTo>
                    <a:pt x="0" y="1"/>
                  </a:lnTo>
                  <a:lnTo>
                    <a:pt x="0" y="1"/>
                  </a:lnTo>
                  <a:lnTo>
                    <a:pt x="1" y="0"/>
                  </a:lnTo>
                  <a:lnTo>
                    <a:pt x="450" y="0"/>
                  </a:lnTo>
                  <a:lnTo>
                    <a:pt x="450" y="0"/>
                  </a:lnTo>
                  <a:lnTo>
                    <a:pt x="450" y="1"/>
                  </a:lnTo>
                  <a:lnTo>
                    <a:pt x="450" y="339"/>
                  </a:lnTo>
                  <a:lnTo>
                    <a:pt x="450" y="339"/>
                  </a:lnTo>
                  <a:lnTo>
                    <a:pt x="450" y="340"/>
                  </a:lnTo>
                  <a:lnTo>
                    <a:pt x="1" y="340"/>
                  </a:lnTo>
                  <a:lnTo>
                    <a:pt x="1" y="340"/>
                  </a:lnTo>
                  <a:lnTo>
                    <a:pt x="0" y="339"/>
                  </a:lnTo>
                  <a:lnTo>
                    <a:pt x="0" y="33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61" name="Freeform 1362"/>
            <p:cNvSpPr/>
            <p:nvPr/>
          </p:nvSpPr>
          <p:spPr bwMode="auto">
            <a:xfrm>
              <a:off x="5512345" y="624156"/>
              <a:ext cx="18540" cy="185393"/>
            </a:xfrm>
            <a:custGeom>
              <a:avLst/>
              <a:gdLst>
                <a:gd name="T0" fmla="*/ 0 w 8"/>
                <a:gd name="T1" fmla="*/ 88 h 92"/>
                <a:gd name="T2" fmla="*/ 0 w 8"/>
                <a:gd name="T3" fmla="*/ 4 h 92"/>
                <a:gd name="T4" fmla="*/ 0 w 8"/>
                <a:gd name="T5" fmla="*/ 4 h 92"/>
                <a:gd name="T6" fmla="*/ 0 w 8"/>
                <a:gd name="T7" fmla="*/ 2 h 92"/>
                <a:gd name="T8" fmla="*/ 1 w 8"/>
                <a:gd name="T9" fmla="*/ 1 h 92"/>
                <a:gd name="T10" fmla="*/ 2 w 8"/>
                <a:gd name="T11" fmla="*/ 0 h 92"/>
                <a:gd name="T12" fmla="*/ 4 w 8"/>
                <a:gd name="T13" fmla="*/ 0 h 92"/>
                <a:gd name="T14" fmla="*/ 4 w 8"/>
                <a:gd name="T15" fmla="*/ 0 h 92"/>
                <a:gd name="T16" fmla="*/ 6 w 8"/>
                <a:gd name="T17" fmla="*/ 0 h 92"/>
                <a:gd name="T18" fmla="*/ 7 w 8"/>
                <a:gd name="T19" fmla="*/ 1 h 92"/>
                <a:gd name="T20" fmla="*/ 8 w 8"/>
                <a:gd name="T21" fmla="*/ 2 h 92"/>
                <a:gd name="T22" fmla="*/ 8 w 8"/>
                <a:gd name="T23" fmla="*/ 4 h 92"/>
                <a:gd name="T24" fmla="*/ 8 w 8"/>
                <a:gd name="T25" fmla="*/ 88 h 92"/>
                <a:gd name="T26" fmla="*/ 8 w 8"/>
                <a:gd name="T27" fmla="*/ 88 h 92"/>
                <a:gd name="T28" fmla="*/ 8 w 8"/>
                <a:gd name="T29" fmla="*/ 89 h 92"/>
                <a:gd name="T30" fmla="*/ 7 w 8"/>
                <a:gd name="T31" fmla="*/ 91 h 92"/>
                <a:gd name="T32" fmla="*/ 6 w 8"/>
                <a:gd name="T33" fmla="*/ 92 h 92"/>
                <a:gd name="T34" fmla="*/ 4 w 8"/>
                <a:gd name="T35" fmla="*/ 92 h 92"/>
                <a:gd name="T36" fmla="*/ 4 w 8"/>
                <a:gd name="T37" fmla="*/ 92 h 92"/>
                <a:gd name="T38" fmla="*/ 2 w 8"/>
                <a:gd name="T39" fmla="*/ 92 h 92"/>
                <a:gd name="T40" fmla="*/ 1 w 8"/>
                <a:gd name="T41" fmla="*/ 91 h 92"/>
                <a:gd name="T42" fmla="*/ 0 w 8"/>
                <a:gd name="T43" fmla="*/ 89 h 92"/>
                <a:gd name="T44" fmla="*/ 0 w 8"/>
                <a:gd name="T45" fmla="*/ 88 h 92"/>
                <a:gd name="T46" fmla="*/ 0 w 8"/>
                <a:gd name="T47"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92">
                  <a:moveTo>
                    <a:pt x="0" y="88"/>
                  </a:moveTo>
                  <a:lnTo>
                    <a:pt x="0" y="4"/>
                  </a:lnTo>
                  <a:lnTo>
                    <a:pt x="0" y="4"/>
                  </a:lnTo>
                  <a:lnTo>
                    <a:pt x="0" y="2"/>
                  </a:lnTo>
                  <a:lnTo>
                    <a:pt x="1" y="1"/>
                  </a:lnTo>
                  <a:lnTo>
                    <a:pt x="2" y="0"/>
                  </a:lnTo>
                  <a:lnTo>
                    <a:pt x="4" y="0"/>
                  </a:lnTo>
                  <a:lnTo>
                    <a:pt x="4" y="0"/>
                  </a:lnTo>
                  <a:lnTo>
                    <a:pt x="6" y="0"/>
                  </a:lnTo>
                  <a:lnTo>
                    <a:pt x="7" y="1"/>
                  </a:lnTo>
                  <a:lnTo>
                    <a:pt x="8" y="2"/>
                  </a:lnTo>
                  <a:lnTo>
                    <a:pt x="8" y="4"/>
                  </a:lnTo>
                  <a:lnTo>
                    <a:pt x="8" y="88"/>
                  </a:lnTo>
                  <a:lnTo>
                    <a:pt x="8" y="88"/>
                  </a:lnTo>
                  <a:lnTo>
                    <a:pt x="8" y="89"/>
                  </a:lnTo>
                  <a:lnTo>
                    <a:pt x="7" y="91"/>
                  </a:lnTo>
                  <a:lnTo>
                    <a:pt x="6" y="92"/>
                  </a:lnTo>
                  <a:lnTo>
                    <a:pt x="4" y="92"/>
                  </a:lnTo>
                  <a:lnTo>
                    <a:pt x="4" y="92"/>
                  </a:lnTo>
                  <a:lnTo>
                    <a:pt x="2" y="92"/>
                  </a:lnTo>
                  <a:lnTo>
                    <a:pt x="1" y="91"/>
                  </a:lnTo>
                  <a:lnTo>
                    <a:pt x="0" y="89"/>
                  </a:lnTo>
                  <a:lnTo>
                    <a:pt x="0" y="88"/>
                  </a:lnTo>
                  <a:lnTo>
                    <a:pt x="0" y="88"/>
                  </a:lnTo>
                  <a:close/>
                </a:path>
              </a:pathLst>
            </a:custGeom>
            <a:solidFill>
              <a:srgbClr val="5896CC"/>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62" name="Freeform 1363"/>
            <p:cNvSpPr/>
            <p:nvPr/>
          </p:nvSpPr>
          <p:spPr bwMode="auto">
            <a:xfrm>
              <a:off x="6525825" y="685954"/>
              <a:ext cx="61798" cy="61798"/>
            </a:xfrm>
            <a:custGeom>
              <a:avLst/>
              <a:gdLst>
                <a:gd name="T0" fmla="*/ 0 w 28"/>
                <a:gd name="T1" fmla="*/ 14 h 28"/>
                <a:gd name="T2" fmla="*/ 0 w 28"/>
                <a:gd name="T3" fmla="*/ 14 h 28"/>
                <a:gd name="T4" fmla="*/ 1 w 28"/>
                <a:gd name="T5" fmla="*/ 8 h 28"/>
                <a:gd name="T6" fmla="*/ 4 w 28"/>
                <a:gd name="T7" fmla="*/ 4 h 28"/>
                <a:gd name="T8" fmla="*/ 8 w 28"/>
                <a:gd name="T9" fmla="*/ 1 h 28"/>
                <a:gd name="T10" fmla="*/ 14 w 28"/>
                <a:gd name="T11" fmla="*/ 0 h 28"/>
                <a:gd name="T12" fmla="*/ 14 w 28"/>
                <a:gd name="T13" fmla="*/ 0 h 28"/>
                <a:gd name="T14" fmla="*/ 19 w 28"/>
                <a:gd name="T15" fmla="*/ 1 h 28"/>
                <a:gd name="T16" fmla="*/ 24 w 28"/>
                <a:gd name="T17" fmla="*/ 4 h 28"/>
                <a:gd name="T18" fmla="*/ 27 w 28"/>
                <a:gd name="T19" fmla="*/ 8 h 28"/>
                <a:gd name="T20" fmla="*/ 28 w 28"/>
                <a:gd name="T21" fmla="*/ 14 h 28"/>
                <a:gd name="T22" fmla="*/ 28 w 28"/>
                <a:gd name="T23" fmla="*/ 14 h 28"/>
                <a:gd name="T24" fmla="*/ 27 w 28"/>
                <a:gd name="T25" fmla="*/ 19 h 28"/>
                <a:gd name="T26" fmla="*/ 24 w 28"/>
                <a:gd name="T27" fmla="*/ 24 h 28"/>
                <a:gd name="T28" fmla="*/ 19 w 28"/>
                <a:gd name="T29" fmla="*/ 27 h 28"/>
                <a:gd name="T30" fmla="*/ 14 w 28"/>
                <a:gd name="T31" fmla="*/ 28 h 28"/>
                <a:gd name="T32" fmla="*/ 14 w 28"/>
                <a:gd name="T33" fmla="*/ 28 h 28"/>
                <a:gd name="T34" fmla="*/ 8 w 28"/>
                <a:gd name="T35" fmla="*/ 27 h 28"/>
                <a:gd name="T36" fmla="*/ 4 w 28"/>
                <a:gd name="T37" fmla="*/ 24 h 28"/>
                <a:gd name="T38" fmla="*/ 1 w 28"/>
                <a:gd name="T39" fmla="*/ 19 h 28"/>
                <a:gd name="T40" fmla="*/ 0 w 28"/>
                <a:gd name="T41" fmla="*/ 14 h 28"/>
                <a:gd name="T42" fmla="*/ 0 w 28"/>
                <a:gd name="T43"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28">
                  <a:moveTo>
                    <a:pt x="0" y="14"/>
                  </a:moveTo>
                  <a:lnTo>
                    <a:pt x="0" y="14"/>
                  </a:lnTo>
                  <a:lnTo>
                    <a:pt x="1" y="8"/>
                  </a:lnTo>
                  <a:lnTo>
                    <a:pt x="4" y="4"/>
                  </a:lnTo>
                  <a:lnTo>
                    <a:pt x="8" y="1"/>
                  </a:lnTo>
                  <a:lnTo>
                    <a:pt x="14" y="0"/>
                  </a:lnTo>
                  <a:lnTo>
                    <a:pt x="14" y="0"/>
                  </a:lnTo>
                  <a:lnTo>
                    <a:pt x="19" y="1"/>
                  </a:lnTo>
                  <a:lnTo>
                    <a:pt x="24" y="4"/>
                  </a:lnTo>
                  <a:lnTo>
                    <a:pt x="27" y="8"/>
                  </a:lnTo>
                  <a:lnTo>
                    <a:pt x="28" y="14"/>
                  </a:lnTo>
                  <a:lnTo>
                    <a:pt x="28" y="14"/>
                  </a:lnTo>
                  <a:lnTo>
                    <a:pt x="27" y="19"/>
                  </a:lnTo>
                  <a:lnTo>
                    <a:pt x="24" y="24"/>
                  </a:lnTo>
                  <a:lnTo>
                    <a:pt x="19" y="27"/>
                  </a:lnTo>
                  <a:lnTo>
                    <a:pt x="14" y="28"/>
                  </a:lnTo>
                  <a:lnTo>
                    <a:pt x="14" y="28"/>
                  </a:lnTo>
                  <a:lnTo>
                    <a:pt x="8" y="27"/>
                  </a:lnTo>
                  <a:lnTo>
                    <a:pt x="4" y="24"/>
                  </a:lnTo>
                  <a:lnTo>
                    <a:pt x="1" y="19"/>
                  </a:lnTo>
                  <a:lnTo>
                    <a:pt x="0" y="14"/>
                  </a:lnTo>
                  <a:lnTo>
                    <a:pt x="0" y="14"/>
                  </a:lnTo>
                  <a:close/>
                </a:path>
              </a:pathLst>
            </a:custGeom>
            <a:solidFill>
              <a:srgbClr val="4899C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63" name="Freeform 1364"/>
            <p:cNvSpPr/>
            <p:nvPr/>
          </p:nvSpPr>
          <p:spPr bwMode="auto">
            <a:xfrm>
              <a:off x="6346612" y="747752"/>
              <a:ext cx="92697" cy="98876"/>
            </a:xfrm>
            <a:custGeom>
              <a:avLst/>
              <a:gdLst>
                <a:gd name="T0" fmla="*/ 0 w 45"/>
                <a:gd name="T1" fmla="*/ 49 h 49"/>
                <a:gd name="T2" fmla="*/ 45 w 45"/>
                <a:gd name="T3" fmla="*/ 25 h 49"/>
                <a:gd name="T4" fmla="*/ 0 w 45"/>
                <a:gd name="T5" fmla="*/ 0 h 49"/>
                <a:gd name="T6" fmla="*/ 0 w 45"/>
                <a:gd name="T7" fmla="*/ 49 h 49"/>
              </a:gdLst>
              <a:ahLst/>
              <a:cxnLst>
                <a:cxn ang="0">
                  <a:pos x="T0" y="T1"/>
                </a:cxn>
                <a:cxn ang="0">
                  <a:pos x="T2" y="T3"/>
                </a:cxn>
                <a:cxn ang="0">
                  <a:pos x="T4" y="T5"/>
                </a:cxn>
                <a:cxn ang="0">
                  <a:pos x="T6" y="T7"/>
                </a:cxn>
              </a:cxnLst>
              <a:rect l="0" t="0" r="r" b="b"/>
              <a:pathLst>
                <a:path w="45" h="49">
                  <a:moveTo>
                    <a:pt x="0" y="49"/>
                  </a:moveTo>
                  <a:lnTo>
                    <a:pt x="45" y="25"/>
                  </a:lnTo>
                  <a:lnTo>
                    <a:pt x="0" y="0"/>
                  </a:lnTo>
                  <a:lnTo>
                    <a:pt x="0" y="49"/>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64" name="Rectangle 1365"/>
            <p:cNvSpPr>
              <a:spLocks noChangeArrowheads="1"/>
            </p:cNvSpPr>
            <p:nvPr/>
          </p:nvSpPr>
          <p:spPr bwMode="auto">
            <a:xfrm>
              <a:off x="6049984" y="791010"/>
              <a:ext cx="339885" cy="12359"/>
            </a:xfrm>
            <a:prstGeom prst="rect">
              <a:avLst/>
            </a:prstGeom>
            <a:solidFill>
              <a:srgbClr val="287E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en-US" sz="1015"/>
            </a:p>
          </p:txBody>
        </p:sp>
        <p:sp>
          <p:nvSpPr>
            <p:cNvPr id="165" name="Freeform 1366"/>
            <p:cNvSpPr/>
            <p:nvPr/>
          </p:nvSpPr>
          <p:spPr bwMode="auto">
            <a:xfrm>
              <a:off x="6049984" y="791010"/>
              <a:ext cx="339885" cy="12359"/>
            </a:xfrm>
            <a:custGeom>
              <a:avLst/>
              <a:gdLst>
                <a:gd name="T0" fmla="*/ 0 w 164"/>
                <a:gd name="T1" fmla="*/ 7 h 7"/>
                <a:gd name="T2" fmla="*/ 164 w 164"/>
                <a:gd name="T3" fmla="*/ 7 h 7"/>
                <a:gd name="T4" fmla="*/ 164 w 164"/>
                <a:gd name="T5" fmla="*/ 0 h 7"/>
                <a:gd name="T6" fmla="*/ 0 w 164"/>
                <a:gd name="T7" fmla="*/ 0 h 7"/>
              </a:gdLst>
              <a:ahLst/>
              <a:cxnLst>
                <a:cxn ang="0">
                  <a:pos x="T0" y="T1"/>
                </a:cxn>
                <a:cxn ang="0">
                  <a:pos x="T2" y="T3"/>
                </a:cxn>
                <a:cxn ang="0">
                  <a:pos x="T4" y="T5"/>
                </a:cxn>
                <a:cxn ang="0">
                  <a:pos x="T6" y="T7"/>
                </a:cxn>
              </a:cxnLst>
              <a:rect l="0" t="0" r="r" b="b"/>
              <a:pathLst>
                <a:path w="164" h="7">
                  <a:moveTo>
                    <a:pt x="0" y="7"/>
                  </a:moveTo>
                  <a:lnTo>
                    <a:pt x="164" y="7"/>
                  </a:lnTo>
                  <a:lnTo>
                    <a:pt x="16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66" name="Freeform 1367"/>
            <p:cNvSpPr>
              <a:spLocks noEditPoints="1"/>
            </p:cNvSpPr>
            <p:nvPr/>
          </p:nvSpPr>
          <p:spPr bwMode="auto">
            <a:xfrm>
              <a:off x="5611221" y="642695"/>
              <a:ext cx="290448" cy="296628"/>
            </a:xfrm>
            <a:custGeom>
              <a:avLst/>
              <a:gdLst>
                <a:gd name="T0" fmla="*/ 115 w 143"/>
                <a:gd name="T1" fmla="*/ 14 h 143"/>
                <a:gd name="T2" fmla="*/ 91 w 143"/>
                <a:gd name="T3" fmla="*/ 13 h 143"/>
                <a:gd name="T4" fmla="*/ 81 w 143"/>
                <a:gd name="T5" fmla="*/ 11 h 143"/>
                <a:gd name="T6" fmla="*/ 72 w 143"/>
                <a:gd name="T7" fmla="*/ 31 h 143"/>
                <a:gd name="T8" fmla="*/ 79 w 143"/>
                <a:gd name="T9" fmla="*/ 31 h 143"/>
                <a:gd name="T10" fmla="*/ 91 w 143"/>
                <a:gd name="T11" fmla="*/ 35 h 143"/>
                <a:gd name="T12" fmla="*/ 101 w 143"/>
                <a:gd name="T13" fmla="*/ 43 h 143"/>
                <a:gd name="T14" fmla="*/ 109 w 143"/>
                <a:gd name="T15" fmla="*/ 54 h 143"/>
                <a:gd name="T16" fmla="*/ 111 w 143"/>
                <a:gd name="T17" fmla="*/ 60 h 143"/>
                <a:gd name="T18" fmla="*/ 113 w 143"/>
                <a:gd name="T19" fmla="*/ 76 h 143"/>
                <a:gd name="T20" fmla="*/ 108 w 143"/>
                <a:gd name="T21" fmla="*/ 91 h 143"/>
                <a:gd name="T22" fmla="*/ 98 w 143"/>
                <a:gd name="T23" fmla="*/ 104 h 143"/>
                <a:gd name="T24" fmla="*/ 84 w 143"/>
                <a:gd name="T25" fmla="*/ 112 h 143"/>
                <a:gd name="T26" fmla="*/ 78 w 143"/>
                <a:gd name="T27" fmla="*/ 113 h 143"/>
                <a:gd name="T28" fmla="*/ 72 w 143"/>
                <a:gd name="T29" fmla="*/ 134 h 143"/>
                <a:gd name="T30" fmla="*/ 79 w 143"/>
                <a:gd name="T31" fmla="*/ 133 h 143"/>
                <a:gd name="T32" fmla="*/ 103 w 143"/>
                <a:gd name="T33" fmla="*/ 137 h 143"/>
                <a:gd name="T34" fmla="*/ 100 w 143"/>
                <a:gd name="T35" fmla="*/ 127 h 143"/>
                <a:gd name="T36" fmla="*/ 111 w 143"/>
                <a:gd name="T37" fmla="*/ 120 h 143"/>
                <a:gd name="T38" fmla="*/ 120 w 143"/>
                <a:gd name="T39" fmla="*/ 110 h 143"/>
                <a:gd name="T40" fmla="*/ 140 w 143"/>
                <a:gd name="T41" fmla="*/ 96 h 143"/>
                <a:gd name="T42" fmla="*/ 131 w 143"/>
                <a:gd name="T43" fmla="*/ 91 h 143"/>
                <a:gd name="T44" fmla="*/ 133 w 143"/>
                <a:gd name="T45" fmla="*/ 78 h 143"/>
                <a:gd name="T46" fmla="*/ 133 w 143"/>
                <a:gd name="T47" fmla="*/ 65 h 143"/>
                <a:gd name="T48" fmla="*/ 137 w 143"/>
                <a:gd name="T49" fmla="*/ 40 h 143"/>
                <a:gd name="T50" fmla="*/ 127 w 143"/>
                <a:gd name="T51" fmla="*/ 44 h 143"/>
                <a:gd name="T52" fmla="*/ 119 w 143"/>
                <a:gd name="T53" fmla="*/ 33 h 143"/>
                <a:gd name="T54" fmla="*/ 110 w 143"/>
                <a:gd name="T55" fmla="*/ 24 h 143"/>
                <a:gd name="T56" fmla="*/ 72 w 143"/>
                <a:gd name="T57" fmla="*/ 10 h 143"/>
                <a:gd name="T58" fmla="*/ 65 w 143"/>
                <a:gd name="T59" fmla="*/ 11 h 143"/>
                <a:gd name="T60" fmla="*/ 40 w 143"/>
                <a:gd name="T61" fmla="*/ 7 h 143"/>
                <a:gd name="T62" fmla="*/ 44 w 143"/>
                <a:gd name="T63" fmla="*/ 17 h 143"/>
                <a:gd name="T64" fmla="*/ 33 w 143"/>
                <a:gd name="T65" fmla="*/ 24 h 143"/>
                <a:gd name="T66" fmla="*/ 24 w 143"/>
                <a:gd name="T67" fmla="*/ 33 h 143"/>
                <a:gd name="T68" fmla="*/ 4 w 143"/>
                <a:gd name="T69" fmla="*/ 48 h 143"/>
                <a:gd name="T70" fmla="*/ 13 w 143"/>
                <a:gd name="T71" fmla="*/ 53 h 143"/>
                <a:gd name="T72" fmla="*/ 11 w 143"/>
                <a:gd name="T73" fmla="*/ 66 h 143"/>
                <a:gd name="T74" fmla="*/ 11 w 143"/>
                <a:gd name="T75" fmla="*/ 79 h 143"/>
                <a:gd name="T76" fmla="*/ 7 w 143"/>
                <a:gd name="T77" fmla="*/ 103 h 143"/>
                <a:gd name="T78" fmla="*/ 17 w 143"/>
                <a:gd name="T79" fmla="*/ 100 h 143"/>
                <a:gd name="T80" fmla="*/ 24 w 143"/>
                <a:gd name="T81" fmla="*/ 111 h 143"/>
                <a:gd name="T82" fmla="*/ 33 w 143"/>
                <a:gd name="T83" fmla="*/ 120 h 143"/>
                <a:gd name="T84" fmla="*/ 48 w 143"/>
                <a:gd name="T85" fmla="*/ 140 h 143"/>
                <a:gd name="T86" fmla="*/ 53 w 143"/>
                <a:gd name="T87" fmla="*/ 131 h 143"/>
                <a:gd name="T88" fmla="*/ 72 w 143"/>
                <a:gd name="T89" fmla="*/ 134 h 143"/>
                <a:gd name="T90" fmla="*/ 72 w 143"/>
                <a:gd name="T91" fmla="*/ 113 h 143"/>
                <a:gd name="T92" fmla="*/ 59 w 143"/>
                <a:gd name="T93" fmla="*/ 111 h 143"/>
                <a:gd name="T94" fmla="*/ 48 w 143"/>
                <a:gd name="T95" fmla="*/ 105 h 143"/>
                <a:gd name="T96" fmla="*/ 38 w 143"/>
                <a:gd name="T97" fmla="*/ 96 h 143"/>
                <a:gd name="T98" fmla="*/ 32 w 143"/>
                <a:gd name="T99" fmla="*/ 84 h 143"/>
                <a:gd name="T100" fmla="*/ 31 w 143"/>
                <a:gd name="T101" fmla="*/ 76 h 143"/>
                <a:gd name="T102" fmla="*/ 32 w 143"/>
                <a:gd name="T103" fmla="*/ 60 h 143"/>
                <a:gd name="T104" fmla="*/ 40 w 143"/>
                <a:gd name="T105" fmla="*/ 46 h 143"/>
                <a:gd name="T106" fmla="*/ 52 w 143"/>
                <a:gd name="T107" fmla="*/ 36 h 143"/>
                <a:gd name="T108" fmla="*/ 60 w 143"/>
                <a:gd name="T109" fmla="*/ 32 h 143"/>
                <a:gd name="T110" fmla="*/ 72 w 143"/>
                <a:gd name="T111" fmla="*/ 3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3" h="143">
                  <a:moveTo>
                    <a:pt x="110" y="24"/>
                  </a:moveTo>
                  <a:lnTo>
                    <a:pt x="115" y="14"/>
                  </a:lnTo>
                  <a:lnTo>
                    <a:pt x="96" y="4"/>
                  </a:lnTo>
                  <a:lnTo>
                    <a:pt x="91" y="13"/>
                  </a:lnTo>
                  <a:lnTo>
                    <a:pt x="91" y="13"/>
                  </a:lnTo>
                  <a:lnTo>
                    <a:pt x="81" y="11"/>
                  </a:lnTo>
                  <a:lnTo>
                    <a:pt x="72" y="10"/>
                  </a:lnTo>
                  <a:lnTo>
                    <a:pt x="72" y="31"/>
                  </a:lnTo>
                  <a:lnTo>
                    <a:pt x="72" y="31"/>
                  </a:lnTo>
                  <a:lnTo>
                    <a:pt x="79" y="31"/>
                  </a:lnTo>
                  <a:lnTo>
                    <a:pt x="85" y="33"/>
                  </a:lnTo>
                  <a:lnTo>
                    <a:pt x="91" y="35"/>
                  </a:lnTo>
                  <a:lnTo>
                    <a:pt x="96" y="39"/>
                  </a:lnTo>
                  <a:lnTo>
                    <a:pt x="101" y="43"/>
                  </a:lnTo>
                  <a:lnTo>
                    <a:pt x="106" y="48"/>
                  </a:lnTo>
                  <a:lnTo>
                    <a:pt x="109" y="54"/>
                  </a:lnTo>
                  <a:lnTo>
                    <a:pt x="111" y="60"/>
                  </a:lnTo>
                  <a:lnTo>
                    <a:pt x="111" y="60"/>
                  </a:lnTo>
                  <a:lnTo>
                    <a:pt x="113" y="68"/>
                  </a:lnTo>
                  <a:lnTo>
                    <a:pt x="113" y="76"/>
                  </a:lnTo>
                  <a:lnTo>
                    <a:pt x="111" y="84"/>
                  </a:lnTo>
                  <a:lnTo>
                    <a:pt x="108" y="91"/>
                  </a:lnTo>
                  <a:lnTo>
                    <a:pt x="104" y="98"/>
                  </a:lnTo>
                  <a:lnTo>
                    <a:pt x="98" y="104"/>
                  </a:lnTo>
                  <a:lnTo>
                    <a:pt x="92" y="108"/>
                  </a:lnTo>
                  <a:lnTo>
                    <a:pt x="84" y="112"/>
                  </a:lnTo>
                  <a:lnTo>
                    <a:pt x="84" y="112"/>
                  </a:lnTo>
                  <a:lnTo>
                    <a:pt x="78" y="113"/>
                  </a:lnTo>
                  <a:lnTo>
                    <a:pt x="72" y="113"/>
                  </a:lnTo>
                  <a:lnTo>
                    <a:pt x="72" y="134"/>
                  </a:lnTo>
                  <a:lnTo>
                    <a:pt x="72" y="134"/>
                  </a:lnTo>
                  <a:lnTo>
                    <a:pt x="79" y="133"/>
                  </a:lnTo>
                  <a:lnTo>
                    <a:pt x="82" y="143"/>
                  </a:lnTo>
                  <a:lnTo>
                    <a:pt x="103" y="137"/>
                  </a:lnTo>
                  <a:lnTo>
                    <a:pt x="100" y="127"/>
                  </a:lnTo>
                  <a:lnTo>
                    <a:pt x="100" y="127"/>
                  </a:lnTo>
                  <a:lnTo>
                    <a:pt x="106" y="123"/>
                  </a:lnTo>
                  <a:lnTo>
                    <a:pt x="111" y="120"/>
                  </a:lnTo>
                  <a:lnTo>
                    <a:pt x="116" y="115"/>
                  </a:lnTo>
                  <a:lnTo>
                    <a:pt x="120" y="110"/>
                  </a:lnTo>
                  <a:lnTo>
                    <a:pt x="130" y="115"/>
                  </a:lnTo>
                  <a:lnTo>
                    <a:pt x="140" y="96"/>
                  </a:lnTo>
                  <a:lnTo>
                    <a:pt x="131" y="91"/>
                  </a:lnTo>
                  <a:lnTo>
                    <a:pt x="131" y="91"/>
                  </a:lnTo>
                  <a:lnTo>
                    <a:pt x="132" y="84"/>
                  </a:lnTo>
                  <a:lnTo>
                    <a:pt x="133" y="78"/>
                  </a:lnTo>
                  <a:lnTo>
                    <a:pt x="134" y="72"/>
                  </a:lnTo>
                  <a:lnTo>
                    <a:pt x="133" y="65"/>
                  </a:lnTo>
                  <a:lnTo>
                    <a:pt x="143" y="62"/>
                  </a:lnTo>
                  <a:lnTo>
                    <a:pt x="137" y="40"/>
                  </a:lnTo>
                  <a:lnTo>
                    <a:pt x="127" y="44"/>
                  </a:lnTo>
                  <a:lnTo>
                    <a:pt x="127" y="44"/>
                  </a:lnTo>
                  <a:lnTo>
                    <a:pt x="123" y="38"/>
                  </a:lnTo>
                  <a:lnTo>
                    <a:pt x="119" y="33"/>
                  </a:lnTo>
                  <a:lnTo>
                    <a:pt x="115" y="28"/>
                  </a:lnTo>
                  <a:lnTo>
                    <a:pt x="110" y="24"/>
                  </a:lnTo>
                  <a:lnTo>
                    <a:pt x="110" y="24"/>
                  </a:lnTo>
                  <a:close/>
                  <a:moveTo>
                    <a:pt x="72" y="10"/>
                  </a:moveTo>
                  <a:lnTo>
                    <a:pt x="72" y="10"/>
                  </a:lnTo>
                  <a:lnTo>
                    <a:pt x="65" y="11"/>
                  </a:lnTo>
                  <a:lnTo>
                    <a:pt x="62" y="0"/>
                  </a:lnTo>
                  <a:lnTo>
                    <a:pt x="40" y="7"/>
                  </a:lnTo>
                  <a:lnTo>
                    <a:pt x="44" y="17"/>
                  </a:lnTo>
                  <a:lnTo>
                    <a:pt x="44" y="17"/>
                  </a:lnTo>
                  <a:lnTo>
                    <a:pt x="38" y="21"/>
                  </a:lnTo>
                  <a:lnTo>
                    <a:pt x="33" y="24"/>
                  </a:lnTo>
                  <a:lnTo>
                    <a:pt x="28" y="29"/>
                  </a:lnTo>
                  <a:lnTo>
                    <a:pt x="24" y="33"/>
                  </a:lnTo>
                  <a:lnTo>
                    <a:pt x="14" y="28"/>
                  </a:lnTo>
                  <a:lnTo>
                    <a:pt x="4" y="48"/>
                  </a:lnTo>
                  <a:lnTo>
                    <a:pt x="13" y="53"/>
                  </a:lnTo>
                  <a:lnTo>
                    <a:pt x="13" y="53"/>
                  </a:lnTo>
                  <a:lnTo>
                    <a:pt x="12" y="60"/>
                  </a:lnTo>
                  <a:lnTo>
                    <a:pt x="11" y="66"/>
                  </a:lnTo>
                  <a:lnTo>
                    <a:pt x="10" y="72"/>
                  </a:lnTo>
                  <a:lnTo>
                    <a:pt x="11" y="79"/>
                  </a:lnTo>
                  <a:lnTo>
                    <a:pt x="0" y="82"/>
                  </a:lnTo>
                  <a:lnTo>
                    <a:pt x="7" y="103"/>
                  </a:lnTo>
                  <a:lnTo>
                    <a:pt x="17" y="100"/>
                  </a:lnTo>
                  <a:lnTo>
                    <a:pt x="17" y="100"/>
                  </a:lnTo>
                  <a:lnTo>
                    <a:pt x="21" y="106"/>
                  </a:lnTo>
                  <a:lnTo>
                    <a:pt x="24" y="111"/>
                  </a:lnTo>
                  <a:lnTo>
                    <a:pt x="29" y="116"/>
                  </a:lnTo>
                  <a:lnTo>
                    <a:pt x="33" y="120"/>
                  </a:lnTo>
                  <a:lnTo>
                    <a:pt x="28" y="130"/>
                  </a:lnTo>
                  <a:lnTo>
                    <a:pt x="48" y="140"/>
                  </a:lnTo>
                  <a:lnTo>
                    <a:pt x="53" y="131"/>
                  </a:lnTo>
                  <a:lnTo>
                    <a:pt x="53" y="131"/>
                  </a:lnTo>
                  <a:lnTo>
                    <a:pt x="62" y="133"/>
                  </a:lnTo>
                  <a:lnTo>
                    <a:pt x="72" y="134"/>
                  </a:lnTo>
                  <a:lnTo>
                    <a:pt x="72" y="113"/>
                  </a:lnTo>
                  <a:lnTo>
                    <a:pt x="72" y="113"/>
                  </a:lnTo>
                  <a:lnTo>
                    <a:pt x="65" y="113"/>
                  </a:lnTo>
                  <a:lnTo>
                    <a:pt x="59" y="111"/>
                  </a:lnTo>
                  <a:lnTo>
                    <a:pt x="53" y="109"/>
                  </a:lnTo>
                  <a:lnTo>
                    <a:pt x="48" y="105"/>
                  </a:lnTo>
                  <a:lnTo>
                    <a:pt x="43" y="101"/>
                  </a:lnTo>
                  <a:lnTo>
                    <a:pt x="38" y="96"/>
                  </a:lnTo>
                  <a:lnTo>
                    <a:pt x="35" y="90"/>
                  </a:lnTo>
                  <a:lnTo>
                    <a:pt x="32" y="84"/>
                  </a:lnTo>
                  <a:lnTo>
                    <a:pt x="32" y="84"/>
                  </a:lnTo>
                  <a:lnTo>
                    <a:pt x="31" y="76"/>
                  </a:lnTo>
                  <a:lnTo>
                    <a:pt x="31" y="68"/>
                  </a:lnTo>
                  <a:lnTo>
                    <a:pt x="32" y="60"/>
                  </a:lnTo>
                  <a:lnTo>
                    <a:pt x="35" y="52"/>
                  </a:lnTo>
                  <a:lnTo>
                    <a:pt x="40" y="46"/>
                  </a:lnTo>
                  <a:lnTo>
                    <a:pt x="45" y="40"/>
                  </a:lnTo>
                  <a:lnTo>
                    <a:pt x="52" y="36"/>
                  </a:lnTo>
                  <a:lnTo>
                    <a:pt x="60" y="32"/>
                  </a:lnTo>
                  <a:lnTo>
                    <a:pt x="60" y="32"/>
                  </a:lnTo>
                  <a:lnTo>
                    <a:pt x="66" y="31"/>
                  </a:lnTo>
                  <a:lnTo>
                    <a:pt x="72" y="31"/>
                  </a:lnTo>
                  <a:lnTo>
                    <a:pt x="72" y="10"/>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67" name="Freeform 1368"/>
            <p:cNvSpPr/>
            <p:nvPr/>
          </p:nvSpPr>
          <p:spPr bwMode="auto">
            <a:xfrm>
              <a:off x="6309533" y="1279211"/>
              <a:ext cx="395504" cy="451122"/>
            </a:xfrm>
            <a:custGeom>
              <a:avLst/>
              <a:gdLst>
                <a:gd name="T0" fmla="*/ 162 w 190"/>
                <a:gd name="T1" fmla="*/ 0 h 217"/>
                <a:gd name="T2" fmla="*/ 190 w 190"/>
                <a:gd name="T3" fmla="*/ 217 h 217"/>
                <a:gd name="T4" fmla="*/ 24 w 190"/>
                <a:gd name="T5" fmla="*/ 217 h 217"/>
                <a:gd name="T6" fmla="*/ 0 w 190"/>
                <a:gd name="T7" fmla="*/ 32 h 217"/>
                <a:gd name="T8" fmla="*/ 162 w 190"/>
                <a:gd name="T9" fmla="*/ 0 h 217"/>
              </a:gdLst>
              <a:ahLst/>
              <a:cxnLst>
                <a:cxn ang="0">
                  <a:pos x="T0" y="T1"/>
                </a:cxn>
                <a:cxn ang="0">
                  <a:pos x="T2" y="T3"/>
                </a:cxn>
                <a:cxn ang="0">
                  <a:pos x="T4" y="T5"/>
                </a:cxn>
                <a:cxn ang="0">
                  <a:pos x="T6" y="T7"/>
                </a:cxn>
                <a:cxn ang="0">
                  <a:pos x="T8" y="T9"/>
                </a:cxn>
              </a:cxnLst>
              <a:rect l="0" t="0" r="r" b="b"/>
              <a:pathLst>
                <a:path w="190" h="217">
                  <a:moveTo>
                    <a:pt x="162" y="0"/>
                  </a:moveTo>
                  <a:lnTo>
                    <a:pt x="190" y="217"/>
                  </a:lnTo>
                  <a:lnTo>
                    <a:pt x="24" y="217"/>
                  </a:lnTo>
                  <a:lnTo>
                    <a:pt x="0" y="32"/>
                  </a:lnTo>
                  <a:lnTo>
                    <a:pt x="162" y="0"/>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68" name="Freeform 1369"/>
            <p:cNvSpPr/>
            <p:nvPr/>
          </p:nvSpPr>
          <p:spPr bwMode="auto">
            <a:xfrm>
              <a:off x="6303355" y="1458423"/>
              <a:ext cx="432584" cy="271909"/>
            </a:xfrm>
            <a:custGeom>
              <a:avLst/>
              <a:gdLst>
                <a:gd name="T0" fmla="*/ 194 w 210"/>
                <a:gd name="T1" fmla="*/ 0 h 130"/>
                <a:gd name="T2" fmla="*/ 210 w 210"/>
                <a:gd name="T3" fmla="*/ 130 h 130"/>
                <a:gd name="T4" fmla="*/ 12 w 210"/>
                <a:gd name="T5" fmla="*/ 130 h 130"/>
                <a:gd name="T6" fmla="*/ 0 w 210"/>
                <a:gd name="T7" fmla="*/ 29 h 130"/>
                <a:gd name="T8" fmla="*/ 194 w 210"/>
                <a:gd name="T9" fmla="*/ 0 h 130"/>
              </a:gdLst>
              <a:ahLst/>
              <a:cxnLst>
                <a:cxn ang="0">
                  <a:pos x="T0" y="T1"/>
                </a:cxn>
                <a:cxn ang="0">
                  <a:pos x="T2" y="T3"/>
                </a:cxn>
                <a:cxn ang="0">
                  <a:pos x="T4" y="T5"/>
                </a:cxn>
                <a:cxn ang="0">
                  <a:pos x="T6" y="T7"/>
                </a:cxn>
                <a:cxn ang="0">
                  <a:pos x="T8" y="T9"/>
                </a:cxn>
              </a:cxnLst>
              <a:rect l="0" t="0" r="r" b="b"/>
              <a:pathLst>
                <a:path w="210" h="130">
                  <a:moveTo>
                    <a:pt x="194" y="0"/>
                  </a:moveTo>
                  <a:lnTo>
                    <a:pt x="210" y="130"/>
                  </a:lnTo>
                  <a:lnTo>
                    <a:pt x="12" y="130"/>
                  </a:lnTo>
                  <a:lnTo>
                    <a:pt x="0" y="29"/>
                  </a:lnTo>
                  <a:lnTo>
                    <a:pt x="194" y="0"/>
                  </a:lnTo>
                  <a:close/>
                </a:path>
              </a:pathLst>
            </a:custGeom>
            <a:solidFill>
              <a:srgbClr val="CAEAFC"/>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69" name="Freeform 1370"/>
            <p:cNvSpPr/>
            <p:nvPr/>
          </p:nvSpPr>
          <p:spPr bwMode="auto">
            <a:xfrm>
              <a:off x="6426949" y="1149436"/>
              <a:ext cx="271909" cy="241010"/>
            </a:xfrm>
            <a:custGeom>
              <a:avLst/>
              <a:gdLst>
                <a:gd name="T0" fmla="*/ 100 w 134"/>
                <a:gd name="T1" fmla="*/ 0 h 117"/>
                <a:gd name="T2" fmla="*/ 100 w 134"/>
                <a:gd name="T3" fmla="*/ 0 h 117"/>
                <a:gd name="T4" fmla="*/ 107 w 134"/>
                <a:gd name="T5" fmla="*/ 1 h 117"/>
                <a:gd name="T6" fmla="*/ 112 w 134"/>
                <a:gd name="T7" fmla="*/ 2 h 117"/>
                <a:gd name="T8" fmla="*/ 118 w 134"/>
                <a:gd name="T9" fmla="*/ 4 h 117"/>
                <a:gd name="T10" fmla="*/ 122 w 134"/>
                <a:gd name="T11" fmla="*/ 7 h 117"/>
                <a:gd name="T12" fmla="*/ 125 w 134"/>
                <a:gd name="T13" fmla="*/ 10 h 117"/>
                <a:gd name="T14" fmla="*/ 128 w 134"/>
                <a:gd name="T15" fmla="*/ 13 h 117"/>
                <a:gd name="T16" fmla="*/ 130 w 134"/>
                <a:gd name="T17" fmla="*/ 17 h 117"/>
                <a:gd name="T18" fmla="*/ 132 w 134"/>
                <a:gd name="T19" fmla="*/ 22 h 117"/>
                <a:gd name="T20" fmla="*/ 133 w 134"/>
                <a:gd name="T21" fmla="*/ 27 h 117"/>
                <a:gd name="T22" fmla="*/ 134 w 134"/>
                <a:gd name="T23" fmla="*/ 32 h 117"/>
                <a:gd name="T24" fmla="*/ 133 w 134"/>
                <a:gd name="T25" fmla="*/ 43 h 117"/>
                <a:gd name="T26" fmla="*/ 129 w 134"/>
                <a:gd name="T27" fmla="*/ 54 h 117"/>
                <a:gd name="T28" fmla="*/ 124 w 134"/>
                <a:gd name="T29" fmla="*/ 66 h 117"/>
                <a:gd name="T30" fmla="*/ 124 w 134"/>
                <a:gd name="T31" fmla="*/ 66 h 117"/>
                <a:gd name="T32" fmla="*/ 117 w 134"/>
                <a:gd name="T33" fmla="*/ 78 h 117"/>
                <a:gd name="T34" fmla="*/ 107 w 134"/>
                <a:gd name="T35" fmla="*/ 88 h 117"/>
                <a:gd name="T36" fmla="*/ 98 w 134"/>
                <a:gd name="T37" fmla="*/ 97 h 117"/>
                <a:gd name="T38" fmla="*/ 87 w 134"/>
                <a:gd name="T39" fmla="*/ 105 h 117"/>
                <a:gd name="T40" fmla="*/ 76 w 134"/>
                <a:gd name="T41" fmla="*/ 111 h 117"/>
                <a:gd name="T42" fmla="*/ 64 w 134"/>
                <a:gd name="T43" fmla="*/ 115 h 117"/>
                <a:gd name="T44" fmla="*/ 51 w 134"/>
                <a:gd name="T45" fmla="*/ 117 h 117"/>
                <a:gd name="T46" fmla="*/ 38 w 134"/>
                <a:gd name="T47" fmla="*/ 117 h 117"/>
                <a:gd name="T48" fmla="*/ 38 w 134"/>
                <a:gd name="T49" fmla="*/ 117 h 117"/>
                <a:gd name="T50" fmla="*/ 32 w 134"/>
                <a:gd name="T51" fmla="*/ 117 h 117"/>
                <a:gd name="T52" fmla="*/ 27 w 134"/>
                <a:gd name="T53" fmla="*/ 116 h 117"/>
                <a:gd name="T54" fmla="*/ 21 w 134"/>
                <a:gd name="T55" fmla="*/ 114 h 117"/>
                <a:gd name="T56" fmla="*/ 17 w 134"/>
                <a:gd name="T57" fmla="*/ 112 h 117"/>
                <a:gd name="T58" fmla="*/ 13 w 134"/>
                <a:gd name="T59" fmla="*/ 109 h 117"/>
                <a:gd name="T60" fmla="*/ 9 w 134"/>
                <a:gd name="T61" fmla="*/ 106 h 117"/>
                <a:gd name="T62" fmla="*/ 6 w 134"/>
                <a:gd name="T63" fmla="*/ 102 h 117"/>
                <a:gd name="T64" fmla="*/ 4 w 134"/>
                <a:gd name="T65" fmla="*/ 98 h 117"/>
                <a:gd name="T66" fmla="*/ 2 w 134"/>
                <a:gd name="T67" fmla="*/ 94 h 117"/>
                <a:gd name="T68" fmla="*/ 1 w 134"/>
                <a:gd name="T69" fmla="*/ 89 h 117"/>
                <a:gd name="T70" fmla="*/ 0 w 134"/>
                <a:gd name="T71" fmla="*/ 84 h 117"/>
                <a:gd name="T72" fmla="*/ 0 w 134"/>
                <a:gd name="T73" fmla="*/ 79 h 117"/>
                <a:gd name="T74" fmla="*/ 1 w 134"/>
                <a:gd name="T75" fmla="*/ 73 h 117"/>
                <a:gd name="T76" fmla="*/ 2 w 134"/>
                <a:gd name="T77" fmla="*/ 67 h 117"/>
                <a:gd name="T78" fmla="*/ 4 w 134"/>
                <a:gd name="T79" fmla="*/ 62 h 117"/>
                <a:gd name="T80" fmla="*/ 7 w 134"/>
                <a:gd name="T81" fmla="*/ 55 h 117"/>
                <a:gd name="T82" fmla="*/ 7 w 134"/>
                <a:gd name="T83" fmla="*/ 55 h 117"/>
                <a:gd name="T84" fmla="*/ 15 w 134"/>
                <a:gd name="T85" fmla="*/ 44 h 117"/>
                <a:gd name="T86" fmla="*/ 24 w 134"/>
                <a:gd name="T87" fmla="*/ 33 h 117"/>
                <a:gd name="T88" fmla="*/ 35 w 134"/>
                <a:gd name="T89" fmla="*/ 23 h 117"/>
                <a:gd name="T90" fmla="*/ 47 w 134"/>
                <a:gd name="T91" fmla="*/ 15 h 117"/>
                <a:gd name="T92" fmla="*/ 60 w 134"/>
                <a:gd name="T93" fmla="*/ 8 h 117"/>
                <a:gd name="T94" fmla="*/ 74 w 134"/>
                <a:gd name="T95" fmla="*/ 3 h 117"/>
                <a:gd name="T96" fmla="*/ 87 w 134"/>
                <a:gd name="T97" fmla="*/ 1 h 117"/>
                <a:gd name="T98" fmla="*/ 100 w 134"/>
                <a:gd name="T99" fmla="*/ 0 h 117"/>
                <a:gd name="T100" fmla="*/ 100 w 134"/>
                <a:gd name="T10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117">
                  <a:moveTo>
                    <a:pt x="100" y="0"/>
                  </a:moveTo>
                  <a:lnTo>
                    <a:pt x="100" y="0"/>
                  </a:lnTo>
                  <a:lnTo>
                    <a:pt x="107" y="1"/>
                  </a:lnTo>
                  <a:lnTo>
                    <a:pt x="112" y="2"/>
                  </a:lnTo>
                  <a:lnTo>
                    <a:pt x="118" y="4"/>
                  </a:lnTo>
                  <a:lnTo>
                    <a:pt x="122" y="7"/>
                  </a:lnTo>
                  <a:lnTo>
                    <a:pt x="125" y="10"/>
                  </a:lnTo>
                  <a:lnTo>
                    <a:pt x="128" y="13"/>
                  </a:lnTo>
                  <a:lnTo>
                    <a:pt x="130" y="17"/>
                  </a:lnTo>
                  <a:lnTo>
                    <a:pt x="132" y="22"/>
                  </a:lnTo>
                  <a:lnTo>
                    <a:pt x="133" y="27"/>
                  </a:lnTo>
                  <a:lnTo>
                    <a:pt x="134" y="32"/>
                  </a:lnTo>
                  <a:lnTo>
                    <a:pt x="133" y="43"/>
                  </a:lnTo>
                  <a:lnTo>
                    <a:pt x="129" y="54"/>
                  </a:lnTo>
                  <a:lnTo>
                    <a:pt x="124" y="66"/>
                  </a:lnTo>
                  <a:lnTo>
                    <a:pt x="124" y="66"/>
                  </a:lnTo>
                  <a:lnTo>
                    <a:pt x="117" y="78"/>
                  </a:lnTo>
                  <a:lnTo>
                    <a:pt x="107" y="88"/>
                  </a:lnTo>
                  <a:lnTo>
                    <a:pt x="98" y="97"/>
                  </a:lnTo>
                  <a:lnTo>
                    <a:pt x="87" y="105"/>
                  </a:lnTo>
                  <a:lnTo>
                    <a:pt x="76" y="111"/>
                  </a:lnTo>
                  <a:lnTo>
                    <a:pt x="64" y="115"/>
                  </a:lnTo>
                  <a:lnTo>
                    <a:pt x="51" y="117"/>
                  </a:lnTo>
                  <a:lnTo>
                    <a:pt x="38" y="117"/>
                  </a:lnTo>
                  <a:lnTo>
                    <a:pt x="38" y="117"/>
                  </a:lnTo>
                  <a:lnTo>
                    <a:pt x="32" y="117"/>
                  </a:lnTo>
                  <a:lnTo>
                    <a:pt x="27" y="116"/>
                  </a:lnTo>
                  <a:lnTo>
                    <a:pt x="21" y="114"/>
                  </a:lnTo>
                  <a:lnTo>
                    <a:pt x="17" y="112"/>
                  </a:lnTo>
                  <a:lnTo>
                    <a:pt x="13" y="109"/>
                  </a:lnTo>
                  <a:lnTo>
                    <a:pt x="9" y="106"/>
                  </a:lnTo>
                  <a:lnTo>
                    <a:pt x="6" y="102"/>
                  </a:lnTo>
                  <a:lnTo>
                    <a:pt x="4" y="98"/>
                  </a:lnTo>
                  <a:lnTo>
                    <a:pt x="2" y="94"/>
                  </a:lnTo>
                  <a:lnTo>
                    <a:pt x="1" y="89"/>
                  </a:lnTo>
                  <a:lnTo>
                    <a:pt x="0" y="84"/>
                  </a:lnTo>
                  <a:lnTo>
                    <a:pt x="0" y="79"/>
                  </a:lnTo>
                  <a:lnTo>
                    <a:pt x="1" y="73"/>
                  </a:lnTo>
                  <a:lnTo>
                    <a:pt x="2" y="67"/>
                  </a:lnTo>
                  <a:lnTo>
                    <a:pt x="4" y="62"/>
                  </a:lnTo>
                  <a:lnTo>
                    <a:pt x="7" y="55"/>
                  </a:lnTo>
                  <a:lnTo>
                    <a:pt x="7" y="55"/>
                  </a:lnTo>
                  <a:lnTo>
                    <a:pt x="15" y="44"/>
                  </a:lnTo>
                  <a:lnTo>
                    <a:pt x="24" y="33"/>
                  </a:lnTo>
                  <a:lnTo>
                    <a:pt x="35" y="23"/>
                  </a:lnTo>
                  <a:lnTo>
                    <a:pt x="47" y="15"/>
                  </a:lnTo>
                  <a:lnTo>
                    <a:pt x="60" y="8"/>
                  </a:lnTo>
                  <a:lnTo>
                    <a:pt x="74" y="3"/>
                  </a:lnTo>
                  <a:lnTo>
                    <a:pt x="87" y="1"/>
                  </a:lnTo>
                  <a:lnTo>
                    <a:pt x="100" y="0"/>
                  </a:lnTo>
                  <a:lnTo>
                    <a:pt x="100" y="0"/>
                  </a:lnTo>
                  <a:close/>
                </a:path>
              </a:pathLst>
            </a:custGeom>
            <a:solidFill>
              <a:srgbClr val="DEB99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70" name="Freeform 1371"/>
            <p:cNvSpPr/>
            <p:nvPr/>
          </p:nvSpPr>
          <p:spPr bwMode="auto">
            <a:xfrm>
              <a:off x="6587623" y="846628"/>
              <a:ext cx="135954" cy="376966"/>
            </a:xfrm>
            <a:custGeom>
              <a:avLst/>
              <a:gdLst>
                <a:gd name="T0" fmla="*/ 34 w 64"/>
                <a:gd name="T1" fmla="*/ 0 h 183"/>
                <a:gd name="T2" fmla="*/ 34 w 64"/>
                <a:gd name="T3" fmla="*/ 0 h 183"/>
                <a:gd name="T4" fmla="*/ 37 w 64"/>
                <a:gd name="T5" fmla="*/ 0 h 183"/>
                <a:gd name="T6" fmla="*/ 39 w 64"/>
                <a:gd name="T7" fmla="*/ 1 h 183"/>
                <a:gd name="T8" fmla="*/ 40 w 64"/>
                <a:gd name="T9" fmla="*/ 2 h 183"/>
                <a:gd name="T10" fmla="*/ 41 w 64"/>
                <a:gd name="T11" fmla="*/ 4 h 183"/>
                <a:gd name="T12" fmla="*/ 43 w 64"/>
                <a:gd name="T13" fmla="*/ 8 h 183"/>
                <a:gd name="T14" fmla="*/ 44 w 64"/>
                <a:gd name="T15" fmla="*/ 13 h 183"/>
                <a:gd name="T16" fmla="*/ 63 w 64"/>
                <a:gd name="T17" fmla="*/ 149 h 183"/>
                <a:gd name="T18" fmla="*/ 63 w 64"/>
                <a:gd name="T19" fmla="*/ 149 h 183"/>
                <a:gd name="T20" fmla="*/ 64 w 64"/>
                <a:gd name="T21" fmla="*/ 154 h 183"/>
                <a:gd name="T22" fmla="*/ 63 w 64"/>
                <a:gd name="T23" fmla="*/ 159 h 183"/>
                <a:gd name="T24" fmla="*/ 61 w 64"/>
                <a:gd name="T25" fmla="*/ 165 h 183"/>
                <a:gd name="T26" fmla="*/ 59 w 64"/>
                <a:gd name="T27" fmla="*/ 170 h 183"/>
                <a:gd name="T28" fmla="*/ 56 w 64"/>
                <a:gd name="T29" fmla="*/ 175 h 183"/>
                <a:gd name="T30" fmla="*/ 53 w 64"/>
                <a:gd name="T31" fmla="*/ 179 h 183"/>
                <a:gd name="T32" fmla="*/ 49 w 64"/>
                <a:gd name="T33" fmla="*/ 182 h 183"/>
                <a:gd name="T34" fmla="*/ 44 w 64"/>
                <a:gd name="T35" fmla="*/ 183 h 183"/>
                <a:gd name="T36" fmla="*/ 44 w 64"/>
                <a:gd name="T37" fmla="*/ 183 h 183"/>
                <a:gd name="T38" fmla="*/ 39 w 64"/>
                <a:gd name="T39" fmla="*/ 183 h 183"/>
                <a:gd name="T40" fmla="*/ 35 w 64"/>
                <a:gd name="T41" fmla="*/ 183 h 183"/>
                <a:gd name="T42" fmla="*/ 29 w 64"/>
                <a:gd name="T43" fmla="*/ 181 h 183"/>
                <a:gd name="T44" fmla="*/ 25 w 64"/>
                <a:gd name="T45" fmla="*/ 179 h 183"/>
                <a:gd name="T46" fmla="*/ 21 w 64"/>
                <a:gd name="T47" fmla="*/ 176 h 183"/>
                <a:gd name="T48" fmla="*/ 18 w 64"/>
                <a:gd name="T49" fmla="*/ 172 h 183"/>
                <a:gd name="T50" fmla="*/ 16 w 64"/>
                <a:gd name="T51" fmla="*/ 168 h 183"/>
                <a:gd name="T52" fmla="*/ 15 w 64"/>
                <a:gd name="T53" fmla="*/ 163 h 183"/>
                <a:gd name="T54" fmla="*/ 0 w 64"/>
                <a:gd name="T55" fmla="*/ 43 h 183"/>
                <a:gd name="T56" fmla="*/ 0 w 64"/>
                <a:gd name="T57" fmla="*/ 43 h 183"/>
                <a:gd name="T58" fmla="*/ 0 w 64"/>
                <a:gd name="T59" fmla="*/ 35 h 183"/>
                <a:gd name="T60" fmla="*/ 2 w 64"/>
                <a:gd name="T61" fmla="*/ 28 h 183"/>
                <a:gd name="T62" fmla="*/ 5 w 64"/>
                <a:gd name="T63" fmla="*/ 21 h 183"/>
                <a:gd name="T64" fmla="*/ 10 w 64"/>
                <a:gd name="T65" fmla="*/ 15 h 183"/>
                <a:gd name="T66" fmla="*/ 15 w 64"/>
                <a:gd name="T67" fmla="*/ 9 h 183"/>
                <a:gd name="T68" fmla="*/ 21 w 64"/>
                <a:gd name="T69" fmla="*/ 5 h 183"/>
                <a:gd name="T70" fmla="*/ 27 w 64"/>
                <a:gd name="T71" fmla="*/ 2 h 183"/>
                <a:gd name="T72" fmla="*/ 34 w 64"/>
                <a:gd name="T73" fmla="*/ 0 h 183"/>
                <a:gd name="T74" fmla="*/ 34 w 64"/>
                <a:gd name="T7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183">
                  <a:moveTo>
                    <a:pt x="34" y="0"/>
                  </a:moveTo>
                  <a:lnTo>
                    <a:pt x="34" y="0"/>
                  </a:lnTo>
                  <a:lnTo>
                    <a:pt x="37" y="0"/>
                  </a:lnTo>
                  <a:lnTo>
                    <a:pt x="39" y="1"/>
                  </a:lnTo>
                  <a:lnTo>
                    <a:pt x="40" y="2"/>
                  </a:lnTo>
                  <a:lnTo>
                    <a:pt x="41" y="4"/>
                  </a:lnTo>
                  <a:lnTo>
                    <a:pt x="43" y="8"/>
                  </a:lnTo>
                  <a:lnTo>
                    <a:pt x="44" y="13"/>
                  </a:lnTo>
                  <a:lnTo>
                    <a:pt x="63" y="149"/>
                  </a:lnTo>
                  <a:lnTo>
                    <a:pt x="63" y="149"/>
                  </a:lnTo>
                  <a:lnTo>
                    <a:pt x="64" y="154"/>
                  </a:lnTo>
                  <a:lnTo>
                    <a:pt x="63" y="159"/>
                  </a:lnTo>
                  <a:lnTo>
                    <a:pt x="61" y="165"/>
                  </a:lnTo>
                  <a:lnTo>
                    <a:pt x="59" y="170"/>
                  </a:lnTo>
                  <a:lnTo>
                    <a:pt x="56" y="175"/>
                  </a:lnTo>
                  <a:lnTo>
                    <a:pt x="53" y="179"/>
                  </a:lnTo>
                  <a:lnTo>
                    <a:pt x="49" y="182"/>
                  </a:lnTo>
                  <a:lnTo>
                    <a:pt x="44" y="183"/>
                  </a:lnTo>
                  <a:lnTo>
                    <a:pt x="44" y="183"/>
                  </a:lnTo>
                  <a:lnTo>
                    <a:pt x="39" y="183"/>
                  </a:lnTo>
                  <a:lnTo>
                    <a:pt x="35" y="183"/>
                  </a:lnTo>
                  <a:lnTo>
                    <a:pt x="29" y="181"/>
                  </a:lnTo>
                  <a:lnTo>
                    <a:pt x="25" y="179"/>
                  </a:lnTo>
                  <a:lnTo>
                    <a:pt x="21" y="176"/>
                  </a:lnTo>
                  <a:lnTo>
                    <a:pt x="18" y="172"/>
                  </a:lnTo>
                  <a:lnTo>
                    <a:pt x="16" y="168"/>
                  </a:lnTo>
                  <a:lnTo>
                    <a:pt x="15" y="163"/>
                  </a:lnTo>
                  <a:lnTo>
                    <a:pt x="0" y="43"/>
                  </a:lnTo>
                  <a:lnTo>
                    <a:pt x="0" y="43"/>
                  </a:lnTo>
                  <a:lnTo>
                    <a:pt x="0" y="35"/>
                  </a:lnTo>
                  <a:lnTo>
                    <a:pt x="2" y="28"/>
                  </a:lnTo>
                  <a:lnTo>
                    <a:pt x="5" y="21"/>
                  </a:lnTo>
                  <a:lnTo>
                    <a:pt x="10" y="15"/>
                  </a:lnTo>
                  <a:lnTo>
                    <a:pt x="15" y="9"/>
                  </a:lnTo>
                  <a:lnTo>
                    <a:pt x="21" y="5"/>
                  </a:lnTo>
                  <a:lnTo>
                    <a:pt x="27" y="2"/>
                  </a:lnTo>
                  <a:lnTo>
                    <a:pt x="34" y="0"/>
                  </a:lnTo>
                  <a:lnTo>
                    <a:pt x="34" y="0"/>
                  </a:lnTo>
                  <a:close/>
                </a:path>
              </a:pathLst>
            </a:custGeom>
            <a:solidFill>
              <a:srgbClr val="DEB99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71" name="Freeform 1372"/>
            <p:cNvSpPr/>
            <p:nvPr/>
          </p:nvSpPr>
          <p:spPr bwMode="auto">
            <a:xfrm>
              <a:off x="6606162" y="846628"/>
              <a:ext cx="123595" cy="401684"/>
            </a:xfrm>
            <a:custGeom>
              <a:avLst/>
              <a:gdLst>
                <a:gd name="T0" fmla="*/ 26 w 60"/>
                <a:gd name="T1" fmla="*/ 0 h 193"/>
                <a:gd name="T2" fmla="*/ 26 w 60"/>
                <a:gd name="T3" fmla="*/ 0 h 193"/>
                <a:gd name="T4" fmla="*/ 31 w 60"/>
                <a:gd name="T5" fmla="*/ 1 h 193"/>
                <a:gd name="T6" fmla="*/ 35 w 60"/>
                <a:gd name="T7" fmla="*/ 3 h 193"/>
                <a:gd name="T8" fmla="*/ 38 w 60"/>
                <a:gd name="T9" fmla="*/ 6 h 193"/>
                <a:gd name="T10" fmla="*/ 40 w 60"/>
                <a:gd name="T11" fmla="*/ 11 h 193"/>
                <a:gd name="T12" fmla="*/ 60 w 60"/>
                <a:gd name="T13" fmla="*/ 163 h 193"/>
                <a:gd name="T14" fmla="*/ 60 w 60"/>
                <a:gd name="T15" fmla="*/ 163 h 193"/>
                <a:gd name="T16" fmla="*/ 60 w 60"/>
                <a:gd name="T17" fmla="*/ 167 h 193"/>
                <a:gd name="T18" fmla="*/ 59 w 60"/>
                <a:gd name="T19" fmla="*/ 172 h 193"/>
                <a:gd name="T20" fmla="*/ 58 w 60"/>
                <a:gd name="T21" fmla="*/ 177 h 193"/>
                <a:gd name="T22" fmla="*/ 56 w 60"/>
                <a:gd name="T23" fmla="*/ 182 h 193"/>
                <a:gd name="T24" fmla="*/ 53 w 60"/>
                <a:gd name="T25" fmla="*/ 186 h 193"/>
                <a:gd name="T26" fmla="*/ 50 w 60"/>
                <a:gd name="T27" fmla="*/ 189 h 193"/>
                <a:gd name="T28" fmla="*/ 47 w 60"/>
                <a:gd name="T29" fmla="*/ 192 h 193"/>
                <a:gd name="T30" fmla="*/ 43 w 60"/>
                <a:gd name="T31" fmla="*/ 193 h 193"/>
                <a:gd name="T32" fmla="*/ 43 w 60"/>
                <a:gd name="T33" fmla="*/ 193 h 193"/>
                <a:gd name="T34" fmla="*/ 38 w 60"/>
                <a:gd name="T35" fmla="*/ 193 h 193"/>
                <a:gd name="T36" fmla="*/ 34 w 60"/>
                <a:gd name="T37" fmla="*/ 192 h 193"/>
                <a:gd name="T38" fmla="*/ 30 w 60"/>
                <a:gd name="T39" fmla="*/ 191 h 193"/>
                <a:gd name="T40" fmla="*/ 26 w 60"/>
                <a:gd name="T41" fmla="*/ 189 h 193"/>
                <a:gd name="T42" fmla="*/ 22 w 60"/>
                <a:gd name="T43" fmla="*/ 186 h 193"/>
                <a:gd name="T44" fmla="*/ 19 w 60"/>
                <a:gd name="T45" fmla="*/ 183 h 193"/>
                <a:gd name="T46" fmla="*/ 17 w 60"/>
                <a:gd name="T47" fmla="*/ 179 h 193"/>
                <a:gd name="T48" fmla="*/ 16 w 60"/>
                <a:gd name="T49" fmla="*/ 175 h 193"/>
                <a:gd name="T50" fmla="*/ 0 w 60"/>
                <a:gd name="T51" fmla="*/ 37 h 193"/>
                <a:gd name="T52" fmla="*/ 0 w 60"/>
                <a:gd name="T53" fmla="*/ 37 h 193"/>
                <a:gd name="T54" fmla="*/ 0 w 60"/>
                <a:gd name="T55" fmla="*/ 30 h 193"/>
                <a:gd name="T56" fmla="*/ 1 w 60"/>
                <a:gd name="T57" fmla="*/ 24 h 193"/>
                <a:gd name="T58" fmla="*/ 4 w 60"/>
                <a:gd name="T59" fmla="*/ 18 h 193"/>
                <a:gd name="T60" fmla="*/ 7 w 60"/>
                <a:gd name="T61" fmla="*/ 13 h 193"/>
                <a:gd name="T62" fmla="*/ 11 w 60"/>
                <a:gd name="T63" fmla="*/ 8 h 193"/>
                <a:gd name="T64" fmla="*/ 15 w 60"/>
                <a:gd name="T65" fmla="*/ 4 h 193"/>
                <a:gd name="T66" fmla="*/ 20 w 60"/>
                <a:gd name="T67" fmla="*/ 2 h 193"/>
                <a:gd name="T68" fmla="*/ 26 w 60"/>
                <a:gd name="T69" fmla="*/ 0 h 193"/>
                <a:gd name="T70" fmla="*/ 26 w 60"/>
                <a:gd name="T71"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193">
                  <a:moveTo>
                    <a:pt x="26" y="0"/>
                  </a:moveTo>
                  <a:lnTo>
                    <a:pt x="26" y="0"/>
                  </a:lnTo>
                  <a:lnTo>
                    <a:pt x="31" y="1"/>
                  </a:lnTo>
                  <a:lnTo>
                    <a:pt x="35" y="3"/>
                  </a:lnTo>
                  <a:lnTo>
                    <a:pt x="38" y="6"/>
                  </a:lnTo>
                  <a:lnTo>
                    <a:pt x="40" y="11"/>
                  </a:lnTo>
                  <a:lnTo>
                    <a:pt x="60" y="163"/>
                  </a:lnTo>
                  <a:lnTo>
                    <a:pt x="60" y="163"/>
                  </a:lnTo>
                  <a:lnTo>
                    <a:pt x="60" y="167"/>
                  </a:lnTo>
                  <a:lnTo>
                    <a:pt x="59" y="172"/>
                  </a:lnTo>
                  <a:lnTo>
                    <a:pt x="58" y="177"/>
                  </a:lnTo>
                  <a:lnTo>
                    <a:pt x="56" y="182"/>
                  </a:lnTo>
                  <a:lnTo>
                    <a:pt x="53" y="186"/>
                  </a:lnTo>
                  <a:lnTo>
                    <a:pt x="50" y="189"/>
                  </a:lnTo>
                  <a:lnTo>
                    <a:pt x="47" y="192"/>
                  </a:lnTo>
                  <a:lnTo>
                    <a:pt x="43" y="193"/>
                  </a:lnTo>
                  <a:lnTo>
                    <a:pt x="43" y="193"/>
                  </a:lnTo>
                  <a:lnTo>
                    <a:pt x="38" y="193"/>
                  </a:lnTo>
                  <a:lnTo>
                    <a:pt x="34" y="192"/>
                  </a:lnTo>
                  <a:lnTo>
                    <a:pt x="30" y="191"/>
                  </a:lnTo>
                  <a:lnTo>
                    <a:pt x="26" y="189"/>
                  </a:lnTo>
                  <a:lnTo>
                    <a:pt x="22" y="186"/>
                  </a:lnTo>
                  <a:lnTo>
                    <a:pt x="19" y="183"/>
                  </a:lnTo>
                  <a:lnTo>
                    <a:pt x="17" y="179"/>
                  </a:lnTo>
                  <a:lnTo>
                    <a:pt x="16" y="175"/>
                  </a:lnTo>
                  <a:lnTo>
                    <a:pt x="0" y="37"/>
                  </a:lnTo>
                  <a:lnTo>
                    <a:pt x="0" y="37"/>
                  </a:lnTo>
                  <a:lnTo>
                    <a:pt x="0" y="30"/>
                  </a:lnTo>
                  <a:lnTo>
                    <a:pt x="1" y="24"/>
                  </a:lnTo>
                  <a:lnTo>
                    <a:pt x="4" y="18"/>
                  </a:lnTo>
                  <a:lnTo>
                    <a:pt x="7" y="13"/>
                  </a:lnTo>
                  <a:lnTo>
                    <a:pt x="11" y="8"/>
                  </a:lnTo>
                  <a:lnTo>
                    <a:pt x="15" y="4"/>
                  </a:lnTo>
                  <a:lnTo>
                    <a:pt x="20" y="2"/>
                  </a:lnTo>
                  <a:lnTo>
                    <a:pt x="26" y="0"/>
                  </a:lnTo>
                  <a:lnTo>
                    <a:pt x="26" y="0"/>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72" name="Freeform 1373"/>
            <p:cNvSpPr/>
            <p:nvPr/>
          </p:nvSpPr>
          <p:spPr bwMode="auto">
            <a:xfrm>
              <a:off x="6451668" y="1155615"/>
              <a:ext cx="253370" cy="259550"/>
            </a:xfrm>
            <a:custGeom>
              <a:avLst/>
              <a:gdLst>
                <a:gd name="T0" fmla="*/ 92 w 125"/>
                <a:gd name="T1" fmla="*/ 0 h 125"/>
                <a:gd name="T2" fmla="*/ 92 w 125"/>
                <a:gd name="T3" fmla="*/ 0 h 125"/>
                <a:gd name="T4" fmla="*/ 97 w 125"/>
                <a:gd name="T5" fmla="*/ 1 h 125"/>
                <a:gd name="T6" fmla="*/ 103 w 125"/>
                <a:gd name="T7" fmla="*/ 2 h 125"/>
                <a:gd name="T8" fmla="*/ 108 w 125"/>
                <a:gd name="T9" fmla="*/ 5 h 125"/>
                <a:gd name="T10" fmla="*/ 112 w 125"/>
                <a:gd name="T11" fmla="*/ 7 h 125"/>
                <a:gd name="T12" fmla="*/ 115 w 125"/>
                <a:gd name="T13" fmla="*/ 10 h 125"/>
                <a:gd name="T14" fmla="*/ 118 w 125"/>
                <a:gd name="T15" fmla="*/ 14 h 125"/>
                <a:gd name="T16" fmla="*/ 120 w 125"/>
                <a:gd name="T17" fmla="*/ 18 h 125"/>
                <a:gd name="T18" fmla="*/ 122 w 125"/>
                <a:gd name="T19" fmla="*/ 23 h 125"/>
                <a:gd name="T20" fmla="*/ 124 w 125"/>
                <a:gd name="T21" fmla="*/ 27 h 125"/>
                <a:gd name="T22" fmla="*/ 125 w 125"/>
                <a:gd name="T23" fmla="*/ 33 h 125"/>
                <a:gd name="T24" fmla="*/ 124 w 125"/>
                <a:gd name="T25" fmla="*/ 44 h 125"/>
                <a:gd name="T26" fmla="*/ 122 w 125"/>
                <a:gd name="T27" fmla="*/ 56 h 125"/>
                <a:gd name="T28" fmla="*/ 117 w 125"/>
                <a:gd name="T29" fmla="*/ 68 h 125"/>
                <a:gd name="T30" fmla="*/ 117 w 125"/>
                <a:gd name="T31" fmla="*/ 68 h 125"/>
                <a:gd name="T32" fmla="*/ 110 w 125"/>
                <a:gd name="T33" fmla="*/ 81 h 125"/>
                <a:gd name="T34" fmla="*/ 100 w 125"/>
                <a:gd name="T35" fmla="*/ 92 h 125"/>
                <a:gd name="T36" fmla="*/ 90 w 125"/>
                <a:gd name="T37" fmla="*/ 102 h 125"/>
                <a:gd name="T38" fmla="*/ 79 w 125"/>
                <a:gd name="T39" fmla="*/ 111 h 125"/>
                <a:gd name="T40" fmla="*/ 67 w 125"/>
                <a:gd name="T41" fmla="*/ 118 h 125"/>
                <a:gd name="T42" fmla="*/ 55 w 125"/>
                <a:gd name="T43" fmla="*/ 122 h 125"/>
                <a:gd name="T44" fmla="*/ 43 w 125"/>
                <a:gd name="T45" fmla="*/ 125 h 125"/>
                <a:gd name="T46" fmla="*/ 37 w 125"/>
                <a:gd name="T47" fmla="*/ 125 h 125"/>
                <a:gd name="T48" fmla="*/ 31 w 125"/>
                <a:gd name="T49" fmla="*/ 125 h 125"/>
                <a:gd name="T50" fmla="*/ 31 w 125"/>
                <a:gd name="T51" fmla="*/ 125 h 125"/>
                <a:gd name="T52" fmla="*/ 26 w 125"/>
                <a:gd name="T53" fmla="*/ 124 h 125"/>
                <a:gd name="T54" fmla="*/ 21 w 125"/>
                <a:gd name="T55" fmla="*/ 122 h 125"/>
                <a:gd name="T56" fmla="*/ 17 w 125"/>
                <a:gd name="T57" fmla="*/ 120 h 125"/>
                <a:gd name="T58" fmla="*/ 13 w 125"/>
                <a:gd name="T59" fmla="*/ 118 h 125"/>
                <a:gd name="T60" fmla="*/ 9 w 125"/>
                <a:gd name="T61" fmla="*/ 114 h 125"/>
                <a:gd name="T62" fmla="*/ 6 w 125"/>
                <a:gd name="T63" fmla="*/ 111 h 125"/>
                <a:gd name="T64" fmla="*/ 4 w 125"/>
                <a:gd name="T65" fmla="*/ 107 h 125"/>
                <a:gd name="T66" fmla="*/ 2 w 125"/>
                <a:gd name="T67" fmla="*/ 102 h 125"/>
                <a:gd name="T68" fmla="*/ 0 w 125"/>
                <a:gd name="T69" fmla="*/ 97 h 125"/>
                <a:gd name="T70" fmla="*/ 0 w 125"/>
                <a:gd name="T71" fmla="*/ 92 h 125"/>
                <a:gd name="T72" fmla="*/ 0 w 125"/>
                <a:gd name="T73" fmla="*/ 81 h 125"/>
                <a:gd name="T74" fmla="*/ 2 w 125"/>
                <a:gd name="T75" fmla="*/ 69 h 125"/>
                <a:gd name="T76" fmla="*/ 7 w 125"/>
                <a:gd name="T77" fmla="*/ 56 h 125"/>
                <a:gd name="T78" fmla="*/ 7 w 125"/>
                <a:gd name="T79" fmla="*/ 56 h 125"/>
                <a:gd name="T80" fmla="*/ 14 w 125"/>
                <a:gd name="T81" fmla="*/ 44 h 125"/>
                <a:gd name="T82" fmla="*/ 23 w 125"/>
                <a:gd name="T83" fmla="*/ 33 h 125"/>
                <a:gd name="T84" fmla="*/ 33 w 125"/>
                <a:gd name="T85" fmla="*/ 22 h 125"/>
                <a:gd name="T86" fmla="*/ 44 w 125"/>
                <a:gd name="T87" fmla="*/ 14 h 125"/>
                <a:gd name="T88" fmla="*/ 56 w 125"/>
                <a:gd name="T89" fmla="*/ 7 h 125"/>
                <a:gd name="T90" fmla="*/ 68 w 125"/>
                <a:gd name="T91" fmla="*/ 3 h 125"/>
                <a:gd name="T92" fmla="*/ 80 w 125"/>
                <a:gd name="T93" fmla="*/ 0 h 125"/>
                <a:gd name="T94" fmla="*/ 86 w 125"/>
                <a:gd name="T95" fmla="*/ 0 h 125"/>
                <a:gd name="T96" fmla="*/ 92 w 125"/>
                <a:gd name="T97" fmla="*/ 0 h 125"/>
                <a:gd name="T98" fmla="*/ 92 w 125"/>
                <a:gd name="T9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5" h="125">
                  <a:moveTo>
                    <a:pt x="92" y="0"/>
                  </a:moveTo>
                  <a:lnTo>
                    <a:pt x="92" y="0"/>
                  </a:lnTo>
                  <a:lnTo>
                    <a:pt x="97" y="1"/>
                  </a:lnTo>
                  <a:lnTo>
                    <a:pt x="103" y="2"/>
                  </a:lnTo>
                  <a:lnTo>
                    <a:pt x="108" y="5"/>
                  </a:lnTo>
                  <a:lnTo>
                    <a:pt x="112" y="7"/>
                  </a:lnTo>
                  <a:lnTo>
                    <a:pt x="115" y="10"/>
                  </a:lnTo>
                  <a:lnTo>
                    <a:pt x="118" y="14"/>
                  </a:lnTo>
                  <a:lnTo>
                    <a:pt x="120" y="18"/>
                  </a:lnTo>
                  <a:lnTo>
                    <a:pt x="122" y="23"/>
                  </a:lnTo>
                  <a:lnTo>
                    <a:pt x="124" y="27"/>
                  </a:lnTo>
                  <a:lnTo>
                    <a:pt x="125" y="33"/>
                  </a:lnTo>
                  <a:lnTo>
                    <a:pt x="124" y="44"/>
                  </a:lnTo>
                  <a:lnTo>
                    <a:pt x="122" y="56"/>
                  </a:lnTo>
                  <a:lnTo>
                    <a:pt x="117" y="68"/>
                  </a:lnTo>
                  <a:lnTo>
                    <a:pt x="117" y="68"/>
                  </a:lnTo>
                  <a:lnTo>
                    <a:pt x="110" y="81"/>
                  </a:lnTo>
                  <a:lnTo>
                    <a:pt x="100" y="92"/>
                  </a:lnTo>
                  <a:lnTo>
                    <a:pt x="90" y="102"/>
                  </a:lnTo>
                  <a:lnTo>
                    <a:pt x="79" y="111"/>
                  </a:lnTo>
                  <a:lnTo>
                    <a:pt x="67" y="118"/>
                  </a:lnTo>
                  <a:lnTo>
                    <a:pt x="55" y="122"/>
                  </a:lnTo>
                  <a:lnTo>
                    <a:pt x="43" y="125"/>
                  </a:lnTo>
                  <a:lnTo>
                    <a:pt x="37" y="125"/>
                  </a:lnTo>
                  <a:lnTo>
                    <a:pt x="31" y="125"/>
                  </a:lnTo>
                  <a:lnTo>
                    <a:pt x="31" y="125"/>
                  </a:lnTo>
                  <a:lnTo>
                    <a:pt x="26" y="124"/>
                  </a:lnTo>
                  <a:lnTo>
                    <a:pt x="21" y="122"/>
                  </a:lnTo>
                  <a:lnTo>
                    <a:pt x="17" y="120"/>
                  </a:lnTo>
                  <a:lnTo>
                    <a:pt x="13" y="118"/>
                  </a:lnTo>
                  <a:lnTo>
                    <a:pt x="9" y="114"/>
                  </a:lnTo>
                  <a:lnTo>
                    <a:pt x="6" y="111"/>
                  </a:lnTo>
                  <a:lnTo>
                    <a:pt x="4" y="107"/>
                  </a:lnTo>
                  <a:lnTo>
                    <a:pt x="2" y="102"/>
                  </a:lnTo>
                  <a:lnTo>
                    <a:pt x="0" y="97"/>
                  </a:lnTo>
                  <a:lnTo>
                    <a:pt x="0" y="92"/>
                  </a:lnTo>
                  <a:lnTo>
                    <a:pt x="0" y="81"/>
                  </a:lnTo>
                  <a:lnTo>
                    <a:pt x="2" y="69"/>
                  </a:lnTo>
                  <a:lnTo>
                    <a:pt x="7" y="56"/>
                  </a:lnTo>
                  <a:lnTo>
                    <a:pt x="7" y="56"/>
                  </a:lnTo>
                  <a:lnTo>
                    <a:pt x="14" y="44"/>
                  </a:lnTo>
                  <a:lnTo>
                    <a:pt x="23" y="33"/>
                  </a:lnTo>
                  <a:lnTo>
                    <a:pt x="33" y="22"/>
                  </a:lnTo>
                  <a:lnTo>
                    <a:pt x="44" y="14"/>
                  </a:lnTo>
                  <a:lnTo>
                    <a:pt x="56" y="7"/>
                  </a:lnTo>
                  <a:lnTo>
                    <a:pt x="68" y="3"/>
                  </a:lnTo>
                  <a:lnTo>
                    <a:pt x="80" y="0"/>
                  </a:lnTo>
                  <a:lnTo>
                    <a:pt x="86" y="0"/>
                  </a:lnTo>
                  <a:lnTo>
                    <a:pt x="92" y="0"/>
                  </a:lnTo>
                  <a:lnTo>
                    <a:pt x="92" y="0"/>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73" name="Freeform 1374"/>
            <p:cNvSpPr/>
            <p:nvPr/>
          </p:nvSpPr>
          <p:spPr bwMode="auto">
            <a:xfrm>
              <a:off x="6649421" y="858987"/>
              <a:ext cx="49439" cy="74157"/>
            </a:xfrm>
            <a:custGeom>
              <a:avLst/>
              <a:gdLst>
                <a:gd name="T0" fmla="*/ 15 w 23"/>
                <a:gd name="T1" fmla="*/ 0 h 38"/>
                <a:gd name="T2" fmla="*/ 15 w 23"/>
                <a:gd name="T3" fmla="*/ 0 h 38"/>
                <a:gd name="T4" fmla="*/ 17 w 23"/>
                <a:gd name="T5" fmla="*/ 3 h 38"/>
                <a:gd name="T6" fmla="*/ 19 w 23"/>
                <a:gd name="T7" fmla="*/ 7 h 38"/>
                <a:gd name="T8" fmla="*/ 23 w 23"/>
                <a:gd name="T9" fmla="*/ 38 h 38"/>
                <a:gd name="T10" fmla="*/ 23 w 23"/>
                <a:gd name="T11" fmla="*/ 38 h 38"/>
                <a:gd name="T12" fmla="*/ 12 w 23"/>
                <a:gd name="T13" fmla="*/ 36 h 38"/>
                <a:gd name="T14" fmla="*/ 0 w 23"/>
                <a:gd name="T15" fmla="*/ 33 h 38"/>
                <a:gd name="T16" fmla="*/ 0 w 23"/>
                <a:gd name="T17" fmla="*/ 33 h 38"/>
                <a:gd name="T18" fmla="*/ 0 w 23"/>
                <a:gd name="T19" fmla="*/ 22 h 38"/>
                <a:gd name="T20" fmla="*/ 0 w 23"/>
                <a:gd name="T21" fmla="*/ 16 h 38"/>
                <a:gd name="T22" fmla="*/ 1 w 23"/>
                <a:gd name="T23" fmla="*/ 11 h 38"/>
                <a:gd name="T24" fmla="*/ 3 w 23"/>
                <a:gd name="T25" fmla="*/ 7 h 38"/>
                <a:gd name="T26" fmla="*/ 7 w 23"/>
                <a:gd name="T27" fmla="*/ 3 h 38"/>
                <a:gd name="T28" fmla="*/ 10 w 23"/>
                <a:gd name="T29" fmla="*/ 0 h 38"/>
                <a:gd name="T30" fmla="*/ 15 w 23"/>
                <a:gd name="T31" fmla="*/ 0 h 38"/>
                <a:gd name="T32" fmla="*/ 15 w 23"/>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8">
                  <a:moveTo>
                    <a:pt x="15" y="0"/>
                  </a:moveTo>
                  <a:lnTo>
                    <a:pt x="15" y="0"/>
                  </a:lnTo>
                  <a:lnTo>
                    <a:pt x="17" y="3"/>
                  </a:lnTo>
                  <a:lnTo>
                    <a:pt x="19" y="7"/>
                  </a:lnTo>
                  <a:lnTo>
                    <a:pt x="23" y="38"/>
                  </a:lnTo>
                  <a:lnTo>
                    <a:pt x="23" y="38"/>
                  </a:lnTo>
                  <a:lnTo>
                    <a:pt x="12" y="36"/>
                  </a:lnTo>
                  <a:lnTo>
                    <a:pt x="0" y="33"/>
                  </a:lnTo>
                  <a:lnTo>
                    <a:pt x="0" y="33"/>
                  </a:lnTo>
                  <a:lnTo>
                    <a:pt x="0" y="22"/>
                  </a:lnTo>
                  <a:lnTo>
                    <a:pt x="0" y="16"/>
                  </a:lnTo>
                  <a:lnTo>
                    <a:pt x="1" y="11"/>
                  </a:lnTo>
                  <a:lnTo>
                    <a:pt x="3" y="7"/>
                  </a:lnTo>
                  <a:lnTo>
                    <a:pt x="7" y="3"/>
                  </a:lnTo>
                  <a:lnTo>
                    <a:pt x="10" y="0"/>
                  </a:lnTo>
                  <a:lnTo>
                    <a:pt x="15" y="0"/>
                  </a:lnTo>
                  <a:lnTo>
                    <a:pt x="15" y="0"/>
                  </a:lnTo>
                  <a:close/>
                </a:path>
              </a:pathLst>
            </a:custGeom>
            <a:solidFill>
              <a:srgbClr val="FFF2E8"/>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74" name="Freeform 1375"/>
            <p:cNvSpPr/>
            <p:nvPr/>
          </p:nvSpPr>
          <p:spPr bwMode="auto">
            <a:xfrm>
              <a:off x="5320773" y="1365728"/>
              <a:ext cx="432584" cy="364605"/>
            </a:xfrm>
            <a:custGeom>
              <a:avLst/>
              <a:gdLst>
                <a:gd name="T0" fmla="*/ 210 w 210"/>
                <a:gd name="T1" fmla="*/ 27 h 175"/>
                <a:gd name="T2" fmla="*/ 148 w 210"/>
                <a:gd name="T3" fmla="*/ 175 h 175"/>
                <a:gd name="T4" fmla="*/ 17 w 210"/>
                <a:gd name="T5" fmla="*/ 175 h 175"/>
                <a:gd name="T6" fmla="*/ 17 w 210"/>
                <a:gd name="T7" fmla="*/ 175 h 175"/>
                <a:gd name="T8" fmla="*/ 0 w 210"/>
                <a:gd name="T9" fmla="*/ 159 h 175"/>
                <a:gd name="T10" fmla="*/ 64 w 210"/>
                <a:gd name="T11" fmla="*/ 0 h 175"/>
                <a:gd name="T12" fmla="*/ 210 w 210"/>
                <a:gd name="T13" fmla="*/ 27 h 175"/>
              </a:gdLst>
              <a:ahLst/>
              <a:cxnLst>
                <a:cxn ang="0">
                  <a:pos x="T0" y="T1"/>
                </a:cxn>
                <a:cxn ang="0">
                  <a:pos x="T2" y="T3"/>
                </a:cxn>
                <a:cxn ang="0">
                  <a:pos x="T4" y="T5"/>
                </a:cxn>
                <a:cxn ang="0">
                  <a:pos x="T6" y="T7"/>
                </a:cxn>
                <a:cxn ang="0">
                  <a:pos x="T8" y="T9"/>
                </a:cxn>
                <a:cxn ang="0">
                  <a:pos x="T10" y="T11"/>
                </a:cxn>
                <a:cxn ang="0">
                  <a:pos x="T12" y="T13"/>
                </a:cxn>
              </a:cxnLst>
              <a:rect l="0" t="0" r="r" b="b"/>
              <a:pathLst>
                <a:path w="210" h="175">
                  <a:moveTo>
                    <a:pt x="210" y="27"/>
                  </a:moveTo>
                  <a:lnTo>
                    <a:pt x="148" y="175"/>
                  </a:lnTo>
                  <a:lnTo>
                    <a:pt x="17" y="175"/>
                  </a:lnTo>
                  <a:lnTo>
                    <a:pt x="17" y="175"/>
                  </a:lnTo>
                  <a:lnTo>
                    <a:pt x="0" y="159"/>
                  </a:lnTo>
                  <a:lnTo>
                    <a:pt x="64" y="0"/>
                  </a:lnTo>
                  <a:lnTo>
                    <a:pt x="210" y="27"/>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75" name="Freeform 1376"/>
            <p:cNvSpPr/>
            <p:nvPr/>
          </p:nvSpPr>
          <p:spPr bwMode="auto">
            <a:xfrm>
              <a:off x="5265154" y="1495502"/>
              <a:ext cx="426403" cy="234831"/>
            </a:xfrm>
            <a:custGeom>
              <a:avLst/>
              <a:gdLst>
                <a:gd name="T0" fmla="*/ 45 w 209"/>
                <a:gd name="T1" fmla="*/ 0 h 113"/>
                <a:gd name="T2" fmla="*/ 0 w 209"/>
                <a:gd name="T3" fmla="*/ 113 h 113"/>
                <a:gd name="T4" fmla="*/ 190 w 209"/>
                <a:gd name="T5" fmla="*/ 113 h 113"/>
                <a:gd name="T6" fmla="*/ 209 w 209"/>
                <a:gd name="T7" fmla="*/ 65 h 113"/>
                <a:gd name="T8" fmla="*/ 45 w 209"/>
                <a:gd name="T9" fmla="*/ 0 h 113"/>
              </a:gdLst>
              <a:ahLst/>
              <a:cxnLst>
                <a:cxn ang="0">
                  <a:pos x="T0" y="T1"/>
                </a:cxn>
                <a:cxn ang="0">
                  <a:pos x="T2" y="T3"/>
                </a:cxn>
                <a:cxn ang="0">
                  <a:pos x="T4" y="T5"/>
                </a:cxn>
                <a:cxn ang="0">
                  <a:pos x="T6" y="T7"/>
                </a:cxn>
                <a:cxn ang="0">
                  <a:pos x="T8" y="T9"/>
                </a:cxn>
              </a:cxnLst>
              <a:rect l="0" t="0" r="r" b="b"/>
              <a:pathLst>
                <a:path w="209" h="113">
                  <a:moveTo>
                    <a:pt x="45" y="0"/>
                  </a:moveTo>
                  <a:lnTo>
                    <a:pt x="0" y="113"/>
                  </a:lnTo>
                  <a:lnTo>
                    <a:pt x="190" y="113"/>
                  </a:lnTo>
                  <a:lnTo>
                    <a:pt x="209" y="65"/>
                  </a:lnTo>
                  <a:lnTo>
                    <a:pt x="45" y="0"/>
                  </a:lnTo>
                  <a:close/>
                </a:path>
              </a:pathLst>
            </a:custGeom>
            <a:solidFill>
              <a:srgbClr val="CAEAFC"/>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76" name="Freeform 1377"/>
            <p:cNvSpPr/>
            <p:nvPr/>
          </p:nvSpPr>
          <p:spPr bwMode="auto">
            <a:xfrm>
              <a:off x="5716277" y="1161795"/>
              <a:ext cx="302807" cy="327527"/>
            </a:xfrm>
            <a:custGeom>
              <a:avLst/>
              <a:gdLst>
                <a:gd name="T0" fmla="*/ 147 w 147"/>
                <a:gd name="T1" fmla="*/ 13 h 160"/>
                <a:gd name="T2" fmla="*/ 75 w 147"/>
                <a:gd name="T3" fmla="*/ 114 h 160"/>
                <a:gd name="T4" fmla="*/ 75 w 147"/>
                <a:gd name="T5" fmla="*/ 114 h 160"/>
                <a:gd name="T6" fmla="*/ 70 w 147"/>
                <a:gd name="T7" fmla="*/ 120 h 160"/>
                <a:gd name="T8" fmla="*/ 62 w 147"/>
                <a:gd name="T9" fmla="*/ 128 h 160"/>
                <a:gd name="T10" fmla="*/ 53 w 147"/>
                <a:gd name="T11" fmla="*/ 136 h 160"/>
                <a:gd name="T12" fmla="*/ 42 w 147"/>
                <a:gd name="T13" fmla="*/ 145 h 160"/>
                <a:gd name="T14" fmla="*/ 31 w 147"/>
                <a:gd name="T15" fmla="*/ 152 h 160"/>
                <a:gd name="T16" fmla="*/ 20 w 147"/>
                <a:gd name="T17" fmla="*/ 158 h 160"/>
                <a:gd name="T18" fmla="*/ 15 w 147"/>
                <a:gd name="T19" fmla="*/ 159 h 160"/>
                <a:gd name="T20" fmla="*/ 11 w 147"/>
                <a:gd name="T21" fmla="*/ 160 h 160"/>
                <a:gd name="T22" fmla="*/ 8 w 147"/>
                <a:gd name="T23" fmla="*/ 160 h 160"/>
                <a:gd name="T24" fmla="*/ 5 w 147"/>
                <a:gd name="T25" fmla="*/ 159 h 160"/>
                <a:gd name="T26" fmla="*/ 5 w 147"/>
                <a:gd name="T27" fmla="*/ 159 h 160"/>
                <a:gd name="T28" fmla="*/ 2 w 147"/>
                <a:gd name="T29" fmla="*/ 157 h 160"/>
                <a:gd name="T30" fmla="*/ 1 w 147"/>
                <a:gd name="T31" fmla="*/ 155 h 160"/>
                <a:gd name="T32" fmla="*/ 0 w 147"/>
                <a:gd name="T33" fmla="*/ 151 h 160"/>
                <a:gd name="T34" fmla="*/ 0 w 147"/>
                <a:gd name="T35" fmla="*/ 148 h 160"/>
                <a:gd name="T36" fmla="*/ 1 w 147"/>
                <a:gd name="T37" fmla="*/ 138 h 160"/>
                <a:gd name="T38" fmla="*/ 4 w 147"/>
                <a:gd name="T39" fmla="*/ 128 h 160"/>
                <a:gd name="T40" fmla="*/ 7 w 147"/>
                <a:gd name="T41" fmla="*/ 118 h 160"/>
                <a:gd name="T42" fmla="*/ 12 w 147"/>
                <a:gd name="T43" fmla="*/ 108 h 160"/>
                <a:gd name="T44" fmla="*/ 16 w 147"/>
                <a:gd name="T45" fmla="*/ 100 h 160"/>
                <a:gd name="T46" fmla="*/ 20 w 147"/>
                <a:gd name="T47" fmla="*/ 94 h 160"/>
                <a:gd name="T48" fmla="*/ 75 w 147"/>
                <a:gd name="T49" fmla="*/ 25 h 160"/>
                <a:gd name="T50" fmla="*/ 75 w 147"/>
                <a:gd name="T51" fmla="*/ 25 h 160"/>
                <a:gd name="T52" fmla="*/ 80 w 147"/>
                <a:gd name="T53" fmla="*/ 18 h 160"/>
                <a:gd name="T54" fmla="*/ 86 w 147"/>
                <a:gd name="T55" fmla="*/ 13 h 160"/>
                <a:gd name="T56" fmla="*/ 92 w 147"/>
                <a:gd name="T57" fmla="*/ 9 h 160"/>
                <a:gd name="T58" fmla="*/ 97 w 147"/>
                <a:gd name="T59" fmla="*/ 5 h 160"/>
                <a:gd name="T60" fmla="*/ 102 w 147"/>
                <a:gd name="T61" fmla="*/ 3 h 160"/>
                <a:gd name="T62" fmla="*/ 108 w 147"/>
                <a:gd name="T63" fmla="*/ 1 h 160"/>
                <a:gd name="T64" fmla="*/ 113 w 147"/>
                <a:gd name="T65" fmla="*/ 0 h 160"/>
                <a:gd name="T66" fmla="*/ 117 w 147"/>
                <a:gd name="T67" fmla="*/ 0 h 160"/>
                <a:gd name="T68" fmla="*/ 126 w 147"/>
                <a:gd name="T69" fmla="*/ 2 h 160"/>
                <a:gd name="T70" fmla="*/ 134 w 147"/>
                <a:gd name="T71" fmla="*/ 5 h 160"/>
                <a:gd name="T72" fmla="*/ 141 w 147"/>
                <a:gd name="T73" fmla="*/ 9 h 160"/>
                <a:gd name="T74" fmla="*/ 147 w 147"/>
                <a:gd name="T75" fmla="*/ 13 h 160"/>
                <a:gd name="T76" fmla="*/ 147 w 147"/>
                <a:gd name="T77" fmla="*/ 1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7" h="160">
                  <a:moveTo>
                    <a:pt x="147" y="13"/>
                  </a:moveTo>
                  <a:lnTo>
                    <a:pt x="75" y="114"/>
                  </a:lnTo>
                  <a:lnTo>
                    <a:pt x="75" y="114"/>
                  </a:lnTo>
                  <a:lnTo>
                    <a:pt x="70" y="120"/>
                  </a:lnTo>
                  <a:lnTo>
                    <a:pt x="62" y="128"/>
                  </a:lnTo>
                  <a:lnTo>
                    <a:pt x="53" y="136"/>
                  </a:lnTo>
                  <a:lnTo>
                    <a:pt x="42" y="145"/>
                  </a:lnTo>
                  <a:lnTo>
                    <a:pt x="31" y="152"/>
                  </a:lnTo>
                  <a:lnTo>
                    <a:pt x="20" y="158"/>
                  </a:lnTo>
                  <a:lnTo>
                    <a:pt x="15" y="159"/>
                  </a:lnTo>
                  <a:lnTo>
                    <a:pt x="11" y="160"/>
                  </a:lnTo>
                  <a:lnTo>
                    <a:pt x="8" y="160"/>
                  </a:lnTo>
                  <a:lnTo>
                    <a:pt x="5" y="159"/>
                  </a:lnTo>
                  <a:lnTo>
                    <a:pt x="5" y="159"/>
                  </a:lnTo>
                  <a:lnTo>
                    <a:pt x="2" y="157"/>
                  </a:lnTo>
                  <a:lnTo>
                    <a:pt x="1" y="155"/>
                  </a:lnTo>
                  <a:lnTo>
                    <a:pt x="0" y="151"/>
                  </a:lnTo>
                  <a:lnTo>
                    <a:pt x="0" y="148"/>
                  </a:lnTo>
                  <a:lnTo>
                    <a:pt x="1" y="138"/>
                  </a:lnTo>
                  <a:lnTo>
                    <a:pt x="4" y="128"/>
                  </a:lnTo>
                  <a:lnTo>
                    <a:pt x="7" y="118"/>
                  </a:lnTo>
                  <a:lnTo>
                    <a:pt x="12" y="108"/>
                  </a:lnTo>
                  <a:lnTo>
                    <a:pt x="16" y="100"/>
                  </a:lnTo>
                  <a:lnTo>
                    <a:pt x="20" y="94"/>
                  </a:lnTo>
                  <a:lnTo>
                    <a:pt x="75" y="25"/>
                  </a:lnTo>
                  <a:lnTo>
                    <a:pt x="75" y="25"/>
                  </a:lnTo>
                  <a:lnTo>
                    <a:pt x="80" y="18"/>
                  </a:lnTo>
                  <a:lnTo>
                    <a:pt x="86" y="13"/>
                  </a:lnTo>
                  <a:lnTo>
                    <a:pt x="92" y="9"/>
                  </a:lnTo>
                  <a:lnTo>
                    <a:pt x="97" y="5"/>
                  </a:lnTo>
                  <a:lnTo>
                    <a:pt x="102" y="3"/>
                  </a:lnTo>
                  <a:lnTo>
                    <a:pt x="108" y="1"/>
                  </a:lnTo>
                  <a:lnTo>
                    <a:pt x="113" y="0"/>
                  </a:lnTo>
                  <a:lnTo>
                    <a:pt x="117" y="0"/>
                  </a:lnTo>
                  <a:lnTo>
                    <a:pt x="126" y="2"/>
                  </a:lnTo>
                  <a:lnTo>
                    <a:pt x="134" y="5"/>
                  </a:lnTo>
                  <a:lnTo>
                    <a:pt x="141" y="9"/>
                  </a:lnTo>
                  <a:lnTo>
                    <a:pt x="147" y="13"/>
                  </a:lnTo>
                  <a:lnTo>
                    <a:pt x="147" y="13"/>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77" name="Freeform 1378"/>
            <p:cNvSpPr/>
            <p:nvPr/>
          </p:nvSpPr>
          <p:spPr bwMode="auto">
            <a:xfrm>
              <a:off x="5413470" y="735392"/>
              <a:ext cx="673594" cy="821907"/>
            </a:xfrm>
            <a:custGeom>
              <a:avLst/>
              <a:gdLst>
                <a:gd name="T0" fmla="*/ 215 w 329"/>
                <a:gd name="T1" fmla="*/ 149 h 399"/>
                <a:gd name="T2" fmla="*/ 214 w 329"/>
                <a:gd name="T3" fmla="*/ 144 h 399"/>
                <a:gd name="T4" fmla="*/ 210 w 329"/>
                <a:gd name="T5" fmla="*/ 137 h 399"/>
                <a:gd name="T6" fmla="*/ 203 w 329"/>
                <a:gd name="T7" fmla="*/ 132 h 399"/>
                <a:gd name="T8" fmla="*/ 191 w 329"/>
                <a:gd name="T9" fmla="*/ 129 h 399"/>
                <a:gd name="T10" fmla="*/ 175 w 329"/>
                <a:gd name="T11" fmla="*/ 132 h 399"/>
                <a:gd name="T12" fmla="*/ 167 w 329"/>
                <a:gd name="T13" fmla="*/ 136 h 399"/>
                <a:gd name="T14" fmla="*/ 161 w 329"/>
                <a:gd name="T15" fmla="*/ 144 h 399"/>
                <a:gd name="T16" fmla="*/ 161 w 329"/>
                <a:gd name="T17" fmla="*/ 139 h 399"/>
                <a:gd name="T18" fmla="*/ 157 w 329"/>
                <a:gd name="T19" fmla="*/ 132 h 399"/>
                <a:gd name="T20" fmla="*/ 152 w 329"/>
                <a:gd name="T21" fmla="*/ 126 h 399"/>
                <a:gd name="T22" fmla="*/ 141 w 329"/>
                <a:gd name="T23" fmla="*/ 121 h 399"/>
                <a:gd name="T24" fmla="*/ 125 w 329"/>
                <a:gd name="T25" fmla="*/ 121 h 399"/>
                <a:gd name="T26" fmla="*/ 113 w 329"/>
                <a:gd name="T27" fmla="*/ 127 h 399"/>
                <a:gd name="T28" fmla="*/ 110 w 329"/>
                <a:gd name="T29" fmla="*/ 130 h 399"/>
                <a:gd name="T30" fmla="*/ 107 w 329"/>
                <a:gd name="T31" fmla="*/ 123 h 399"/>
                <a:gd name="T32" fmla="*/ 101 w 329"/>
                <a:gd name="T33" fmla="*/ 117 h 399"/>
                <a:gd name="T34" fmla="*/ 94 w 329"/>
                <a:gd name="T35" fmla="*/ 114 h 399"/>
                <a:gd name="T36" fmla="*/ 78 w 329"/>
                <a:gd name="T37" fmla="*/ 113 h 399"/>
                <a:gd name="T38" fmla="*/ 70 w 329"/>
                <a:gd name="T39" fmla="*/ 116 h 399"/>
                <a:gd name="T40" fmla="*/ 63 w 329"/>
                <a:gd name="T41" fmla="*/ 122 h 399"/>
                <a:gd name="T42" fmla="*/ 58 w 329"/>
                <a:gd name="T43" fmla="*/ 130 h 399"/>
                <a:gd name="T44" fmla="*/ 9 w 329"/>
                <a:gd name="T45" fmla="*/ 241 h 399"/>
                <a:gd name="T46" fmla="*/ 2 w 329"/>
                <a:gd name="T47" fmla="*/ 266 h 399"/>
                <a:gd name="T48" fmla="*/ 0 w 329"/>
                <a:gd name="T49" fmla="*/ 293 h 399"/>
                <a:gd name="T50" fmla="*/ 2 w 329"/>
                <a:gd name="T51" fmla="*/ 318 h 399"/>
                <a:gd name="T52" fmla="*/ 7 w 329"/>
                <a:gd name="T53" fmla="*/ 338 h 399"/>
                <a:gd name="T54" fmla="*/ 11 w 329"/>
                <a:gd name="T55" fmla="*/ 350 h 399"/>
                <a:gd name="T56" fmla="*/ 23 w 329"/>
                <a:gd name="T57" fmla="*/ 369 h 399"/>
                <a:gd name="T58" fmla="*/ 39 w 329"/>
                <a:gd name="T59" fmla="*/ 383 h 399"/>
                <a:gd name="T60" fmla="*/ 57 w 329"/>
                <a:gd name="T61" fmla="*/ 392 h 399"/>
                <a:gd name="T62" fmla="*/ 76 w 329"/>
                <a:gd name="T63" fmla="*/ 398 h 399"/>
                <a:gd name="T64" fmla="*/ 95 w 329"/>
                <a:gd name="T65" fmla="*/ 399 h 399"/>
                <a:gd name="T66" fmla="*/ 113 w 329"/>
                <a:gd name="T67" fmla="*/ 397 h 399"/>
                <a:gd name="T68" fmla="*/ 128 w 329"/>
                <a:gd name="T69" fmla="*/ 392 h 399"/>
                <a:gd name="T70" fmla="*/ 135 w 329"/>
                <a:gd name="T71" fmla="*/ 389 h 399"/>
                <a:gd name="T72" fmla="*/ 165 w 329"/>
                <a:gd name="T73" fmla="*/ 369 h 399"/>
                <a:gd name="T74" fmla="*/ 177 w 329"/>
                <a:gd name="T75" fmla="*/ 359 h 399"/>
                <a:gd name="T76" fmla="*/ 184 w 329"/>
                <a:gd name="T77" fmla="*/ 348 h 399"/>
                <a:gd name="T78" fmla="*/ 325 w 329"/>
                <a:gd name="T79" fmla="*/ 40 h 399"/>
                <a:gd name="T80" fmla="*/ 329 w 329"/>
                <a:gd name="T81" fmla="*/ 26 h 399"/>
                <a:gd name="T82" fmla="*/ 327 w 329"/>
                <a:gd name="T83" fmla="*/ 15 h 399"/>
                <a:gd name="T84" fmla="*/ 320 w 329"/>
                <a:gd name="T85" fmla="*/ 7 h 399"/>
                <a:gd name="T86" fmla="*/ 311 w 329"/>
                <a:gd name="T87" fmla="*/ 2 h 399"/>
                <a:gd name="T88" fmla="*/ 300 w 329"/>
                <a:gd name="T89" fmla="*/ 0 h 399"/>
                <a:gd name="T90" fmla="*/ 289 w 329"/>
                <a:gd name="T91" fmla="*/ 2 h 399"/>
                <a:gd name="T92" fmla="*/ 280 w 329"/>
                <a:gd name="T93" fmla="*/ 7 h 399"/>
                <a:gd name="T94" fmla="*/ 273 w 329"/>
                <a:gd name="T95" fmla="*/ 1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9" h="399">
                  <a:moveTo>
                    <a:pt x="273" y="17"/>
                  </a:moveTo>
                  <a:lnTo>
                    <a:pt x="215" y="149"/>
                  </a:lnTo>
                  <a:lnTo>
                    <a:pt x="215" y="149"/>
                  </a:lnTo>
                  <a:lnTo>
                    <a:pt x="214" y="144"/>
                  </a:lnTo>
                  <a:lnTo>
                    <a:pt x="212" y="141"/>
                  </a:lnTo>
                  <a:lnTo>
                    <a:pt x="210" y="137"/>
                  </a:lnTo>
                  <a:lnTo>
                    <a:pt x="207" y="135"/>
                  </a:lnTo>
                  <a:lnTo>
                    <a:pt x="203" y="132"/>
                  </a:lnTo>
                  <a:lnTo>
                    <a:pt x="200" y="131"/>
                  </a:lnTo>
                  <a:lnTo>
                    <a:pt x="191" y="129"/>
                  </a:lnTo>
                  <a:lnTo>
                    <a:pt x="183" y="129"/>
                  </a:lnTo>
                  <a:lnTo>
                    <a:pt x="175" y="132"/>
                  </a:lnTo>
                  <a:lnTo>
                    <a:pt x="171" y="134"/>
                  </a:lnTo>
                  <a:lnTo>
                    <a:pt x="167" y="136"/>
                  </a:lnTo>
                  <a:lnTo>
                    <a:pt x="164" y="140"/>
                  </a:lnTo>
                  <a:lnTo>
                    <a:pt x="161" y="144"/>
                  </a:lnTo>
                  <a:lnTo>
                    <a:pt x="161" y="144"/>
                  </a:lnTo>
                  <a:lnTo>
                    <a:pt x="161" y="139"/>
                  </a:lnTo>
                  <a:lnTo>
                    <a:pt x="159" y="135"/>
                  </a:lnTo>
                  <a:lnTo>
                    <a:pt x="157" y="132"/>
                  </a:lnTo>
                  <a:lnTo>
                    <a:pt x="155" y="128"/>
                  </a:lnTo>
                  <a:lnTo>
                    <a:pt x="152" y="126"/>
                  </a:lnTo>
                  <a:lnTo>
                    <a:pt x="149" y="124"/>
                  </a:lnTo>
                  <a:lnTo>
                    <a:pt x="141" y="121"/>
                  </a:lnTo>
                  <a:lnTo>
                    <a:pt x="133" y="120"/>
                  </a:lnTo>
                  <a:lnTo>
                    <a:pt x="125" y="121"/>
                  </a:lnTo>
                  <a:lnTo>
                    <a:pt x="117" y="125"/>
                  </a:lnTo>
                  <a:lnTo>
                    <a:pt x="113" y="127"/>
                  </a:lnTo>
                  <a:lnTo>
                    <a:pt x="110" y="130"/>
                  </a:lnTo>
                  <a:lnTo>
                    <a:pt x="110" y="130"/>
                  </a:lnTo>
                  <a:lnTo>
                    <a:pt x="109" y="126"/>
                  </a:lnTo>
                  <a:lnTo>
                    <a:pt x="107" y="123"/>
                  </a:lnTo>
                  <a:lnTo>
                    <a:pt x="104" y="120"/>
                  </a:lnTo>
                  <a:lnTo>
                    <a:pt x="101" y="117"/>
                  </a:lnTo>
                  <a:lnTo>
                    <a:pt x="98" y="115"/>
                  </a:lnTo>
                  <a:lnTo>
                    <a:pt x="94" y="114"/>
                  </a:lnTo>
                  <a:lnTo>
                    <a:pt x="86" y="112"/>
                  </a:lnTo>
                  <a:lnTo>
                    <a:pt x="78" y="113"/>
                  </a:lnTo>
                  <a:lnTo>
                    <a:pt x="74" y="114"/>
                  </a:lnTo>
                  <a:lnTo>
                    <a:pt x="70" y="116"/>
                  </a:lnTo>
                  <a:lnTo>
                    <a:pt x="66" y="119"/>
                  </a:lnTo>
                  <a:lnTo>
                    <a:pt x="63" y="122"/>
                  </a:lnTo>
                  <a:lnTo>
                    <a:pt x="60" y="125"/>
                  </a:lnTo>
                  <a:lnTo>
                    <a:pt x="58" y="130"/>
                  </a:lnTo>
                  <a:lnTo>
                    <a:pt x="9" y="241"/>
                  </a:lnTo>
                  <a:lnTo>
                    <a:pt x="9" y="241"/>
                  </a:lnTo>
                  <a:lnTo>
                    <a:pt x="4" y="253"/>
                  </a:lnTo>
                  <a:lnTo>
                    <a:pt x="2" y="266"/>
                  </a:lnTo>
                  <a:lnTo>
                    <a:pt x="0" y="280"/>
                  </a:lnTo>
                  <a:lnTo>
                    <a:pt x="0" y="293"/>
                  </a:lnTo>
                  <a:lnTo>
                    <a:pt x="1" y="306"/>
                  </a:lnTo>
                  <a:lnTo>
                    <a:pt x="2" y="318"/>
                  </a:lnTo>
                  <a:lnTo>
                    <a:pt x="4" y="329"/>
                  </a:lnTo>
                  <a:lnTo>
                    <a:pt x="7" y="338"/>
                  </a:lnTo>
                  <a:lnTo>
                    <a:pt x="7" y="338"/>
                  </a:lnTo>
                  <a:lnTo>
                    <a:pt x="11" y="350"/>
                  </a:lnTo>
                  <a:lnTo>
                    <a:pt x="16" y="360"/>
                  </a:lnTo>
                  <a:lnTo>
                    <a:pt x="23" y="369"/>
                  </a:lnTo>
                  <a:lnTo>
                    <a:pt x="30" y="376"/>
                  </a:lnTo>
                  <a:lnTo>
                    <a:pt x="39" y="383"/>
                  </a:lnTo>
                  <a:lnTo>
                    <a:pt x="47" y="388"/>
                  </a:lnTo>
                  <a:lnTo>
                    <a:pt x="57" y="392"/>
                  </a:lnTo>
                  <a:lnTo>
                    <a:pt x="66" y="395"/>
                  </a:lnTo>
                  <a:lnTo>
                    <a:pt x="76" y="398"/>
                  </a:lnTo>
                  <a:lnTo>
                    <a:pt x="86" y="399"/>
                  </a:lnTo>
                  <a:lnTo>
                    <a:pt x="95" y="399"/>
                  </a:lnTo>
                  <a:lnTo>
                    <a:pt x="105" y="399"/>
                  </a:lnTo>
                  <a:lnTo>
                    <a:pt x="113" y="397"/>
                  </a:lnTo>
                  <a:lnTo>
                    <a:pt x="121" y="395"/>
                  </a:lnTo>
                  <a:lnTo>
                    <a:pt x="128" y="392"/>
                  </a:lnTo>
                  <a:lnTo>
                    <a:pt x="135" y="389"/>
                  </a:lnTo>
                  <a:lnTo>
                    <a:pt x="135" y="389"/>
                  </a:lnTo>
                  <a:lnTo>
                    <a:pt x="151" y="378"/>
                  </a:lnTo>
                  <a:lnTo>
                    <a:pt x="165" y="369"/>
                  </a:lnTo>
                  <a:lnTo>
                    <a:pt x="171" y="364"/>
                  </a:lnTo>
                  <a:lnTo>
                    <a:pt x="177" y="359"/>
                  </a:lnTo>
                  <a:lnTo>
                    <a:pt x="181" y="354"/>
                  </a:lnTo>
                  <a:lnTo>
                    <a:pt x="184" y="348"/>
                  </a:lnTo>
                  <a:lnTo>
                    <a:pt x="325" y="40"/>
                  </a:lnTo>
                  <a:lnTo>
                    <a:pt x="325" y="40"/>
                  </a:lnTo>
                  <a:lnTo>
                    <a:pt x="328" y="33"/>
                  </a:lnTo>
                  <a:lnTo>
                    <a:pt x="329" y="26"/>
                  </a:lnTo>
                  <a:lnTo>
                    <a:pt x="328" y="20"/>
                  </a:lnTo>
                  <a:lnTo>
                    <a:pt x="327" y="15"/>
                  </a:lnTo>
                  <a:lnTo>
                    <a:pt x="324" y="11"/>
                  </a:lnTo>
                  <a:lnTo>
                    <a:pt x="320" y="7"/>
                  </a:lnTo>
                  <a:lnTo>
                    <a:pt x="316" y="4"/>
                  </a:lnTo>
                  <a:lnTo>
                    <a:pt x="311" y="2"/>
                  </a:lnTo>
                  <a:lnTo>
                    <a:pt x="306" y="0"/>
                  </a:lnTo>
                  <a:lnTo>
                    <a:pt x="300" y="0"/>
                  </a:lnTo>
                  <a:lnTo>
                    <a:pt x="295" y="0"/>
                  </a:lnTo>
                  <a:lnTo>
                    <a:pt x="289" y="2"/>
                  </a:lnTo>
                  <a:lnTo>
                    <a:pt x="284" y="4"/>
                  </a:lnTo>
                  <a:lnTo>
                    <a:pt x="280" y="7"/>
                  </a:lnTo>
                  <a:lnTo>
                    <a:pt x="276" y="12"/>
                  </a:lnTo>
                  <a:lnTo>
                    <a:pt x="273" y="17"/>
                  </a:lnTo>
                  <a:lnTo>
                    <a:pt x="273" y="17"/>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78" name="Freeform 1379"/>
            <p:cNvSpPr>
              <a:spLocks noEditPoints="1"/>
            </p:cNvSpPr>
            <p:nvPr/>
          </p:nvSpPr>
          <p:spPr bwMode="auto">
            <a:xfrm>
              <a:off x="5598861" y="994941"/>
              <a:ext cx="253370" cy="160674"/>
            </a:xfrm>
            <a:custGeom>
              <a:avLst/>
              <a:gdLst>
                <a:gd name="T0" fmla="*/ 0 w 124"/>
                <a:gd name="T1" fmla="*/ 43 h 77"/>
                <a:gd name="T2" fmla="*/ 0 w 124"/>
                <a:gd name="T3" fmla="*/ 43 h 77"/>
                <a:gd name="T4" fmla="*/ 18 w 124"/>
                <a:gd name="T5" fmla="*/ 1 h 77"/>
                <a:gd name="T6" fmla="*/ 18 w 124"/>
                <a:gd name="T7" fmla="*/ 1 h 77"/>
                <a:gd name="T8" fmla="*/ 19 w 124"/>
                <a:gd name="T9" fmla="*/ 4 h 77"/>
                <a:gd name="T10" fmla="*/ 19 w 124"/>
                <a:gd name="T11" fmla="*/ 4 h 77"/>
                <a:gd name="T12" fmla="*/ 24 w 124"/>
                <a:gd name="T13" fmla="*/ 0 h 77"/>
                <a:gd name="T14" fmla="*/ 24 w 124"/>
                <a:gd name="T15" fmla="*/ 0 h 77"/>
                <a:gd name="T16" fmla="*/ 0 w 124"/>
                <a:gd name="T17" fmla="*/ 43 h 77"/>
                <a:gd name="T18" fmla="*/ 0 w 124"/>
                <a:gd name="T19" fmla="*/ 43 h 77"/>
                <a:gd name="T20" fmla="*/ 124 w 124"/>
                <a:gd name="T21" fmla="*/ 22 h 77"/>
                <a:gd name="T22" fmla="*/ 124 w 124"/>
                <a:gd name="T23" fmla="*/ 22 h 77"/>
                <a:gd name="T24" fmla="*/ 122 w 124"/>
                <a:gd name="T25" fmla="*/ 16 h 77"/>
                <a:gd name="T26" fmla="*/ 122 w 124"/>
                <a:gd name="T27" fmla="*/ 16 h 77"/>
                <a:gd name="T28" fmla="*/ 98 w 124"/>
                <a:gd name="T29" fmla="*/ 77 h 77"/>
                <a:gd name="T30" fmla="*/ 98 w 124"/>
                <a:gd name="T31" fmla="*/ 77 h 77"/>
                <a:gd name="T32" fmla="*/ 108 w 124"/>
                <a:gd name="T33" fmla="*/ 56 h 77"/>
                <a:gd name="T34" fmla="*/ 124 w 124"/>
                <a:gd name="T35" fmla="*/ 23 h 77"/>
                <a:gd name="T36" fmla="*/ 124 w 124"/>
                <a:gd name="T37" fmla="*/ 23 h 77"/>
                <a:gd name="T38" fmla="*/ 124 w 124"/>
                <a:gd name="T39" fmla="*/ 22 h 77"/>
                <a:gd name="T40" fmla="*/ 124 w 124"/>
                <a:gd name="T41" fmla="*/ 22 h 77"/>
                <a:gd name="T42" fmla="*/ 77 w 124"/>
                <a:gd name="T43" fmla="*/ 10 h 77"/>
                <a:gd name="T44" fmla="*/ 77 w 124"/>
                <a:gd name="T45" fmla="*/ 10 h 77"/>
                <a:gd name="T46" fmla="*/ 73 w 124"/>
                <a:gd name="T47" fmla="*/ 13 h 77"/>
                <a:gd name="T48" fmla="*/ 70 w 124"/>
                <a:gd name="T49" fmla="*/ 18 h 77"/>
                <a:gd name="T50" fmla="*/ 70 w 124"/>
                <a:gd name="T51" fmla="*/ 18 h 77"/>
                <a:gd name="T52" fmla="*/ 69 w 124"/>
                <a:gd name="T53" fmla="*/ 13 h 77"/>
                <a:gd name="T54" fmla="*/ 69 w 124"/>
                <a:gd name="T55" fmla="*/ 13 h 77"/>
                <a:gd name="T56" fmla="*/ 48 w 124"/>
                <a:gd name="T57" fmla="*/ 62 h 77"/>
                <a:gd name="T58" fmla="*/ 48 w 124"/>
                <a:gd name="T59" fmla="*/ 62 h 77"/>
                <a:gd name="T60" fmla="*/ 77 w 124"/>
                <a:gd name="T61" fmla="*/ 10 h 77"/>
                <a:gd name="T62" fmla="*/ 77 w 124"/>
                <a:gd name="T63" fmla="*/ 1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4" h="77">
                  <a:moveTo>
                    <a:pt x="0" y="43"/>
                  </a:moveTo>
                  <a:lnTo>
                    <a:pt x="0" y="43"/>
                  </a:lnTo>
                  <a:lnTo>
                    <a:pt x="18" y="1"/>
                  </a:lnTo>
                  <a:lnTo>
                    <a:pt x="18" y="1"/>
                  </a:lnTo>
                  <a:lnTo>
                    <a:pt x="19" y="4"/>
                  </a:lnTo>
                  <a:lnTo>
                    <a:pt x="19" y="4"/>
                  </a:lnTo>
                  <a:lnTo>
                    <a:pt x="24" y="0"/>
                  </a:lnTo>
                  <a:lnTo>
                    <a:pt x="24" y="0"/>
                  </a:lnTo>
                  <a:lnTo>
                    <a:pt x="0" y="43"/>
                  </a:lnTo>
                  <a:lnTo>
                    <a:pt x="0" y="43"/>
                  </a:lnTo>
                  <a:close/>
                  <a:moveTo>
                    <a:pt x="124" y="22"/>
                  </a:moveTo>
                  <a:lnTo>
                    <a:pt x="124" y="22"/>
                  </a:lnTo>
                  <a:lnTo>
                    <a:pt x="122" y="16"/>
                  </a:lnTo>
                  <a:lnTo>
                    <a:pt x="122" y="16"/>
                  </a:lnTo>
                  <a:lnTo>
                    <a:pt x="98" y="77"/>
                  </a:lnTo>
                  <a:lnTo>
                    <a:pt x="98" y="77"/>
                  </a:lnTo>
                  <a:lnTo>
                    <a:pt x="108" y="56"/>
                  </a:lnTo>
                  <a:lnTo>
                    <a:pt x="124" y="23"/>
                  </a:lnTo>
                  <a:lnTo>
                    <a:pt x="124" y="23"/>
                  </a:lnTo>
                  <a:lnTo>
                    <a:pt x="124" y="22"/>
                  </a:lnTo>
                  <a:lnTo>
                    <a:pt x="124" y="22"/>
                  </a:lnTo>
                  <a:close/>
                  <a:moveTo>
                    <a:pt x="77" y="10"/>
                  </a:moveTo>
                  <a:lnTo>
                    <a:pt x="77" y="10"/>
                  </a:lnTo>
                  <a:lnTo>
                    <a:pt x="73" y="13"/>
                  </a:lnTo>
                  <a:lnTo>
                    <a:pt x="70" y="18"/>
                  </a:lnTo>
                  <a:lnTo>
                    <a:pt x="70" y="18"/>
                  </a:lnTo>
                  <a:lnTo>
                    <a:pt x="69" y="13"/>
                  </a:lnTo>
                  <a:lnTo>
                    <a:pt x="69" y="13"/>
                  </a:lnTo>
                  <a:lnTo>
                    <a:pt x="48" y="62"/>
                  </a:lnTo>
                  <a:lnTo>
                    <a:pt x="48" y="62"/>
                  </a:lnTo>
                  <a:lnTo>
                    <a:pt x="77" y="10"/>
                  </a:lnTo>
                  <a:lnTo>
                    <a:pt x="77" y="10"/>
                  </a:lnTo>
                  <a:close/>
                </a:path>
              </a:pathLst>
            </a:custGeom>
            <a:solidFill>
              <a:srgbClr val="DEB99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79" name="Freeform 1380"/>
            <p:cNvSpPr/>
            <p:nvPr/>
          </p:nvSpPr>
          <p:spPr bwMode="auto">
            <a:xfrm>
              <a:off x="5975827" y="747752"/>
              <a:ext cx="98876" cy="86517"/>
            </a:xfrm>
            <a:custGeom>
              <a:avLst/>
              <a:gdLst>
                <a:gd name="T0" fmla="*/ 5 w 48"/>
                <a:gd name="T1" fmla="*/ 13 h 43"/>
                <a:gd name="T2" fmla="*/ 0 w 48"/>
                <a:gd name="T3" fmla="*/ 24 h 43"/>
                <a:gd name="T4" fmla="*/ 0 w 48"/>
                <a:gd name="T5" fmla="*/ 24 h 43"/>
                <a:gd name="T6" fmla="*/ 4 w 48"/>
                <a:gd name="T7" fmla="*/ 29 h 43"/>
                <a:gd name="T8" fmla="*/ 8 w 48"/>
                <a:gd name="T9" fmla="*/ 34 h 43"/>
                <a:gd name="T10" fmla="*/ 12 w 48"/>
                <a:gd name="T11" fmla="*/ 37 h 43"/>
                <a:gd name="T12" fmla="*/ 17 w 48"/>
                <a:gd name="T13" fmla="*/ 40 h 43"/>
                <a:gd name="T14" fmla="*/ 22 w 48"/>
                <a:gd name="T15" fmla="*/ 42 h 43"/>
                <a:gd name="T16" fmla="*/ 28 w 48"/>
                <a:gd name="T17" fmla="*/ 43 h 43"/>
                <a:gd name="T18" fmla="*/ 34 w 48"/>
                <a:gd name="T19" fmla="*/ 42 h 43"/>
                <a:gd name="T20" fmla="*/ 40 w 48"/>
                <a:gd name="T21" fmla="*/ 42 h 43"/>
                <a:gd name="T22" fmla="*/ 45 w 48"/>
                <a:gd name="T23" fmla="*/ 31 h 43"/>
                <a:gd name="T24" fmla="*/ 45 w 48"/>
                <a:gd name="T25" fmla="*/ 31 h 43"/>
                <a:gd name="T26" fmla="*/ 47 w 48"/>
                <a:gd name="T27" fmla="*/ 26 h 43"/>
                <a:gd name="T28" fmla="*/ 48 w 48"/>
                <a:gd name="T29" fmla="*/ 21 h 43"/>
                <a:gd name="T30" fmla="*/ 47 w 48"/>
                <a:gd name="T31" fmla="*/ 16 h 43"/>
                <a:gd name="T32" fmla="*/ 46 w 48"/>
                <a:gd name="T33" fmla="*/ 12 h 43"/>
                <a:gd name="T34" fmla="*/ 44 w 48"/>
                <a:gd name="T35" fmla="*/ 9 h 43"/>
                <a:gd name="T36" fmla="*/ 41 w 48"/>
                <a:gd name="T37" fmla="*/ 6 h 43"/>
                <a:gd name="T38" fmla="*/ 38 w 48"/>
                <a:gd name="T39" fmla="*/ 3 h 43"/>
                <a:gd name="T40" fmla="*/ 34 w 48"/>
                <a:gd name="T41" fmla="*/ 2 h 43"/>
                <a:gd name="T42" fmla="*/ 30 w 48"/>
                <a:gd name="T43" fmla="*/ 0 h 43"/>
                <a:gd name="T44" fmla="*/ 26 w 48"/>
                <a:gd name="T45" fmla="*/ 0 h 43"/>
                <a:gd name="T46" fmla="*/ 21 w 48"/>
                <a:gd name="T47" fmla="*/ 0 h 43"/>
                <a:gd name="T48" fmla="*/ 17 w 48"/>
                <a:gd name="T49" fmla="*/ 1 h 43"/>
                <a:gd name="T50" fmla="*/ 14 w 48"/>
                <a:gd name="T51" fmla="*/ 3 h 43"/>
                <a:gd name="T52" fmla="*/ 10 w 48"/>
                <a:gd name="T53" fmla="*/ 5 h 43"/>
                <a:gd name="T54" fmla="*/ 7 w 48"/>
                <a:gd name="T55" fmla="*/ 8 h 43"/>
                <a:gd name="T56" fmla="*/ 5 w 48"/>
                <a:gd name="T57" fmla="*/ 13 h 43"/>
                <a:gd name="T58" fmla="*/ 5 w 48"/>
                <a:gd name="T59"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 h="43">
                  <a:moveTo>
                    <a:pt x="5" y="13"/>
                  </a:moveTo>
                  <a:lnTo>
                    <a:pt x="0" y="24"/>
                  </a:lnTo>
                  <a:lnTo>
                    <a:pt x="0" y="24"/>
                  </a:lnTo>
                  <a:lnTo>
                    <a:pt x="4" y="29"/>
                  </a:lnTo>
                  <a:lnTo>
                    <a:pt x="8" y="34"/>
                  </a:lnTo>
                  <a:lnTo>
                    <a:pt x="12" y="37"/>
                  </a:lnTo>
                  <a:lnTo>
                    <a:pt x="17" y="40"/>
                  </a:lnTo>
                  <a:lnTo>
                    <a:pt x="22" y="42"/>
                  </a:lnTo>
                  <a:lnTo>
                    <a:pt x="28" y="43"/>
                  </a:lnTo>
                  <a:lnTo>
                    <a:pt x="34" y="42"/>
                  </a:lnTo>
                  <a:lnTo>
                    <a:pt x="40" y="42"/>
                  </a:lnTo>
                  <a:lnTo>
                    <a:pt x="45" y="31"/>
                  </a:lnTo>
                  <a:lnTo>
                    <a:pt x="45" y="31"/>
                  </a:lnTo>
                  <a:lnTo>
                    <a:pt x="47" y="26"/>
                  </a:lnTo>
                  <a:lnTo>
                    <a:pt x="48" y="21"/>
                  </a:lnTo>
                  <a:lnTo>
                    <a:pt x="47" y="16"/>
                  </a:lnTo>
                  <a:lnTo>
                    <a:pt x="46" y="12"/>
                  </a:lnTo>
                  <a:lnTo>
                    <a:pt x="44" y="9"/>
                  </a:lnTo>
                  <a:lnTo>
                    <a:pt x="41" y="6"/>
                  </a:lnTo>
                  <a:lnTo>
                    <a:pt x="38" y="3"/>
                  </a:lnTo>
                  <a:lnTo>
                    <a:pt x="34" y="2"/>
                  </a:lnTo>
                  <a:lnTo>
                    <a:pt x="30" y="0"/>
                  </a:lnTo>
                  <a:lnTo>
                    <a:pt x="26" y="0"/>
                  </a:lnTo>
                  <a:lnTo>
                    <a:pt x="21" y="0"/>
                  </a:lnTo>
                  <a:lnTo>
                    <a:pt x="17" y="1"/>
                  </a:lnTo>
                  <a:lnTo>
                    <a:pt x="14" y="3"/>
                  </a:lnTo>
                  <a:lnTo>
                    <a:pt x="10" y="5"/>
                  </a:lnTo>
                  <a:lnTo>
                    <a:pt x="7" y="8"/>
                  </a:lnTo>
                  <a:lnTo>
                    <a:pt x="5" y="13"/>
                  </a:lnTo>
                  <a:lnTo>
                    <a:pt x="5" y="13"/>
                  </a:lnTo>
                  <a:close/>
                </a:path>
              </a:pathLst>
            </a:custGeom>
            <a:solidFill>
              <a:srgbClr val="FFF2E8"/>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80" name="Freeform 1381"/>
            <p:cNvSpPr/>
            <p:nvPr/>
          </p:nvSpPr>
          <p:spPr bwMode="auto">
            <a:xfrm>
              <a:off x="5963468" y="1180334"/>
              <a:ext cx="55618" cy="80336"/>
            </a:xfrm>
            <a:custGeom>
              <a:avLst/>
              <a:gdLst>
                <a:gd name="T0" fmla="*/ 21 w 28"/>
                <a:gd name="T1" fmla="*/ 0 h 39"/>
                <a:gd name="T2" fmla="*/ 21 w 28"/>
                <a:gd name="T3" fmla="*/ 0 h 39"/>
                <a:gd name="T4" fmla="*/ 28 w 28"/>
                <a:gd name="T5" fmla="*/ 4 h 39"/>
                <a:gd name="T6" fmla="*/ 3 w 28"/>
                <a:gd name="T7" fmla="*/ 39 h 39"/>
                <a:gd name="T8" fmla="*/ 3 w 28"/>
                <a:gd name="T9" fmla="*/ 39 h 39"/>
                <a:gd name="T10" fmla="*/ 1 w 28"/>
                <a:gd name="T11" fmla="*/ 34 h 39"/>
                <a:gd name="T12" fmla="*/ 0 w 28"/>
                <a:gd name="T13" fmla="*/ 29 h 39"/>
                <a:gd name="T14" fmla="*/ 1 w 28"/>
                <a:gd name="T15" fmla="*/ 24 h 39"/>
                <a:gd name="T16" fmla="*/ 4 w 28"/>
                <a:gd name="T17" fmla="*/ 19 h 39"/>
                <a:gd name="T18" fmla="*/ 8 w 28"/>
                <a:gd name="T19" fmla="*/ 14 h 39"/>
                <a:gd name="T20" fmla="*/ 12 w 28"/>
                <a:gd name="T21" fmla="*/ 9 h 39"/>
                <a:gd name="T22" fmla="*/ 21 w 28"/>
                <a:gd name="T23" fmla="*/ 0 h 39"/>
                <a:gd name="T24" fmla="*/ 21 w 28"/>
                <a:gd name="T2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9">
                  <a:moveTo>
                    <a:pt x="21" y="0"/>
                  </a:moveTo>
                  <a:lnTo>
                    <a:pt x="21" y="0"/>
                  </a:lnTo>
                  <a:lnTo>
                    <a:pt x="28" y="4"/>
                  </a:lnTo>
                  <a:lnTo>
                    <a:pt x="3" y="39"/>
                  </a:lnTo>
                  <a:lnTo>
                    <a:pt x="3" y="39"/>
                  </a:lnTo>
                  <a:lnTo>
                    <a:pt x="1" y="34"/>
                  </a:lnTo>
                  <a:lnTo>
                    <a:pt x="0" y="29"/>
                  </a:lnTo>
                  <a:lnTo>
                    <a:pt x="1" y="24"/>
                  </a:lnTo>
                  <a:lnTo>
                    <a:pt x="4" y="19"/>
                  </a:lnTo>
                  <a:lnTo>
                    <a:pt x="8" y="14"/>
                  </a:lnTo>
                  <a:lnTo>
                    <a:pt x="12" y="9"/>
                  </a:lnTo>
                  <a:lnTo>
                    <a:pt x="21" y="0"/>
                  </a:lnTo>
                  <a:lnTo>
                    <a:pt x="21" y="0"/>
                  </a:lnTo>
                  <a:close/>
                </a:path>
              </a:pathLst>
            </a:custGeom>
            <a:solidFill>
              <a:srgbClr val="FFF2E8"/>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81" name="Freeform 1382"/>
            <p:cNvSpPr/>
            <p:nvPr/>
          </p:nvSpPr>
          <p:spPr bwMode="auto">
            <a:xfrm>
              <a:off x="5852231" y="1161795"/>
              <a:ext cx="86517" cy="160674"/>
            </a:xfrm>
            <a:custGeom>
              <a:avLst/>
              <a:gdLst>
                <a:gd name="T0" fmla="*/ 35 w 44"/>
                <a:gd name="T1" fmla="*/ 2 h 78"/>
                <a:gd name="T2" fmla="*/ 0 w 44"/>
                <a:gd name="T3" fmla="*/ 78 h 78"/>
                <a:gd name="T4" fmla="*/ 44 w 44"/>
                <a:gd name="T5" fmla="*/ 0 h 78"/>
                <a:gd name="T6" fmla="*/ 35 w 44"/>
                <a:gd name="T7" fmla="*/ 2 h 78"/>
              </a:gdLst>
              <a:ahLst/>
              <a:cxnLst>
                <a:cxn ang="0">
                  <a:pos x="T0" y="T1"/>
                </a:cxn>
                <a:cxn ang="0">
                  <a:pos x="T2" y="T3"/>
                </a:cxn>
                <a:cxn ang="0">
                  <a:pos x="T4" y="T5"/>
                </a:cxn>
                <a:cxn ang="0">
                  <a:pos x="T6" y="T7"/>
                </a:cxn>
              </a:cxnLst>
              <a:rect l="0" t="0" r="r" b="b"/>
              <a:pathLst>
                <a:path w="44" h="78">
                  <a:moveTo>
                    <a:pt x="35" y="2"/>
                  </a:moveTo>
                  <a:lnTo>
                    <a:pt x="0" y="78"/>
                  </a:lnTo>
                  <a:lnTo>
                    <a:pt x="44" y="0"/>
                  </a:lnTo>
                  <a:lnTo>
                    <a:pt x="35" y="2"/>
                  </a:lnTo>
                  <a:close/>
                </a:path>
              </a:pathLst>
            </a:custGeom>
            <a:solidFill>
              <a:srgbClr val="DEB99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82" name="Freeform 1383"/>
            <p:cNvSpPr>
              <a:spLocks noEditPoints="1"/>
            </p:cNvSpPr>
            <p:nvPr/>
          </p:nvSpPr>
          <p:spPr bwMode="auto">
            <a:xfrm>
              <a:off x="6043803" y="525280"/>
              <a:ext cx="203932" cy="203932"/>
            </a:xfrm>
            <a:custGeom>
              <a:avLst/>
              <a:gdLst>
                <a:gd name="T0" fmla="*/ 80 w 99"/>
                <a:gd name="T1" fmla="*/ 10 h 100"/>
                <a:gd name="T2" fmla="*/ 62 w 99"/>
                <a:gd name="T3" fmla="*/ 9 h 100"/>
                <a:gd name="T4" fmla="*/ 56 w 99"/>
                <a:gd name="T5" fmla="*/ 8 h 100"/>
                <a:gd name="T6" fmla="*/ 49 w 99"/>
                <a:gd name="T7" fmla="*/ 22 h 100"/>
                <a:gd name="T8" fmla="*/ 54 w 99"/>
                <a:gd name="T9" fmla="*/ 23 h 100"/>
                <a:gd name="T10" fmla="*/ 62 w 99"/>
                <a:gd name="T11" fmla="*/ 25 h 100"/>
                <a:gd name="T12" fmla="*/ 69 w 99"/>
                <a:gd name="T13" fmla="*/ 31 h 100"/>
                <a:gd name="T14" fmla="*/ 75 w 99"/>
                <a:gd name="T15" fmla="*/ 38 h 100"/>
                <a:gd name="T16" fmla="*/ 76 w 99"/>
                <a:gd name="T17" fmla="*/ 42 h 100"/>
                <a:gd name="T18" fmla="*/ 77 w 99"/>
                <a:gd name="T19" fmla="*/ 53 h 100"/>
                <a:gd name="T20" fmla="*/ 74 w 99"/>
                <a:gd name="T21" fmla="*/ 64 h 100"/>
                <a:gd name="T22" fmla="*/ 67 w 99"/>
                <a:gd name="T23" fmla="*/ 72 h 100"/>
                <a:gd name="T24" fmla="*/ 58 w 99"/>
                <a:gd name="T25" fmla="*/ 77 h 100"/>
                <a:gd name="T26" fmla="*/ 54 w 99"/>
                <a:gd name="T27" fmla="*/ 78 h 100"/>
                <a:gd name="T28" fmla="*/ 49 w 99"/>
                <a:gd name="T29" fmla="*/ 93 h 100"/>
                <a:gd name="T30" fmla="*/ 54 w 99"/>
                <a:gd name="T31" fmla="*/ 93 h 100"/>
                <a:gd name="T32" fmla="*/ 72 w 99"/>
                <a:gd name="T33" fmla="*/ 96 h 100"/>
                <a:gd name="T34" fmla="*/ 69 w 99"/>
                <a:gd name="T35" fmla="*/ 89 h 100"/>
                <a:gd name="T36" fmla="*/ 83 w 99"/>
                <a:gd name="T37" fmla="*/ 77 h 100"/>
                <a:gd name="T38" fmla="*/ 97 w 99"/>
                <a:gd name="T39" fmla="*/ 67 h 100"/>
                <a:gd name="T40" fmla="*/ 91 w 99"/>
                <a:gd name="T41" fmla="*/ 63 h 100"/>
                <a:gd name="T42" fmla="*/ 92 w 99"/>
                <a:gd name="T43" fmla="*/ 46 h 100"/>
                <a:gd name="T44" fmla="*/ 95 w 99"/>
                <a:gd name="T45" fmla="*/ 28 h 100"/>
                <a:gd name="T46" fmla="*/ 88 w 99"/>
                <a:gd name="T47" fmla="*/ 31 h 100"/>
                <a:gd name="T48" fmla="*/ 76 w 99"/>
                <a:gd name="T49" fmla="*/ 17 h 100"/>
                <a:gd name="T50" fmla="*/ 49 w 99"/>
                <a:gd name="T51" fmla="*/ 7 h 100"/>
                <a:gd name="T52" fmla="*/ 45 w 99"/>
                <a:gd name="T53" fmla="*/ 8 h 100"/>
                <a:gd name="T54" fmla="*/ 27 w 99"/>
                <a:gd name="T55" fmla="*/ 5 h 100"/>
                <a:gd name="T56" fmla="*/ 30 w 99"/>
                <a:gd name="T57" fmla="*/ 12 h 100"/>
                <a:gd name="T58" fmla="*/ 16 w 99"/>
                <a:gd name="T59" fmla="*/ 24 h 100"/>
                <a:gd name="T60" fmla="*/ 2 w 99"/>
                <a:gd name="T61" fmla="*/ 34 h 100"/>
                <a:gd name="T62" fmla="*/ 8 w 99"/>
                <a:gd name="T63" fmla="*/ 37 h 100"/>
                <a:gd name="T64" fmla="*/ 7 w 99"/>
                <a:gd name="T65" fmla="*/ 55 h 100"/>
                <a:gd name="T66" fmla="*/ 4 w 99"/>
                <a:gd name="T67" fmla="*/ 72 h 100"/>
                <a:gd name="T68" fmla="*/ 11 w 99"/>
                <a:gd name="T69" fmla="*/ 70 h 100"/>
                <a:gd name="T70" fmla="*/ 23 w 99"/>
                <a:gd name="T71" fmla="*/ 84 h 100"/>
                <a:gd name="T72" fmla="*/ 33 w 99"/>
                <a:gd name="T73" fmla="*/ 98 h 100"/>
                <a:gd name="T74" fmla="*/ 36 w 99"/>
                <a:gd name="T75" fmla="*/ 91 h 100"/>
                <a:gd name="T76" fmla="*/ 49 w 99"/>
                <a:gd name="T77" fmla="*/ 93 h 100"/>
                <a:gd name="T78" fmla="*/ 49 w 99"/>
                <a:gd name="T79" fmla="*/ 79 h 100"/>
                <a:gd name="T80" fmla="*/ 41 w 99"/>
                <a:gd name="T81" fmla="*/ 77 h 100"/>
                <a:gd name="T82" fmla="*/ 33 w 99"/>
                <a:gd name="T83" fmla="*/ 73 h 100"/>
                <a:gd name="T84" fmla="*/ 27 w 99"/>
                <a:gd name="T85" fmla="*/ 67 h 100"/>
                <a:gd name="T86" fmla="*/ 23 w 99"/>
                <a:gd name="T87" fmla="*/ 59 h 100"/>
                <a:gd name="T88" fmla="*/ 22 w 99"/>
                <a:gd name="T89" fmla="*/ 53 h 100"/>
                <a:gd name="T90" fmla="*/ 23 w 99"/>
                <a:gd name="T91" fmla="*/ 42 h 100"/>
                <a:gd name="T92" fmla="*/ 28 w 99"/>
                <a:gd name="T93" fmla="*/ 33 h 100"/>
                <a:gd name="T94" fmla="*/ 36 w 99"/>
                <a:gd name="T95" fmla="*/ 26 h 100"/>
                <a:gd name="T96" fmla="*/ 41 w 99"/>
                <a:gd name="T97" fmla="*/ 24 h 100"/>
                <a:gd name="T98" fmla="*/ 49 w 99"/>
                <a:gd name="T99" fmla="*/ 2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9" h="100">
                  <a:moveTo>
                    <a:pt x="76" y="17"/>
                  </a:moveTo>
                  <a:lnTo>
                    <a:pt x="80" y="10"/>
                  </a:lnTo>
                  <a:lnTo>
                    <a:pt x="66" y="3"/>
                  </a:lnTo>
                  <a:lnTo>
                    <a:pt x="62" y="9"/>
                  </a:lnTo>
                  <a:lnTo>
                    <a:pt x="62" y="9"/>
                  </a:lnTo>
                  <a:lnTo>
                    <a:pt x="56" y="8"/>
                  </a:lnTo>
                  <a:lnTo>
                    <a:pt x="49" y="7"/>
                  </a:lnTo>
                  <a:lnTo>
                    <a:pt x="49" y="22"/>
                  </a:lnTo>
                  <a:lnTo>
                    <a:pt x="49" y="22"/>
                  </a:lnTo>
                  <a:lnTo>
                    <a:pt x="54" y="23"/>
                  </a:lnTo>
                  <a:lnTo>
                    <a:pt x="58" y="24"/>
                  </a:lnTo>
                  <a:lnTo>
                    <a:pt x="62" y="25"/>
                  </a:lnTo>
                  <a:lnTo>
                    <a:pt x="66" y="28"/>
                  </a:lnTo>
                  <a:lnTo>
                    <a:pt x="69" y="31"/>
                  </a:lnTo>
                  <a:lnTo>
                    <a:pt x="72" y="34"/>
                  </a:lnTo>
                  <a:lnTo>
                    <a:pt x="75" y="38"/>
                  </a:lnTo>
                  <a:lnTo>
                    <a:pt x="76" y="42"/>
                  </a:lnTo>
                  <a:lnTo>
                    <a:pt x="76" y="42"/>
                  </a:lnTo>
                  <a:lnTo>
                    <a:pt x="77" y="48"/>
                  </a:lnTo>
                  <a:lnTo>
                    <a:pt x="77" y="53"/>
                  </a:lnTo>
                  <a:lnTo>
                    <a:pt x="76" y="59"/>
                  </a:lnTo>
                  <a:lnTo>
                    <a:pt x="74" y="64"/>
                  </a:lnTo>
                  <a:lnTo>
                    <a:pt x="71" y="68"/>
                  </a:lnTo>
                  <a:lnTo>
                    <a:pt x="67" y="72"/>
                  </a:lnTo>
                  <a:lnTo>
                    <a:pt x="63" y="75"/>
                  </a:lnTo>
                  <a:lnTo>
                    <a:pt x="58" y="77"/>
                  </a:lnTo>
                  <a:lnTo>
                    <a:pt x="58" y="77"/>
                  </a:lnTo>
                  <a:lnTo>
                    <a:pt x="54" y="78"/>
                  </a:lnTo>
                  <a:lnTo>
                    <a:pt x="49" y="79"/>
                  </a:lnTo>
                  <a:lnTo>
                    <a:pt x="49" y="93"/>
                  </a:lnTo>
                  <a:lnTo>
                    <a:pt x="49" y="93"/>
                  </a:lnTo>
                  <a:lnTo>
                    <a:pt x="54" y="93"/>
                  </a:lnTo>
                  <a:lnTo>
                    <a:pt x="56" y="100"/>
                  </a:lnTo>
                  <a:lnTo>
                    <a:pt x="72" y="96"/>
                  </a:lnTo>
                  <a:lnTo>
                    <a:pt x="69" y="89"/>
                  </a:lnTo>
                  <a:lnTo>
                    <a:pt x="69" y="89"/>
                  </a:lnTo>
                  <a:lnTo>
                    <a:pt x="77" y="84"/>
                  </a:lnTo>
                  <a:lnTo>
                    <a:pt x="83" y="77"/>
                  </a:lnTo>
                  <a:lnTo>
                    <a:pt x="90" y="81"/>
                  </a:lnTo>
                  <a:lnTo>
                    <a:pt x="97" y="67"/>
                  </a:lnTo>
                  <a:lnTo>
                    <a:pt x="91" y="63"/>
                  </a:lnTo>
                  <a:lnTo>
                    <a:pt x="91" y="63"/>
                  </a:lnTo>
                  <a:lnTo>
                    <a:pt x="92" y="55"/>
                  </a:lnTo>
                  <a:lnTo>
                    <a:pt x="92" y="46"/>
                  </a:lnTo>
                  <a:lnTo>
                    <a:pt x="99" y="43"/>
                  </a:lnTo>
                  <a:lnTo>
                    <a:pt x="95" y="28"/>
                  </a:lnTo>
                  <a:lnTo>
                    <a:pt x="88" y="31"/>
                  </a:lnTo>
                  <a:lnTo>
                    <a:pt x="88" y="31"/>
                  </a:lnTo>
                  <a:lnTo>
                    <a:pt x="83" y="23"/>
                  </a:lnTo>
                  <a:lnTo>
                    <a:pt x="76" y="17"/>
                  </a:lnTo>
                  <a:lnTo>
                    <a:pt x="76" y="17"/>
                  </a:lnTo>
                  <a:close/>
                  <a:moveTo>
                    <a:pt x="49" y="7"/>
                  </a:moveTo>
                  <a:lnTo>
                    <a:pt x="49" y="7"/>
                  </a:lnTo>
                  <a:lnTo>
                    <a:pt x="45" y="8"/>
                  </a:lnTo>
                  <a:lnTo>
                    <a:pt x="43" y="0"/>
                  </a:lnTo>
                  <a:lnTo>
                    <a:pt x="27" y="5"/>
                  </a:lnTo>
                  <a:lnTo>
                    <a:pt x="30" y="12"/>
                  </a:lnTo>
                  <a:lnTo>
                    <a:pt x="30" y="12"/>
                  </a:lnTo>
                  <a:lnTo>
                    <a:pt x="22" y="17"/>
                  </a:lnTo>
                  <a:lnTo>
                    <a:pt x="16" y="24"/>
                  </a:lnTo>
                  <a:lnTo>
                    <a:pt x="9" y="20"/>
                  </a:lnTo>
                  <a:lnTo>
                    <a:pt x="2" y="34"/>
                  </a:lnTo>
                  <a:lnTo>
                    <a:pt x="8" y="37"/>
                  </a:lnTo>
                  <a:lnTo>
                    <a:pt x="8" y="37"/>
                  </a:lnTo>
                  <a:lnTo>
                    <a:pt x="7" y="46"/>
                  </a:lnTo>
                  <a:lnTo>
                    <a:pt x="7" y="55"/>
                  </a:lnTo>
                  <a:lnTo>
                    <a:pt x="0" y="57"/>
                  </a:lnTo>
                  <a:lnTo>
                    <a:pt x="4" y="72"/>
                  </a:lnTo>
                  <a:lnTo>
                    <a:pt x="11" y="70"/>
                  </a:lnTo>
                  <a:lnTo>
                    <a:pt x="11" y="70"/>
                  </a:lnTo>
                  <a:lnTo>
                    <a:pt x="16" y="78"/>
                  </a:lnTo>
                  <a:lnTo>
                    <a:pt x="23" y="84"/>
                  </a:lnTo>
                  <a:lnTo>
                    <a:pt x="19" y="91"/>
                  </a:lnTo>
                  <a:lnTo>
                    <a:pt x="33" y="98"/>
                  </a:lnTo>
                  <a:lnTo>
                    <a:pt x="36" y="91"/>
                  </a:lnTo>
                  <a:lnTo>
                    <a:pt x="36" y="91"/>
                  </a:lnTo>
                  <a:lnTo>
                    <a:pt x="43" y="93"/>
                  </a:lnTo>
                  <a:lnTo>
                    <a:pt x="49" y="93"/>
                  </a:lnTo>
                  <a:lnTo>
                    <a:pt x="49" y="79"/>
                  </a:lnTo>
                  <a:lnTo>
                    <a:pt x="49" y="79"/>
                  </a:lnTo>
                  <a:lnTo>
                    <a:pt x="45" y="78"/>
                  </a:lnTo>
                  <a:lnTo>
                    <a:pt x="41" y="77"/>
                  </a:lnTo>
                  <a:lnTo>
                    <a:pt x="37" y="75"/>
                  </a:lnTo>
                  <a:lnTo>
                    <a:pt x="33" y="73"/>
                  </a:lnTo>
                  <a:lnTo>
                    <a:pt x="30" y="70"/>
                  </a:lnTo>
                  <a:lnTo>
                    <a:pt x="27" y="67"/>
                  </a:lnTo>
                  <a:lnTo>
                    <a:pt x="24" y="63"/>
                  </a:lnTo>
                  <a:lnTo>
                    <a:pt x="23" y="59"/>
                  </a:lnTo>
                  <a:lnTo>
                    <a:pt x="23" y="59"/>
                  </a:lnTo>
                  <a:lnTo>
                    <a:pt x="22" y="53"/>
                  </a:lnTo>
                  <a:lnTo>
                    <a:pt x="22" y="47"/>
                  </a:lnTo>
                  <a:lnTo>
                    <a:pt x="23" y="42"/>
                  </a:lnTo>
                  <a:lnTo>
                    <a:pt x="25" y="37"/>
                  </a:lnTo>
                  <a:lnTo>
                    <a:pt x="28" y="33"/>
                  </a:lnTo>
                  <a:lnTo>
                    <a:pt x="31" y="29"/>
                  </a:lnTo>
                  <a:lnTo>
                    <a:pt x="36" y="26"/>
                  </a:lnTo>
                  <a:lnTo>
                    <a:pt x="41" y="24"/>
                  </a:lnTo>
                  <a:lnTo>
                    <a:pt x="41" y="24"/>
                  </a:lnTo>
                  <a:lnTo>
                    <a:pt x="45" y="23"/>
                  </a:lnTo>
                  <a:lnTo>
                    <a:pt x="49" y="22"/>
                  </a:lnTo>
                  <a:lnTo>
                    <a:pt x="49" y="7"/>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83" name="Freeform 1384"/>
            <p:cNvSpPr>
              <a:spLocks noEditPoints="1"/>
            </p:cNvSpPr>
            <p:nvPr/>
          </p:nvSpPr>
          <p:spPr bwMode="auto">
            <a:xfrm>
              <a:off x="5802794" y="451122"/>
              <a:ext cx="210111" cy="203932"/>
            </a:xfrm>
            <a:custGeom>
              <a:avLst/>
              <a:gdLst>
                <a:gd name="T0" fmla="*/ 81 w 100"/>
                <a:gd name="T1" fmla="*/ 10 h 100"/>
                <a:gd name="T2" fmla="*/ 63 w 100"/>
                <a:gd name="T3" fmla="*/ 9 h 100"/>
                <a:gd name="T4" fmla="*/ 57 w 100"/>
                <a:gd name="T5" fmla="*/ 8 h 100"/>
                <a:gd name="T6" fmla="*/ 50 w 100"/>
                <a:gd name="T7" fmla="*/ 22 h 100"/>
                <a:gd name="T8" fmla="*/ 55 w 100"/>
                <a:gd name="T9" fmla="*/ 22 h 100"/>
                <a:gd name="T10" fmla="*/ 63 w 100"/>
                <a:gd name="T11" fmla="*/ 25 h 100"/>
                <a:gd name="T12" fmla="*/ 70 w 100"/>
                <a:gd name="T13" fmla="*/ 30 h 100"/>
                <a:gd name="T14" fmla="*/ 75 w 100"/>
                <a:gd name="T15" fmla="*/ 38 h 100"/>
                <a:gd name="T16" fmla="*/ 77 w 100"/>
                <a:gd name="T17" fmla="*/ 42 h 100"/>
                <a:gd name="T18" fmla="*/ 78 w 100"/>
                <a:gd name="T19" fmla="*/ 53 h 100"/>
                <a:gd name="T20" fmla="*/ 75 w 100"/>
                <a:gd name="T21" fmla="*/ 63 h 100"/>
                <a:gd name="T22" fmla="*/ 68 w 100"/>
                <a:gd name="T23" fmla="*/ 72 h 100"/>
                <a:gd name="T24" fmla="*/ 58 w 100"/>
                <a:gd name="T25" fmla="*/ 77 h 100"/>
                <a:gd name="T26" fmla="*/ 54 w 100"/>
                <a:gd name="T27" fmla="*/ 78 h 100"/>
                <a:gd name="T28" fmla="*/ 50 w 100"/>
                <a:gd name="T29" fmla="*/ 93 h 100"/>
                <a:gd name="T30" fmla="*/ 55 w 100"/>
                <a:gd name="T31" fmla="*/ 93 h 100"/>
                <a:gd name="T32" fmla="*/ 72 w 100"/>
                <a:gd name="T33" fmla="*/ 95 h 100"/>
                <a:gd name="T34" fmla="*/ 70 w 100"/>
                <a:gd name="T35" fmla="*/ 88 h 100"/>
                <a:gd name="T36" fmla="*/ 84 w 100"/>
                <a:gd name="T37" fmla="*/ 77 h 100"/>
                <a:gd name="T38" fmla="*/ 98 w 100"/>
                <a:gd name="T39" fmla="*/ 67 h 100"/>
                <a:gd name="T40" fmla="*/ 91 w 100"/>
                <a:gd name="T41" fmla="*/ 63 h 100"/>
                <a:gd name="T42" fmla="*/ 93 w 100"/>
                <a:gd name="T43" fmla="*/ 45 h 100"/>
                <a:gd name="T44" fmla="*/ 96 w 100"/>
                <a:gd name="T45" fmla="*/ 28 h 100"/>
                <a:gd name="T46" fmla="*/ 88 w 100"/>
                <a:gd name="T47" fmla="*/ 30 h 100"/>
                <a:gd name="T48" fmla="*/ 77 w 100"/>
                <a:gd name="T49" fmla="*/ 16 h 100"/>
                <a:gd name="T50" fmla="*/ 50 w 100"/>
                <a:gd name="T51" fmla="*/ 7 h 100"/>
                <a:gd name="T52" fmla="*/ 45 w 100"/>
                <a:gd name="T53" fmla="*/ 7 h 100"/>
                <a:gd name="T54" fmla="*/ 28 w 100"/>
                <a:gd name="T55" fmla="*/ 5 h 100"/>
                <a:gd name="T56" fmla="*/ 30 w 100"/>
                <a:gd name="T57" fmla="*/ 12 h 100"/>
                <a:gd name="T58" fmla="*/ 17 w 100"/>
                <a:gd name="T59" fmla="*/ 23 h 100"/>
                <a:gd name="T60" fmla="*/ 3 w 100"/>
                <a:gd name="T61" fmla="*/ 34 h 100"/>
                <a:gd name="T62" fmla="*/ 9 w 100"/>
                <a:gd name="T63" fmla="*/ 37 h 100"/>
                <a:gd name="T64" fmla="*/ 7 w 100"/>
                <a:gd name="T65" fmla="*/ 55 h 100"/>
                <a:gd name="T66" fmla="*/ 5 w 100"/>
                <a:gd name="T67" fmla="*/ 72 h 100"/>
                <a:gd name="T68" fmla="*/ 12 w 100"/>
                <a:gd name="T69" fmla="*/ 70 h 100"/>
                <a:gd name="T70" fmla="*/ 23 w 100"/>
                <a:gd name="T71" fmla="*/ 84 h 100"/>
                <a:gd name="T72" fmla="*/ 34 w 100"/>
                <a:gd name="T73" fmla="*/ 98 h 100"/>
                <a:gd name="T74" fmla="*/ 37 w 100"/>
                <a:gd name="T75" fmla="*/ 91 h 100"/>
                <a:gd name="T76" fmla="*/ 50 w 100"/>
                <a:gd name="T77" fmla="*/ 93 h 100"/>
                <a:gd name="T78" fmla="*/ 50 w 100"/>
                <a:gd name="T79" fmla="*/ 78 h 100"/>
                <a:gd name="T80" fmla="*/ 41 w 100"/>
                <a:gd name="T81" fmla="*/ 77 h 100"/>
                <a:gd name="T82" fmla="*/ 34 w 100"/>
                <a:gd name="T83" fmla="*/ 73 h 100"/>
                <a:gd name="T84" fmla="*/ 27 w 100"/>
                <a:gd name="T85" fmla="*/ 66 h 100"/>
                <a:gd name="T86" fmla="*/ 23 w 100"/>
                <a:gd name="T87" fmla="*/ 58 h 100"/>
                <a:gd name="T88" fmla="*/ 22 w 100"/>
                <a:gd name="T89" fmla="*/ 53 h 100"/>
                <a:gd name="T90" fmla="*/ 23 w 100"/>
                <a:gd name="T91" fmla="*/ 42 h 100"/>
                <a:gd name="T92" fmla="*/ 28 w 100"/>
                <a:gd name="T93" fmla="*/ 32 h 100"/>
                <a:gd name="T94" fmla="*/ 37 w 100"/>
                <a:gd name="T95" fmla="*/ 25 h 100"/>
                <a:gd name="T96" fmla="*/ 42 w 100"/>
                <a:gd name="T97" fmla="*/ 23 h 100"/>
                <a:gd name="T98" fmla="*/ 50 w 100"/>
                <a:gd name="T99" fmla="*/ 2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100">
                  <a:moveTo>
                    <a:pt x="77" y="16"/>
                  </a:moveTo>
                  <a:lnTo>
                    <a:pt x="81" y="10"/>
                  </a:lnTo>
                  <a:lnTo>
                    <a:pt x="67" y="2"/>
                  </a:lnTo>
                  <a:lnTo>
                    <a:pt x="63" y="9"/>
                  </a:lnTo>
                  <a:lnTo>
                    <a:pt x="63" y="9"/>
                  </a:lnTo>
                  <a:lnTo>
                    <a:pt x="57" y="8"/>
                  </a:lnTo>
                  <a:lnTo>
                    <a:pt x="50" y="7"/>
                  </a:lnTo>
                  <a:lnTo>
                    <a:pt x="50" y="22"/>
                  </a:lnTo>
                  <a:lnTo>
                    <a:pt x="50" y="22"/>
                  </a:lnTo>
                  <a:lnTo>
                    <a:pt x="55" y="22"/>
                  </a:lnTo>
                  <a:lnTo>
                    <a:pt x="59" y="23"/>
                  </a:lnTo>
                  <a:lnTo>
                    <a:pt x="63" y="25"/>
                  </a:lnTo>
                  <a:lnTo>
                    <a:pt x="67" y="27"/>
                  </a:lnTo>
                  <a:lnTo>
                    <a:pt x="70" y="30"/>
                  </a:lnTo>
                  <a:lnTo>
                    <a:pt x="73" y="34"/>
                  </a:lnTo>
                  <a:lnTo>
                    <a:pt x="75" y="38"/>
                  </a:lnTo>
                  <a:lnTo>
                    <a:pt x="77" y="42"/>
                  </a:lnTo>
                  <a:lnTo>
                    <a:pt x="77" y="42"/>
                  </a:lnTo>
                  <a:lnTo>
                    <a:pt x="78" y="47"/>
                  </a:lnTo>
                  <a:lnTo>
                    <a:pt x="78" y="53"/>
                  </a:lnTo>
                  <a:lnTo>
                    <a:pt x="77" y="58"/>
                  </a:lnTo>
                  <a:lnTo>
                    <a:pt x="75" y="63"/>
                  </a:lnTo>
                  <a:lnTo>
                    <a:pt x="72" y="68"/>
                  </a:lnTo>
                  <a:lnTo>
                    <a:pt x="68" y="72"/>
                  </a:lnTo>
                  <a:lnTo>
                    <a:pt x="64" y="75"/>
                  </a:lnTo>
                  <a:lnTo>
                    <a:pt x="58" y="77"/>
                  </a:lnTo>
                  <a:lnTo>
                    <a:pt x="58" y="77"/>
                  </a:lnTo>
                  <a:lnTo>
                    <a:pt x="54" y="78"/>
                  </a:lnTo>
                  <a:lnTo>
                    <a:pt x="50" y="78"/>
                  </a:lnTo>
                  <a:lnTo>
                    <a:pt x="50" y="93"/>
                  </a:lnTo>
                  <a:lnTo>
                    <a:pt x="50" y="93"/>
                  </a:lnTo>
                  <a:lnTo>
                    <a:pt x="55" y="93"/>
                  </a:lnTo>
                  <a:lnTo>
                    <a:pt x="57" y="100"/>
                  </a:lnTo>
                  <a:lnTo>
                    <a:pt x="72" y="95"/>
                  </a:lnTo>
                  <a:lnTo>
                    <a:pt x="70" y="88"/>
                  </a:lnTo>
                  <a:lnTo>
                    <a:pt x="70" y="88"/>
                  </a:lnTo>
                  <a:lnTo>
                    <a:pt x="78" y="83"/>
                  </a:lnTo>
                  <a:lnTo>
                    <a:pt x="84" y="77"/>
                  </a:lnTo>
                  <a:lnTo>
                    <a:pt x="90" y="80"/>
                  </a:lnTo>
                  <a:lnTo>
                    <a:pt x="98" y="67"/>
                  </a:lnTo>
                  <a:lnTo>
                    <a:pt x="91" y="63"/>
                  </a:lnTo>
                  <a:lnTo>
                    <a:pt x="91" y="63"/>
                  </a:lnTo>
                  <a:lnTo>
                    <a:pt x="93" y="54"/>
                  </a:lnTo>
                  <a:lnTo>
                    <a:pt x="93" y="45"/>
                  </a:lnTo>
                  <a:lnTo>
                    <a:pt x="100" y="43"/>
                  </a:lnTo>
                  <a:lnTo>
                    <a:pt x="96" y="28"/>
                  </a:lnTo>
                  <a:lnTo>
                    <a:pt x="88" y="30"/>
                  </a:lnTo>
                  <a:lnTo>
                    <a:pt x="88" y="30"/>
                  </a:lnTo>
                  <a:lnTo>
                    <a:pt x="83" y="23"/>
                  </a:lnTo>
                  <a:lnTo>
                    <a:pt x="77" y="16"/>
                  </a:lnTo>
                  <a:lnTo>
                    <a:pt x="77" y="16"/>
                  </a:lnTo>
                  <a:close/>
                  <a:moveTo>
                    <a:pt x="50" y="7"/>
                  </a:moveTo>
                  <a:lnTo>
                    <a:pt x="50" y="7"/>
                  </a:lnTo>
                  <a:lnTo>
                    <a:pt x="45" y="7"/>
                  </a:lnTo>
                  <a:lnTo>
                    <a:pt x="43" y="0"/>
                  </a:lnTo>
                  <a:lnTo>
                    <a:pt x="28" y="5"/>
                  </a:lnTo>
                  <a:lnTo>
                    <a:pt x="30" y="12"/>
                  </a:lnTo>
                  <a:lnTo>
                    <a:pt x="30" y="12"/>
                  </a:lnTo>
                  <a:lnTo>
                    <a:pt x="23" y="17"/>
                  </a:lnTo>
                  <a:lnTo>
                    <a:pt x="17" y="23"/>
                  </a:lnTo>
                  <a:lnTo>
                    <a:pt x="10" y="20"/>
                  </a:lnTo>
                  <a:lnTo>
                    <a:pt x="3" y="34"/>
                  </a:lnTo>
                  <a:lnTo>
                    <a:pt x="9" y="37"/>
                  </a:lnTo>
                  <a:lnTo>
                    <a:pt x="9" y="37"/>
                  </a:lnTo>
                  <a:lnTo>
                    <a:pt x="7" y="46"/>
                  </a:lnTo>
                  <a:lnTo>
                    <a:pt x="7" y="55"/>
                  </a:lnTo>
                  <a:lnTo>
                    <a:pt x="0" y="57"/>
                  </a:lnTo>
                  <a:lnTo>
                    <a:pt x="5" y="72"/>
                  </a:lnTo>
                  <a:lnTo>
                    <a:pt x="12" y="70"/>
                  </a:lnTo>
                  <a:lnTo>
                    <a:pt x="12" y="70"/>
                  </a:lnTo>
                  <a:lnTo>
                    <a:pt x="17" y="77"/>
                  </a:lnTo>
                  <a:lnTo>
                    <a:pt x="23" y="84"/>
                  </a:lnTo>
                  <a:lnTo>
                    <a:pt x="20" y="90"/>
                  </a:lnTo>
                  <a:lnTo>
                    <a:pt x="34" y="98"/>
                  </a:lnTo>
                  <a:lnTo>
                    <a:pt x="37" y="91"/>
                  </a:lnTo>
                  <a:lnTo>
                    <a:pt x="37" y="91"/>
                  </a:lnTo>
                  <a:lnTo>
                    <a:pt x="44" y="93"/>
                  </a:lnTo>
                  <a:lnTo>
                    <a:pt x="50" y="93"/>
                  </a:lnTo>
                  <a:lnTo>
                    <a:pt x="50" y="78"/>
                  </a:lnTo>
                  <a:lnTo>
                    <a:pt x="50" y="78"/>
                  </a:lnTo>
                  <a:lnTo>
                    <a:pt x="46" y="78"/>
                  </a:lnTo>
                  <a:lnTo>
                    <a:pt x="41" y="77"/>
                  </a:lnTo>
                  <a:lnTo>
                    <a:pt x="37" y="75"/>
                  </a:lnTo>
                  <a:lnTo>
                    <a:pt x="34" y="73"/>
                  </a:lnTo>
                  <a:lnTo>
                    <a:pt x="30" y="70"/>
                  </a:lnTo>
                  <a:lnTo>
                    <a:pt x="27" y="66"/>
                  </a:lnTo>
                  <a:lnTo>
                    <a:pt x="25" y="63"/>
                  </a:lnTo>
                  <a:lnTo>
                    <a:pt x="23" y="58"/>
                  </a:lnTo>
                  <a:lnTo>
                    <a:pt x="23" y="58"/>
                  </a:lnTo>
                  <a:lnTo>
                    <a:pt x="22" y="53"/>
                  </a:lnTo>
                  <a:lnTo>
                    <a:pt x="22" y="47"/>
                  </a:lnTo>
                  <a:lnTo>
                    <a:pt x="23" y="42"/>
                  </a:lnTo>
                  <a:lnTo>
                    <a:pt x="25" y="37"/>
                  </a:lnTo>
                  <a:lnTo>
                    <a:pt x="28" y="32"/>
                  </a:lnTo>
                  <a:lnTo>
                    <a:pt x="32" y="28"/>
                  </a:lnTo>
                  <a:lnTo>
                    <a:pt x="37" y="25"/>
                  </a:lnTo>
                  <a:lnTo>
                    <a:pt x="42" y="23"/>
                  </a:lnTo>
                  <a:lnTo>
                    <a:pt x="42" y="23"/>
                  </a:lnTo>
                  <a:lnTo>
                    <a:pt x="46" y="22"/>
                  </a:lnTo>
                  <a:lnTo>
                    <a:pt x="50" y="22"/>
                  </a:lnTo>
                  <a:lnTo>
                    <a:pt x="50" y="7"/>
                  </a:lnTo>
                  <a:close/>
                </a:path>
              </a:pathLst>
            </a:custGeom>
            <a:solidFill>
              <a:srgbClr val="287EA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grpSp>
      <p:grpSp>
        <p:nvGrpSpPr>
          <p:cNvPr id="46" name="Group 45"/>
          <p:cNvGrpSpPr/>
          <p:nvPr/>
        </p:nvGrpSpPr>
        <p:grpSpPr>
          <a:xfrm>
            <a:off x="7784186" y="1939132"/>
            <a:ext cx="718397" cy="1116991"/>
            <a:chOff x="339887" y="3695496"/>
            <a:chExt cx="957862" cy="1489321"/>
          </a:xfrm>
        </p:grpSpPr>
        <p:sp>
          <p:nvSpPr>
            <p:cNvPr id="184" name="Freeform 1282"/>
            <p:cNvSpPr/>
            <p:nvPr/>
          </p:nvSpPr>
          <p:spPr bwMode="auto">
            <a:xfrm>
              <a:off x="655055" y="4233135"/>
              <a:ext cx="593256" cy="599437"/>
            </a:xfrm>
            <a:custGeom>
              <a:avLst/>
              <a:gdLst>
                <a:gd name="T0" fmla="*/ 278 w 288"/>
                <a:gd name="T1" fmla="*/ 9 h 291"/>
                <a:gd name="T2" fmla="*/ 278 w 288"/>
                <a:gd name="T3" fmla="*/ 9 h 291"/>
                <a:gd name="T4" fmla="*/ 278 w 288"/>
                <a:gd name="T5" fmla="*/ 9 h 291"/>
                <a:gd name="T6" fmla="*/ 283 w 288"/>
                <a:gd name="T7" fmla="*/ 14 h 291"/>
                <a:gd name="T8" fmla="*/ 286 w 288"/>
                <a:gd name="T9" fmla="*/ 20 h 291"/>
                <a:gd name="T10" fmla="*/ 287 w 288"/>
                <a:gd name="T11" fmla="*/ 26 h 291"/>
                <a:gd name="T12" fmla="*/ 288 w 288"/>
                <a:gd name="T13" fmla="*/ 32 h 291"/>
                <a:gd name="T14" fmla="*/ 287 w 288"/>
                <a:gd name="T15" fmla="*/ 38 h 291"/>
                <a:gd name="T16" fmla="*/ 285 w 288"/>
                <a:gd name="T17" fmla="*/ 44 h 291"/>
                <a:gd name="T18" fmla="*/ 283 w 288"/>
                <a:gd name="T19" fmla="*/ 49 h 291"/>
                <a:gd name="T20" fmla="*/ 278 w 288"/>
                <a:gd name="T21" fmla="*/ 54 h 291"/>
                <a:gd name="T22" fmla="*/ 54 w 288"/>
                <a:gd name="T23" fmla="*/ 282 h 291"/>
                <a:gd name="T24" fmla="*/ 54 w 288"/>
                <a:gd name="T25" fmla="*/ 282 h 291"/>
                <a:gd name="T26" fmla="*/ 49 w 288"/>
                <a:gd name="T27" fmla="*/ 286 h 291"/>
                <a:gd name="T28" fmla="*/ 44 w 288"/>
                <a:gd name="T29" fmla="*/ 289 h 291"/>
                <a:gd name="T30" fmla="*/ 38 w 288"/>
                <a:gd name="T31" fmla="*/ 290 h 291"/>
                <a:gd name="T32" fmla="*/ 32 w 288"/>
                <a:gd name="T33" fmla="*/ 291 h 291"/>
                <a:gd name="T34" fmla="*/ 26 w 288"/>
                <a:gd name="T35" fmla="*/ 290 h 291"/>
                <a:gd name="T36" fmla="*/ 20 w 288"/>
                <a:gd name="T37" fmla="*/ 288 h 291"/>
                <a:gd name="T38" fmla="*/ 14 w 288"/>
                <a:gd name="T39" fmla="*/ 286 h 291"/>
                <a:gd name="T40" fmla="*/ 9 w 288"/>
                <a:gd name="T41" fmla="*/ 281 h 291"/>
                <a:gd name="T42" fmla="*/ 9 w 288"/>
                <a:gd name="T43" fmla="*/ 281 h 291"/>
                <a:gd name="T44" fmla="*/ 5 w 288"/>
                <a:gd name="T45" fmla="*/ 276 h 291"/>
                <a:gd name="T46" fmla="*/ 2 w 288"/>
                <a:gd name="T47" fmla="*/ 271 h 291"/>
                <a:gd name="T48" fmla="*/ 1 w 288"/>
                <a:gd name="T49" fmla="*/ 265 h 291"/>
                <a:gd name="T50" fmla="*/ 0 w 288"/>
                <a:gd name="T51" fmla="*/ 259 h 291"/>
                <a:gd name="T52" fmla="*/ 1 w 288"/>
                <a:gd name="T53" fmla="*/ 253 h 291"/>
                <a:gd name="T54" fmla="*/ 3 w 288"/>
                <a:gd name="T55" fmla="*/ 247 h 291"/>
                <a:gd name="T56" fmla="*/ 5 w 288"/>
                <a:gd name="T57" fmla="*/ 241 h 291"/>
                <a:gd name="T58" fmla="*/ 9 w 288"/>
                <a:gd name="T59" fmla="*/ 236 h 291"/>
                <a:gd name="T60" fmla="*/ 233 w 288"/>
                <a:gd name="T61" fmla="*/ 9 h 291"/>
                <a:gd name="T62" fmla="*/ 233 w 288"/>
                <a:gd name="T63" fmla="*/ 9 h 291"/>
                <a:gd name="T64" fmla="*/ 238 w 288"/>
                <a:gd name="T65" fmla="*/ 5 h 291"/>
                <a:gd name="T66" fmla="*/ 243 w 288"/>
                <a:gd name="T67" fmla="*/ 2 h 291"/>
                <a:gd name="T68" fmla="*/ 249 w 288"/>
                <a:gd name="T69" fmla="*/ 1 h 291"/>
                <a:gd name="T70" fmla="*/ 255 w 288"/>
                <a:gd name="T71" fmla="*/ 0 h 291"/>
                <a:gd name="T72" fmla="*/ 261 w 288"/>
                <a:gd name="T73" fmla="*/ 1 h 291"/>
                <a:gd name="T74" fmla="*/ 267 w 288"/>
                <a:gd name="T75" fmla="*/ 2 h 291"/>
                <a:gd name="T76" fmla="*/ 273 w 288"/>
                <a:gd name="T77" fmla="*/ 5 h 291"/>
                <a:gd name="T78" fmla="*/ 278 w 288"/>
                <a:gd name="T79" fmla="*/ 9 h 291"/>
                <a:gd name="T80" fmla="*/ 278 w 288"/>
                <a:gd name="T81" fmla="*/ 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8" h="291">
                  <a:moveTo>
                    <a:pt x="278" y="9"/>
                  </a:moveTo>
                  <a:lnTo>
                    <a:pt x="278" y="9"/>
                  </a:lnTo>
                  <a:lnTo>
                    <a:pt x="278" y="9"/>
                  </a:lnTo>
                  <a:lnTo>
                    <a:pt x="283" y="14"/>
                  </a:lnTo>
                  <a:lnTo>
                    <a:pt x="286" y="20"/>
                  </a:lnTo>
                  <a:lnTo>
                    <a:pt x="287" y="26"/>
                  </a:lnTo>
                  <a:lnTo>
                    <a:pt x="288" y="32"/>
                  </a:lnTo>
                  <a:lnTo>
                    <a:pt x="287" y="38"/>
                  </a:lnTo>
                  <a:lnTo>
                    <a:pt x="285" y="44"/>
                  </a:lnTo>
                  <a:lnTo>
                    <a:pt x="283" y="49"/>
                  </a:lnTo>
                  <a:lnTo>
                    <a:pt x="278" y="54"/>
                  </a:lnTo>
                  <a:lnTo>
                    <a:pt x="54" y="282"/>
                  </a:lnTo>
                  <a:lnTo>
                    <a:pt x="54" y="282"/>
                  </a:lnTo>
                  <a:lnTo>
                    <a:pt x="49" y="286"/>
                  </a:lnTo>
                  <a:lnTo>
                    <a:pt x="44" y="289"/>
                  </a:lnTo>
                  <a:lnTo>
                    <a:pt x="38" y="290"/>
                  </a:lnTo>
                  <a:lnTo>
                    <a:pt x="32" y="291"/>
                  </a:lnTo>
                  <a:lnTo>
                    <a:pt x="26" y="290"/>
                  </a:lnTo>
                  <a:lnTo>
                    <a:pt x="20" y="288"/>
                  </a:lnTo>
                  <a:lnTo>
                    <a:pt x="14" y="286"/>
                  </a:lnTo>
                  <a:lnTo>
                    <a:pt x="9" y="281"/>
                  </a:lnTo>
                  <a:lnTo>
                    <a:pt x="9" y="281"/>
                  </a:lnTo>
                  <a:lnTo>
                    <a:pt x="5" y="276"/>
                  </a:lnTo>
                  <a:lnTo>
                    <a:pt x="2" y="271"/>
                  </a:lnTo>
                  <a:lnTo>
                    <a:pt x="1" y="265"/>
                  </a:lnTo>
                  <a:lnTo>
                    <a:pt x="0" y="259"/>
                  </a:lnTo>
                  <a:lnTo>
                    <a:pt x="1" y="253"/>
                  </a:lnTo>
                  <a:lnTo>
                    <a:pt x="3" y="247"/>
                  </a:lnTo>
                  <a:lnTo>
                    <a:pt x="5" y="241"/>
                  </a:lnTo>
                  <a:lnTo>
                    <a:pt x="9" y="236"/>
                  </a:lnTo>
                  <a:lnTo>
                    <a:pt x="233" y="9"/>
                  </a:lnTo>
                  <a:lnTo>
                    <a:pt x="233" y="9"/>
                  </a:lnTo>
                  <a:lnTo>
                    <a:pt x="238" y="5"/>
                  </a:lnTo>
                  <a:lnTo>
                    <a:pt x="243" y="2"/>
                  </a:lnTo>
                  <a:lnTo>
                    <a:pt x="249" y="1"/>
                  </a:lnTo>
                  <a:lnTo>
                    <a:pt x="255" y="0"/>
                  </a:lnTo>
                  <a:lnTo>
                    <a:pt x="261" y="1"/>
                  </a:lnTo>
                  <a:lnTo>
                    <a:pt x="267" y="2"/>
                  </a:lnTo>
                  <a:lnTo>
                    <a:pt x="273" y="5"/>
                  </a:lnTo>
                  <a:lnTo>
                    <a:pt x="278" y="9"/>
                  </a:lnTo>
                  <a:lnTo>
                    <a:pt x="278" y="9"/>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85" name="Freeform 1283"/>
            <p:cNvSpPr/>
            <p:nvPr/>
          </p:nvSpPr>
          <p:spPr bwMode="auto">
            <a:xfrm>
              <a:off x="414044" y="4418528"/>
              <a:ext cx="661234" cy="741571"/>
            </a:xfrm>
            <a:custGeom>
              <a:avLst/>
              <a:gdLst>
                <a:gd name="T0" fmla="*/ 0 w 319"/>
                <a:gd name="T1" fmla="*/ 327 h 360"/>
                <a:gd name="T2" fmla="*/ 171 w 319"/>
                <a:gd name="T3" fmla="*/ 360 h 360"/>
                <a:gd name="T4" fmla="*/ 198 w 319"/>
                <a:gd name="T5" fmla="*/ 225 h 360"/>
                <a:gd name="T6" fmla="*/ 319 w 319"/>
                <a:gd name="T7" fmla="*/ 50 h 360"/>
                <a:gd name="T8" fmla="*/ 63 w 319"/>
                <a:gd name="T9" fmla="*/ 0 h 360"/>
                <a:gd name="T10" fmla="*/ 0 w 319"/>
                <a:gd name="T11" fmla="*/ 327 h 360"/>
              </a:gdLst>
              <a:ahLst/>
              <a:cxnLst>
                <a:cxn ang="0">
                  <a:pos x="T0" y="T1"/>
                </a:cxn>
                <a:cxn ang="0">
                  <a:pos x="T2" y="T3"/>
                </a:cxn>
                <a:cxn ang="0">
                  <a:pos x="T4" y="T5"/>
                </a:cxn>
                <a:cxn ang="0">
                  <a:pos x="T6" y="T7"/>
                </a:cxn>
                <a:cxn ang="0">
                  <a:pos x="T8" y="T9"/>
                </a:cxn>
                <a:cxn ang="0">
                  <a:pos x="T10" y="T11"/>
                </a:cxn>
              </a:cxnLst>
              <a:rect l="0" t="0" r="r" b="b"/>
              <a:pathLst>
                <a:path w="319" h="360">
                  <a:moveTo>
                    <a:pt x="0" y="327"/>
                  </a:moveTo>
                  <a:lnTo>
                    <a:pt x="171" y="360"/>
                  </a:lnTo>
                  <a:lnTo>
                    <a:pt x="198" y="225"/>
                  </a:lnTo>
                  <a:lnTo>
                    <a:pt x="319" y="50"/>
                  </a:lnTo>
                  <a:lnTo>
                    <a:pt x="63" y="0"/>
                  </a:lnTo>
                  <a:lnTo>
                    <a:pt x="0" y="327"/>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86" name="Freeform 1284"/>
            <p:cNvSpPr/>
            <p:nvPr/>
          </p:nvSpPr>
          <p:spPr bwMode="auto">
            <a:xfrm>
              <a:off x="648876" y="4443247"/>
              <a:ext cx="593256" cy="599437"/>
            </a:xfrm>
            <a:custGeom>
              <a:avLst/>
              <a:gdLst>
                <a:gd name="T0" fmla="*/ 278 w 288"/>
                <a:gd name="T1" fmla="*/ 9 h 291"/>
                <a:gd name="T2" fmla="*/ 278 w 288"/>
                <a:gd name="T3" fmla="*/ 9 h 291"/>
                <a:gd name="T4" fmla="*/ 278 w 288"/>
                <a:gd name="T5" fmla="*/ 9 h 291"/>
                <a:gd name="T6" fmla="*/ 282 w 288"/>
                <a:gd name="T7" fmla="*/ 14 h 291"/>
                <a:gd name="T8" fmla="*/ 286 w 288"/>
                <a:gd name="T9" fmla="*/ 20 h 291"/>
                <a:gd name="T10" fmla="*/ 287 w 288"/>
                <a:gd name="T11" fmla="*/ 26 h 291"/>
                <a:gd name="T12" fmla="*/ 288 w 288"/>
                <a:gd name="T13" fmla="*/ 32 h 291"/>
                <a:gd name="T14" fmla="*/ 287 w 288"/>
                <a:gd name="T15" fmla="*/ 38 h 291"/>
                <a:gd name="T16" fmla="*/ 285 w 288"/>
                <a:gd name="T17" fmla="*/ 43 h 291"/>
                <a:gd name="T18" fmla="*/ 282 w 288"/>
                <a:gd name="T19" fmla="*/ 49 h 291"/>
                <a:gd name="T20" fmla="*/ 277 w 288"/>
                <a:gd name="T21" fmla="*/ 54 h 291"/>
                <a:gd name="T22" fmla="*/ 54 w 288"/>
                <a:gd name="T23" fmla="*/ 282 h 291"/>
                <a:gd name="T24" fmla="*/ 54 w 288"/>
                <a:gd name="T25" fmla="*/ 282 h 291"/>
                <a:gd name="T26" fmla="*/ 49 w 288"/>
                <a:gd name="T27" fmla="*/ 286 h 291"/>
                <a:gd name="T28" fmla="*/ 44 w 288"/>
                <a:gd name="T29" fmla="*/ 288 h 291"/>
                <a:gd name="T30" fmla="*/ 38 w 288"/>
                <a:gd name="T31" fmla="*/ 290 h 291"/>
                <a:gd name="T32" fmla="*/ 32 w 288"/>
                <a:gd name="T33" fmla="*/ 291 h 291"/>
                <a:gd name="T34" fmla="*/ 25 w 288"/>
                <a:gd name="T35" fmla="*/ 290 h 291"/>
                <a:gd name="T36" fmla="*/ 20 w 288"/>
                <a:gd name="T37" fmla="*/ 288 h 291"/>
                <a:gd name="T38" fmla="*/ 14 w 288"/>
                <a:gd name="T39" fmla="*/ 285 h 291"/>
                <a:gd name="T40" fmla="*/ 9 w 288"/>
                <a:gd name="T41" fmla="*/ 281 h 291"/>
                <a:gd name="T42" fmla="*/ 9 w 288"/>
                <a:gd name="T43" fmla="*/ 281 h 291"/>
                <a:gd name="T44" fmla="*/ 5 w 288"/>
                <a:gd name="T45" fmla="*/ 276 h 291"/>
                <a:gd name="T46" fmla="*/ 2 w 288"/>
                <a:gd name="T47" fmla="*/ 271 h 291"/>
                <a:gd name="T48" fmla="*/ 1 w 288"/>
                <a:gd name="T49" fmla="*/ 265 h 291"/>
                <a:gd name="T50" fmla="*/ 0 w 288"/>
                <a:gd name="T51" fmla="*/ 259 h 291"/>
                <a:gd name="T52" fmla="*/ 1 w 288"/>
                <a:gd name="T53" fmla="*/ 253 h 291"/>
                <a:gd name="T54" fmla="*/ 3 w 288"/>
                <a:gd name="T55" fmla="*/ 247 h 291"/>
                <a:gd name="T56" fmla="*/ 5 w 288"/>
                <a:gd name="T57" fmla="*/ 241 h 291"/>
                <a:gd name="T58" fmla="*/ 9 w 288"/>
                <a:gd name="T59" fmla="*/ 236 h 291"/>
                <a:gd name="T60" fmla="*/ 233 w 288"/>
                <a:gd name="T61" fmla="*/ 9 h 291"/>
                <a:gd name="T62" fmla="*/ 233 w 288"/>
                <a:gd name="T63" fmla="*/ 9 h 291"/>
                <a:gd name="T64" fmla="*/ 238 w 288"/>
                <a:gd name="T65" fmla="*/ 5 h 291"/>
                <a:gd name="T66" fmla="*/ 243 w 288"/>
                <a:gd name="T67" fmla="*/ 2 h 291"/>
                <a:gd name="T68" fmla="*/ 249 w 288"/>
                <a:gd name="T69" fmla="*/ 0 h 291"/>
                <a:gd name="T70" fmla="*/ 255 w 288"/>
                <a:gd name="T71" fmla="*/ 0 h 291"/>
                <a:gd name="T72" fmla="*/ 261 w 288"/>
                <a:gd name="T73" fmla="*/ 0 h 291"/>
                <a:gd name="T74" fmla="*/ 267 w 288"/>
                <a:gd name="T75" fmla="*/ 2 h 291"/>
                <a:gd name="T76" fmla="*/ 273 w 288"/>
                <a:gd name="T77" fmla="*/ 5 h 291"/>
                <a:gd name="T78" fmla="*/ 278 w 288"/>
                <a:gd name="T79" fmla="*/ 9 h 291"/>
                <a:gd name="T80" fmla="*/ 278 w 288"/>
                <a:gd name="T81" fmla="*/ 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8" h="291">
                  <a:moveTo>
                    <a:pt x="278" y="9"/>
                  </a:moveTo>
                  <a:lnTo>
                    <a:pt x="278" y="9"/>
                  </a:lnTo>
                  <a:lnTo>
                    <a:pt x="278" y="9"/>
                  </a:lnTo>
                  <a:lnTo>
                    <a:pt x="282" y="14"/>
                  </a:lnTo>
                  <a:lnTo>
                    <a:pt x="286" y="20"/>
                  </a:lnTo>
                  <a:lnTo>
                    <a:pt x="287" y="26"/>
                  </a:lnTo>
                  <a:lnTo>
                    <a:pt x="288" y="32"/>
                  </a:lnTo>
                  <a:lnTo>
                    <a:pt x="287" y="38"/>
                  </a:lnTo>
                  <a:lnTo>
                    <a:pt x="285" y="43"/>
                  </a:lnTo>
                  <a:lnTo>
                    <a:pt x="282" y="49"/>
                  </a:lnTo>
                  <a:lnTo>
                    <a:pt x="277" y="54"/>
                  </a:lnTo>
                  <a:lnTo>
                    <a:pt x="54" y="282"/>
                  </a:lnTo>
                  <a:lnTo>
                    <a:pt x="54" y="282"/>
                  </a:lnTo>
                  <a:lnTo>
                    <a:pt x="49" y="286"/>
                  </a:lnTo>
                  <a:lnTo>
                    <a:pt x="44" y="288"/>
                  </a:lnTo>
                  <a:lnTo>
                    <a:pt x="38" y="290"/>
                  </a:lnTo>
                  <a:lnTo>
                    <a:pt x="32" y="291"/>
                  </a:lnTo>
                  <a:lnTo>
                    <a:pt x="25" y="290"/>
                  </a:lnTo>
                  <a:lnTo>
                    <a:pt x="20" y="288"/>
                  </a:lnTo>
                  <a:lnTo>
                    <a:pt x="14" y="285"/>
                  </a:lnTo>
                  <a:lnTo>
                    <a:pt x="9" y="281"/>
                  </a:lnTo>
                  <a:lnTo>
                    <a:pt x="9" y="281"/>
                  </a:lnTo>
                  <a:lnTo>
                    <a:pt x="5" y="276"/>
                  </a:lnTo>
                  <a:lnTo>
                    <a:pt x="2" y="271"/>
                  </a:lnTo>
                  <a:lnTo>
                    <a:pt x="1" y="265"/>
                  </a:lnTo>
                  <a:lnTo>
                    <a:pt x="0" y="259"/>
                  </a:lnTo>
                  <a:lnTo>
                    <a:pt x="1" y="253"/>
                  </a:lnTo>
                  <a:lnTo>
                    <a:pt x="3" y="247"/>
                  </a:lnTo>
                  <a:lnTo>
                    <a:pt x="5" y="241"/>
                  </a:lnTo>
                  <a:lnTo>
                    <a:pt x="9" y="236"/>
                  </a:lnTo>
                  <a:lnTo>
                    <a:pt x="233" y="9"/>
                  </a:lnTo>
                  <a:lnTo>
                    <a:pt x="233" y="9"/>
                  </a:lnTo>
                  <a:lnTo>
                    <a:pt x="238" y="5"/>
                  </a:lnTo>
                  <a:lnTo>
                    <a:pt x="243" y="2"/>
                  </a:lnTo>
                  <a:lnTo>
                    <a:pt x="249" y="0"/>
                  </a:lnTo>
                  <a:lnTo>
                    <a:pt x="255" y="0"/>
                  </a:lnTo>
                  <a:lnTo>
                    <a:pt x="261" y="0"/>
                  </a:lnTo>
                  <a:lnTo>
                    <a:pt x="267" y="2"/>
                  </a:lnTo>
                  <a:lnTo>
                    <a:pt x="273" y="5"/>
                  </a:lnTo>
                  <a:lnTo>
                    <a:pt x="278" y="9"/>
                  </a:lnTo>
                  <a:lnTo>
                    <a:pt x="278" y="9"/>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87" name="Freeform 1285"/>
            <p:cNvSpPr/>
            <p:nvPr/>
          </p:nvSpPr>
          <p:spPr bwMode="auto">
            <a:xfrm>
              <a:off x="716853" y="3973585"/>
              <a:ext cx="574717" cy="580897"/>
            </a:xfrm>
            <a:custGeom>
              <a:avLst/>
              <a:gdLst>
                <a:gd name="T0" fmla="*/ 271 w 280"/>
                <a:gd name="T1" fmla="*/ 10 h 282"/>
                <a:gd name="T2" fmla="*/ 271 w 280"/>
                <a:gd name="T3" fmla="*/ 10 h 282"/>
                <a:gd name="T4" fmla="*/ 271 w 280"/>
                <a:gd name="T5" fmla="*/ 10 h 282"/>
                <a:gd name="T6" fmla="*/ 275 w 280"/>
                <a:gd name="T7" fmla="*/ 15 h 282"/>
                <a:gd name="T8" fmla="*/ 278 w 280"/>
                <a:gd name="T9" fmla="*/ 20 h 282"/>
                <a:gd name="T10" fmla="*/ 279 w 280"/>
                <a:gd name="T11" fmla="*/ 26 h 282"/>
                <a:gd name="T12" fmla="*/ 280 w 280"/>
                <a:gd name="T13" fmla="*/ 32 h 282"/>
                <a:gd name="T14" fmla="*/ 279 w 280"/>
                <a:gd name="T15" fmla="*/ 38 h 282"/>
                <a:gd name="T16" fmla="*/ 277 w 280"/>
                <a:gd name="T17" fmla="*/ 44 h 282"/>
                <a:gd name="T18" fmla="*/ 275 w 280"/>
                <a:gd name="T19" fmla="*/ 49 h 282"/>
                <a:gd name="T20" fmla="*/ 271 w 280"/>
                <a:gd name="T21" fmla="*/ 54 h 282"/>
                <a:gd name="T22" fmla="*/ 54 w 280"/>
                <a:gd name="T23" fmla="*/ 272 h 282"/>
                <a:gd name="T24" fmla="*/ 54 w 280"/>
                <a:gd name="T25" fmla="*/ 272 h 282"/>
                <a:gd name="T26" fmla="*/ 49 w 280"/>
                <a:gd name="T27" fmla="*/ 276 h 282"/>
                <a:gd name="T28" fmla="*/ 44 w 280"/>
                <a:gd name="T29" fmla="*/ 279 h 282"/>
                <a:gd name="T30" fmla="*/ 38 w 280"/>
                <a:gd name="T31" fmla="*/ 281 h 282"/>
                <a:gd name="T32" fmla="*/ 32 w 280"/>
                <a:gd name="T33" fmla="*/ 282 h 282"/>
                <a:gd name="T34" fmla="*/ 26 w 280"/>
                <a:gd name="T35" fmla="*/ 281 h 282"/>
                <a:gd name="T36" fmla="*/ 20 w 280"/>
                <a:gd name="T37" fmla="*/ 279 h 282"/>
                <a:gd name="T38" fmla="*/ 14 w 280"/>
                <a:gd name="T39" fmla="*/ 276 h 282"/>
                <a:gd name="T40" fmla="*/ 9 w 280"/>
                <a:gd name="T41" fmla="*/ 272 h 282"/>
                <a:gd name="T42" fmla="*/ 9 w 280"/>
                <a:gd name="T43" fmla="*/ 272 h 282"/>
                <a:gd name="T44" fmla="*/ 5 w 280"/>
                <a:gd name="T45" fmla="*/ 267 h 282"/>
                <a:gd name="T46" fmla="*/ 3 w 280"/>
                <a:gd name="T47" fmla="*/ 262 h 282"/>
                <a:gd name="T48" fmla="*/ 1 w 280"/>
                <a:gd name="T49" fmla="*/ 256 h 282"/>
                <a:gd name="T50" fmla="*/ 0 w 280"/>
                <a:gd name="T51" fmla="*/ 250 h 282"/>
                <a:gd name="T52" fmla="*/ 1 w 280"/>
                <a:gd name="T53" fmla="*/ 244 h 282"/>
                <a:gd name="T54" fmla="*/ 3 w 280"/>
                <a:gd name="T55" fmla="*/ 238 h 282"/>
                <a:gd name="T56" fmla="*/ 6 w 280"/>
                <a:gd name="T57" fmla="*/ 232 h 282"/>
                <a:gd name="T58" fmla="*/ 10 w 280"/>
                <a:gd name="T59" fmla="*/ 227 h 282"/>
                <a:gd name="T60" fmla="*/ 225 w 280"/>
                <a:gd name="T61" fmla="*/ 9 h 282"/>
                <a:gd name="T62" fmla="*/ 225 w 280"/>
                <a:gd name="T63" fmla="*/ 9 h 282"/>
                <a:gd name="T64" fmla="*/ 230 w 280"/>
                <a:gd name="T65" fmla="*/ 5 h 282"/>
                <a:gd name="T66" fmla="*/ 235 w 280"/>
                <a:gd name="T67" fmla="*/ 2 h 282"/>
                <a:gd name="T68" fmla="*/ 241 w 280"/>
                <a:gd name="T69" fmla="*/ 1 h 282"/>
                <a:gd name="T70" fmla="*/ 247 w 280"/>
                <a:gd name="T71" fmla="*/ 0 h 282"/>
                <a:gd name="T72" fmla="*/ 254 w 280"/>
                <a:gd name="T73" fmla="*/ 1 h 282"/>
                <a:gd name="T74" fmla="*/ 260 w 280"/>
                <a:gd name="T75" fmla="*/ 3 h 282"/>
                <a:gd name="T76" fmla="*/ 266 w 280"/>
                <a:gd name="T77" fmla="*/ 6 h 282"/>
                <a:gd name="T78" fmla="*/ 271 w 280"/>
                <a:gd name="T79" fmla="*/ 10 h 282"/>
                <a:gd name="T80" fmla="*/ 271 w 280"/>
                <a:gd name="T81" fmla="*/ 1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0" h="282">
                  <a:moveTo>
                    <a:pt x="271" y="10"/>
                  </a:moveTo>
                  <a:lnTo>
                    <a:pt x="271" y="10"/>
                  </a:lnTo>
                  <a:lnTo>
                    <a:pt x="271" y="10"/>
                  </a:lnTo>
                  <a:lnTo>
                    <a:pt x="275" y="15"/>
                  </a:lnTo>
                  <a:lnTo>
                    <a:pt x="278" y="20"/>
                  </a:lnTo>
                  <a:lnTo>
                    <a:pt x="279" y="26"/>
                  </a:lnTo>
                  <a:lnTo>
                    <a:pt x="280" y="32"/>
                  </a:lnTo>
                  <a:lnTo>
                    <a:pt x="279" y="38"/>
                  </a:lnTo>
                  <a:lnTo>
                    <a:pt x="277" y="44"/>
                  </a:lnTo>
                  <a:lnTo>
                    <a:pt x="275" y="49"/>
                  </a:lnTo>
                  <a:lnTo>
                    <a:pt x="271" y="54"/>
                  </a:lnTo>
                  <a:lnTo>
                    <a:pt x="54" y="272"/>
                  </a:lnTo>
                  <a:lnTo>
                    <a:pt x="54" y="272"/>
                  </a:lnTo>
                  <a:lnTo>
                    <a:pt x="49" y="276"/>
                  </a:lnTo>
                  <a:lnTo>
                    <a:pt x="44" y="279"/>
                  </a:lnTo>
                  <a:lnTo>
                    <a:pt x="38" y="281"/>
                  </a:lnTo>
                  <a:lnTo>
                    <a:pt x="32" y="282"/>
                  </a:lnTo>
                  <a:lnTo>
                    <a:pt x="26" y="281"/>
                  </a:lnTo>
                  <a:lnTo>
                    <a:pt x="20" y="279"/>
                  </a:lnTo>
                  <a:lnTo>
                    <a:pt x="14" y="276"/>
                  </a:lnTo>
                  <a:lnTo>
                    <a:pt x="9" y="272"/>
                  </a:lnTo>
                  <a:lnTo>
                    <a:pt x="9" y="272"/>
                  </a:lnTo>
                  <a:lnTo>
                    <a:pt x="5" y="267"/>
                  </a:lnTo>
                  <a:lnTo>
                    <a:pt x="3" y="262"/>
                  </a:lnTo>
                  <a:lnTo>
                    <a:pt x="1" y="256"/>
                  </a:lnTo>
                  <a:lnTo>
                    <a:pt x="0" y="250"/>
                  </a:lnTo>
                  <a:lnTo>
                    <a:pt x="1" y="244"/>
                  </a:lnTo>
                  <a:lnTo>
                    <a:pt x="3" y="238"/>
                  </a:lnTo>
                  <a:lnTo>
                    <a:pt x="6" y="232"/>
                  </a:lnTo>
                  <a:lnTo>
                    <a:pt x="10" y="227"/>
                  </a:lnTo>
                  <a:lnTo>
                    <a:pt x="225" y="9"/>
                  </a:lnTo>
                  <a:lnTo>
                    <a:pt x="225" y="9"/>
                  </a:lnTo>
                  <a:lnTo>
                    <a:pt x="230" y="5"/>
                  </a:lnTo>
                  <a:lnTo>
                    <a:pt x="235" y="2"/>
                  </a:lnTo>
                  <a:lnTo>
                    <a:pt x="241" y="1"/>
                  </a:lnTo>
                  <a:lnTo>
                    <a:pt x="247" y="0"/>
                  </a:lnTo>
                  <a:lnTo>
                    <a:pt x="254" y="1"/>
                  </a:lnTo>
                  <a:lnTo>
                    <a:pt x="260" y="3"/>
                  </a:lnTo>
                  <a:lnTo>
                    <a:pt x="266" y="6"/>
                  </a:lnTo>
                  <a:lnTo>
                    <a:pt x="271" y="10"/>
                  </a:lnTo>
                  <a:lnTo>
                    <a:pt x="271" y="10"/>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88" name="Freeform 1286"/>
            <p:cNvSpPr/>
            <p:nvPr/>
          </p:nvSpPr>
          <p:spPr bwMode="auto">
            <a:xfrm>
              <a:off x="587078" y="3695496"/>
              <a:ext cx="550000" cy="1087638"/>
            </a:xfrm>
            <a:custGeom>
              <a:avLst/>
              <a:gdLst>
                <a:gd name="T0" fmla="*/ 55 w 267"/>
                <a:gd name="T1" fmla="*/ 0 h 527"/>
                <a:gd name="T2" fmla="*/ 212 w 267"/>
                <a:gd name="T3" fmla="*/ 0 h 527"/>
                <a:gd name="T4" fmla="*/ 212 w 267"/>
                <a:gd name="T5" fmla="*/ 0 h 527"/>
                <a:gd name="T6" fmla="*/ 223 w 267"/>
                <a:gd name="T7" fmla="*/ 1 h 527"/>
                <a:gd name="T8" fmla="*/ 233 w 267"/>
                <a:gd name="T9" fmla="*/ 4 h 527"/>
                <a:gd name="T10" fmla="*/ 243 w 267"/>
                <a:gd name="T11" fmla="*/ 9 h 527"/>
                <a:gd name="T12" fmla="*/ 251 w 267"/>
                <a:gd name="T13" fmla="*/ 16 h 527"/>
                <a:gd name="T14" fmla="*/ 258 w 267"/>
                <a:gd name="T15" fmla="*/ 24 h 527"/>
                <a:gd name="T16" fmla="*/ 263 w 267"/>
                <a:gd name="T17" fmla="*/ 33 h 527"/>
                <a:gd name="T18" fmla="*/ 266 w 267"/>
                <a:gd name="T19" fmla="*/ 44 h 527"/>
                <a:gd name="T20" fmla="*/ 267 w 267"/>
                <a:gd name="T21" fmla="*/ 55 h 527"/>
                <a:gd name="T22" fmla="*/ 267 w 267"/>
                <a:gd name="T23" fmla="*/ 470 h 527"/>
                <a:gd name="T24" fmla="*/ 267 w 267"/>
                <a:gd name="T25" fmla="*/ 470 h 527"/>
                <a:gd name="T26" fmla="*/ 266 w 267"/>
                <a:gd name="T27" fmla="*/ 482 h 527"/>
                <a:gd name="T28" fmla="*/ 263 w 267"/>
                <a:gd name="T29" fmla="*/ 492 h 527"/>
                <a:gd name="T30" fmla="*/ 258 w 267"/>
                <a:gd name="T31" fmla="*/ 501 h 527"/>
                <a:gd name="T32" fmla="*/ 251 w 267"/>
                <a:gd name="T33" fmla="*/ 510 h 527"/>
                <a:gd name="T34" fmla="*/ 243 w 267"/>
                <a:gd name="T35" fmla="*/ 517 h 527"/>
                <a:gd name="T36" fmla="*/ 233 w 267"/>
                <a:gd name="T37" fmla="*/ 522 h 527"/>
                <a:gd name="T38" fmla="*/ 223 w 267"/>
                <a:gd name="T39" fmla="*/ 525 h 527"/>
                <a:gd name="T40" fmla="*/ 212 w 267"/>
                <a:gd name="T41" fmla="*/ 527 h 527"/>
                <a:gd name="T42" fmla="*/ 55 w 267"/>
                <a:gd name="T43" fmla="*/ 527 h 527"/>
                <a:gd name="T44" fmla="*/ 55 w 267"/>
                <a:gd name="T45" fmla="*/ 527 h 527"/>
                <a:gd name="T46" fmla="*/ 44 w 267"/>
                <a:gd name="T47" fmla="*/ 525 h 527"/>
                <a:gd name="T48" fmla="*/ 34 w 267"/>
                <a:gd name="T49" fmla="*/ 522 h 527"/>
                <a:gd name="T50" fmla="*/ 25 w 267"/>
                <a:gd name="T51" fmla="*/ 517 h 527"/>
                <a:gd name="T52" fmla="*/ 17 w 267"/>
                <a:gd name="T53" fmla="*/ 510 h 527"/>
                <a:gd name="T54" fmla="*/ 10 w 267"/>
                <a:gd name="T55" fmla="*/ 501 h 527"/>
                <a:gd name="T56" fmla="*/ 5 w 267"/>
                <a:gd name="T57" fmla="*/ 492 h 527"/>
                <a:gd name="T58" fmla="*/ 1 w 267"/>
                <a:gd name="T59" fmla="*/ 482 h 527"/>
                <a:gd name="T60" fmla="*/ 0 w 267"/>
                <a:gd name="T61" fmla="*/ 470 h 527"/>
                <a:gd name="T62" fmla="*/ 0 w 267"/>
                <a:gd name="T63" fmla="*/ 55 h 527"/>
                <a:gd name="T64" fmla="*/ 0 w 267"/>
                <a:gd name="T65" fmla="*/ 55 h 527"/>
                <a:gd name="T66" fmla="*/ 1 w 267"/>
                <a:gd name="T67" fmla="*/ 44 h 527"/>
                <a:gd name="T68" fmla="*/ 5 w 267"/>
                <a:gd name="T69" fmla="*/ 33 h 527"/>
                <a:gd name="T70" fmla="*/ 10 w 267"/>
                <a:gd name="T71" fmla="*/ 24 h 527"/>
                <a:gd name="T72" fmla="*/ 17 w 267"/>
                <a:gd name="T73" fmla="*/ 16 h 527"/>
                <a:gd name="T74" fmla="*/ 25 w 267"/>
                <a:gd name="T75" fmla="*/ 9 h 527"/>
                <a:gd name="T76" fmla="*/ 34 w 267"/>
                <a:gd name="T77" fmla="*/ 4 h 527"/>
                <a:gd name="T78" fmla="*/ 44 w 267"/>
                <a:gd name="T79" fmla="*/ 1 h 527"/>
                <a:gd name="T80" fmla="*/ 55 w 267"/>
                <a:gd name="T81" fmla="*/ 0 h 527"/>
                <a:gd name="T82" fmla="*/ 55 w 267"/>
                <a:gd name="T83"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527">
                  <a:moveTo>
                    <a:pt x="55" y="0"/>
                  </a:moveTo>
                  <a:lnTo>
                    <a:pt x="212" y="0"/>
                  </a:lnTo>
                  <a:lnTo>
                    <a:pt x="212" y="0"/>
                  </a:lnTo>
                  <a:lnTo>
                    <a:pt x="223" y="1"/>
                  </a:lnTo>
                  <a:lnTo>
                    <a:pt x="233" y="4"/>
                  </a:lnTo>
                  <a:lnTo>
                    <a:pt x="243" y="9"/>
                  </a:lnTo>
                  <a:lnTo>
                    <a:pt x="251" y="16"/>
                  </a:lnTo>
                  <a:lnTo>
                    <a:pt x="258" y="24"/>
                  </a:lnTo>
                  <a:lnTo>
                    <a:pt x="263" y="33"/>
                  </a:lnTo>
                  <a:lnTo>
                    <a:pt x="266" y="44"/>
                  </a:lnTo>
                  <a:lnTo>
                    <a:pt x="267" y="55"/>
                  </a:lnTo>
                  <a:lnTo>
                    <a:pt x="267" y="470"/>
                  </a:lnTo>
                  <a:lnTo>
                    <a:pt x="267" y="470"/>
                  </a:lnTo>
                  <a:lnTo>
                    <a:pt x="266" y="482"/>
                  </a:lnTo>
                  <a:lnTo>
                    <a:pt x="263" y="492"/>
                  </a:lnTo>
                  <a:lnTo>
                    <a:pt x="258" y="501"/>
                  </a:lnTo>
                  <a:lnTo>
                    <a:pt x="251" y="510"/>
                  </a:lnTo>
                  <a:lnTo>
                    <a:pt x="243" y="517"/>
                  </a:lnTo>
                  <a:lnTo>
                    <a:pt x="233" y="522"/>
                  </a:lnTo>
                  <a:lnTo>
                    <a:pt x="223" y="525"/>
                  </a:lnTo>
                  <a:lnTo>
                    <a:pt x="212" y="527"/>
                  </a:lnTo>
                  <a:lnTo>
                    <a:pt x="55" y="527"/>
                  </a:lnTo>
                  <a:lnTo>
                    <a:pt x="55" y="527"/>
                  </a:lnTo>
                  <a:lnTo>
                    <a:pt x="44" y="525"/>
                  </a:lnTo>
                  <a:lnTo>
                    <a:pt x="34" y="522"/>
                  </a:lnTo>
                  <a:lnTo>
                    <a:pt x="25" y="517"/>
                  </a:lnTo>
                  <a:lnTo>
                    <a:pt x="17" y="510"/>
                  </a:lnTo>
                  <a:lnTo>
                    <a:pt x="10" y="501"/>
                  </a:lnTo>
                  <a:lnTo>
                    <a:pt x="5" y="492"/>
                  </a:lnTo>
                  <a:lnTo>
                    <a:pt x="1" y="482"/>
                  </a:lnTo>
                  <a:lnTo>
                    <a:pt x="0" y="470"/>
                  </a:lnTo>
                  <a:lnTo>
                    <a:pt x="0" y="55"/>
                  </a:lnTo>
                  <a:lnTo>
                    <a:pt x="0" y="55"/>
                  </a:lnTo>
                  <a:lnTo>
                    <a:pt x="1" y="44"/>
                  </a:lnTo>
                  <a:lnTo>
                    <a:pt x="5" y="33"/>
                  </a:lnTo>
                  <a:lnTo>
                    <a:pt x="10" y="24"/>
                  </a:lnTo>
                  <a:lnTo>
                    <a:pt x="17" y="16"/>
                  </a:lnTo>
                  <a:lnTo>
                    <a:pt x="25" y="9"/>
                  </a:lnTo>
                  <a:lnTo>
                    <a:pt x="34" y="4"/>
                  </a:lnTo>
                  <a:lnTo>
                    <a:pt x="44" y="1"/>
                  </a:lnTo>
                  <a:lnTo>
                    <a:pt x="55" y="0"/>
                  </a:lnTo>
                  <a:lnTo>
                    <a:pt x="55" y="0"/>
                  </a:lnTo>
                  <a:close/>
                </a:path>
              </a:pathLst>
            </a:custGeom>
            <a:solidFill>
              <a:srgbClr val="004E78"/>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89" name="Freeform 1287"/>
            <p:cNvSpPr/>
            <p:nvPr/>
          </p:nvSpPr>
          <p:spPr bwMode="auto">
            <a:xfrm>
              <a:off x="636515" y="3788192"/>
              <a:ext cx="451122" cy="889885"/>
            </a:xfrm>
            <a:custGeom>
              <a:avLst/>
              <a:gdLst>
                <a:gd name="T0" fmla="*/ 1 w 220"/>
                <a:gd name="T1" fmla="*/ 0 h 433"/>
                <a:gd name="T2" fmla="*/ 219 w 220"/>
                <a:gd name="T3" fmla="*/ 0 h 433"/>
                <a:gd name="T4" fmla="*/ 219 w 220"/>
                <a:gd name="T5" fmla="*/ 0 h 433"/>
                <a:gd name="T6" fmla="*/ 220 w 220"/>
                <a:gd name="T7" fmla="*/ 1 h 433"/>
                <a:gd name="T8" fmla="*/ 220 w 220"/>
                <a:gd name="T9" fmla="*/ 432 h 433"/>
                <a:gd name="T10" fmla="*/ 220 w 220"/>
                <a:gd name="T11" fmla="*/ 432 h 433"/>
                <a:gd name="T12" fmla="*/ 219 w 220"/>
                <a:gd name="T13" fmla="*/ 433 h 433"/>
                <a:gd name="T14" fmla="*/ 1 w 220"/>
                <a:gd name="T15" fmla="*/ 433 h 433"/>
                <a:gd name="T16" fmla="*/ 1 w 220"/>
                <a:gd name="T17" fmla="*/ 433 h 433"/>
                <a:gd name="T18" fmla="*/ 0 w 220"/>
                <a:gd name="T19" fmla="*/ 432 h 433"/>
                <a:gd name="T20" fmla="*/ 0 w 220"/>
                <a:gd name="T21" fmla="*/ 1 h 433"/>
                <a:gd name="T22" fmla="*/ 0 w 220"/>
                <a:gd name="T23" fmla="*/ 1 h 433"/>
                <a:gd name="T24" fmla="*/ 1 w 220"/>
                <a:gd name="T25" fmla="*/ 0 h 433"/>
                <a:gd name="T26" fmla="*/ 1 w 220"/>
                <a:gd name="T27"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433">
                  <a:moveTo>
                    <a:pt x="1" y="0"/>
                  </a:moveTo>
                  <a:lnTo>
                    <a:pt x="219" y="0"/>
                  </a:lnTo>
                  <a:lnTo>
                    <a:pt x="219" y="0"/>
                  </a:lnTo>
                  <a:lnTo>
                    <a:pt x="220" y="1"/>
                  </a:lnTo>
                  <a:lnTo>
                    <a:pt x="220" y="432"/>
                  </a:lnTo>
                  <a:lnTo>
                    <a:pt x="220" y="432"/>
                  </a:lnTo>
                  <a:lnTo>
                    <a:pt x="219" y="433"/>
                  </a:lnTo>
                  <a:lnTo>
                    <a:pt x="1" y="433"/>
                  </a:lnTo>
                  <a:lnTo>
                    <a:pt x="1" y="433"/>
                  </a:lnTo>
                  <a:lnTo>
                    <a:pt x="0" y="432"/>
                  </a:lnTo>
                  <a:lnTo>
                    <a:pt x="0" y="1"/>
                  </a:lnTo>
                  <a:lnTo>
                    <a:pt x="0" y="1"/>
                  </a:lnTo>
                  <a:lnTo>
                    <a:pt x="1" y="0"/>
                  </a:ln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90" name="Freeform 1288"/>
            <p:cNvSpPr/>
            <p:nvPr/>
          </p:nvSpPr>
          <p:spPr bwMode="auto">
            <a:xfrm>
              <a:off x="772470" y="3726395"/>
              <a:ext cx="179214" cy="12359"/>
            </a:xfrm>
            <a:custGeom>
              <a:avLst/>
              <a:gdLst>
                <a:gd name="T0" fmla="*/ 4 w 89"/>
                <a:gd name="T1" fmla="*/ 0 h 8"/>
                <a:gd name="T2" fmla="*/ 85 w 89"/>
                <a:gd name="T3" fmla="*/ 0 h 8"/>
                <a:gd name="T4" fmla="*/ 85 w 89"/>
                <a:gd name="T5" fmla="*/ 0 h 8"/>
                <a:gd name="T6" fmla="*/ 87 w 89"/>
                <a:gd name="T7" fmla="*/ 0 h 8"/>
                <a:gd name="T8" fmla="*/ 88 w 89"/>
                <a:gd name="T9" fmla="*/ 1 h 8"/>
                <a:gd name="T10" fmla="*/ 89 w 89"/>
                <a:gd name="T11" fmla="*/ 2 h 8"/>
                <a:gd name="T12" fmla="*/ 89 w 89"/>
                <a:gd name="T13" fmla="*/ 4 h 8"/>
                <a:gd name="T14" fmla="*/ 89 w 89"/>
                <a:gd name="T15" fmla="*/ 4 h 8"/>
                <a:gd name="T16" fmla="*/ 89 w 89"/>
                <a:gd name="T17" fmla="*/ 5 h 8"/>
                <a:gd name="T18" fmla="*/ 88 w 89"/>
                <a:gd name="T19" fmla="*/ 6 h 8"/>
                <a:gd name="T20" fmla="*/ 87 w 89"/>
                <a:gd name="T21" fmla="*/ 7 h 8"/>
                <a:gd name="T22" fmla="*/ 85 w 89"/>
                <a:gd name="T23" fmla="*/ 8 h 8"/>
                <a:gd name="T24" fmla="*/ 4 w 89"/>
                <a:gd name="T25" fmla="*/ 8 h 8"/>
                <a:gd name="T26" fmla="*/ 4 w 89"/>
                <a:gd name="T27" fmla="*/ 8 h 8"/>
                <a:gd name="T28" fmla="*/ 3 w 89"/>
                <a:gd name="T29" fmla="*/ 7 h 8"/>
                <a:gd name="T30" fmla="*/ 2 w 89"/>
                <a:gd name="T31" fmla="*/ 6 h 8"/>
                <a:gd name="T32" fmla="*/ 1 w 89"/>
                <a:gd name="T33" fmla="*/ 5 h 8"/>
                <a:gd name="T34" fmla="*/ 0 w 89"/>
                <a:gd name="T35" fmla="*/ 4 h 8"/>
                <a:gd name="T36" fmla="*/ 0 w 89"/>
                <a:gd name="T37" fmla="*/ 4 h 8"/>
                <a:gd name="T38" fmla="*/ 1 w 89"/>
                <a:gd name="T39" fmla="*/ 2 h 8"/>
                <a:gd name="T40" fmla="*/ 2 w 89"/>
                <a:gd name="T41" fmla="*/ 1 h 8"/>
                <a:gd name="T42" fmla="*/ 3 w 89"/>
                <a:gd name="T43" fmla="*/ 0 h 8"/>
                <a:gd name="T44" fmla="*/ 4 w 89"/>
                <a:gd name="T45" fmla="*/ 0 h 8"/>
                <a:gd name="T46" fmla="*/ 4 w 89"/>
                <a:gd name="T4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 h="8">
                  <a:moveTo>
                    <a:pt x="4" y="0"/>
                  </a:moveTo>
                  <a:lnTo>
                    <a:pt x="85" y="0"/>
                  </a:lnTo>
                  <a:lnTo>
                    <a:pt x="85" y="0"/>
                  </a:lnTo>
                  <a:lnTo>
                    <a:pt x="87" y="0"/>
                  </a:lnTo>
                  <a:lnTo>
                    <a:pt x="88" y="1"/>
                  </a:lnTo>
                  <a:lnTo>
                    <a:pt x="89" y="2"/>
                  </a:lnTo>
                  <a:lnTo>
                    <a:pt x="89" y="4"/>
                  </a:lnTo>
                  <a:lnTo>
                    <a:pt x="89" y="4"/>
                  </a:lnTo>
                  <a:lnTo>
                    <a:pt x="89" y="5"/>
                  </a:lnTo>
                  <a:lnTo>
                    <a:pt x="88" y="6"/>
                  </a:lnTo>
                  <a:lnTo>
                    <a:pt x="87" y="7"/>
                  </a:lnTo>
                  <a:lnTo>
                    <a:pt x="85" y="8"/>
                  </a:lnTo>
                  <a:lnTo>
                    <a:pt x="4" y="8"/>
                  </a:lnTo>
                  <a:lnTo>
                    <a:pt x="4" y="8"/>
                  </a:lnTo>
                  <a:lnTo>
                    <a:pt x="3" y="7"/>
                  </a:lnTo>
                  <a:lnTo>
                    <a:pt x="2" y="6"/>
                  </a:lnTo>
                  <a:lnTo>
                    <a:pt x="1" y="5"/>
                  </a:lnTo>
                  <a:lnTo>
                    <a:pt x="0" y="4"/>
                  </a:lnTo>
                  <a:lnTo>
                    <a:pt x="0" y="4"/>
                  </a:lnTo>
                  <a:lnTo>
                    <a:pt x="1" y="2"/>
                  </a:lnTo>
                  <a:lnTo>
                    <a:pt x="2" y="1"/>
                  </a:lnTo>
                  <a:lnTo>
                    <a:pt x="3" y="0"/>
                  </a:lnTo>
                  <a:lnTo>
                    <a:pt x="4" y="0"/>
                  </a:lnTo>
                  <a:lnTo>
                    <a:pt x="4" y="0"/>
                  </a:lnTo>
                  <a:close/>
                </a:path>
              </a:pathLst>
            </a:custGeom>
            <a:solidFill>
              <a:srgbClr val="4899C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91" name="Freeform 1289"/>
            <p:cNvSpPr/>
            <p:nvPr/>
          </p:nvSpPr>
          <p:spPr bwMode="auto">
            <a:xfrm>
              <a:off x="834268" y="4702797"/>
              <a:ext cx="55618" cy="55618"/>
            </a:xfrm>
            <a:custGeom>
              <a:avLst/>
              <a:gdLst>
                <a:gd name="T0" fmla="*/ 14 w 27"/>
                <a:gd name="T1" fmla="*/ 0 h 28"/>
                <a:gd name="T2" fmla="*/ 14 w 27"/>
                <a:gd name="T3" fmla="*/ 0 h 28"/>
                <a:gd name="T4" fmla="*/ 19 w 27"/>
                <a:gd name="T5" fmla="*/ 1 h 28"/>
                <a:gd name="T6" fmla="*/ 23 w 27"/>
                <a:gd name="T7" fmla="*/ 4 h 28"/>
                <a:gd name="T8" fmla="*/ 26 w 27"/>
                <a:gd name="T9" fmla="*/ 8 h 28"/>
                <a:gd name="T10" fmla="*/ 27 w 27"/>
                <a:gd name="T11" fmla="*/ 14 h 28"/>
                <a:gd name="T12" fmla="*/ 27 w 27"/>
                <a:gd name="T13" fmla="*/ 14 h 28"/>
                <a:gd name="T14" fmla="*/ 26 w 27"/>
                <a:gd name="T15" fmla="*/ 20 h 28"/>
                <a:gd name="T16" fmla="*/ 23 w 27"/>
                <a:gd name="T17" fmla="*/ 24 h 28"/>
                <a:gd name="T18" fmla="*/ 19 w 27"/>
                <a:gd name="T19" fmla="*/ 27 h 28"/>
                <a:gd name="T20" fmla="*/ 14 w 27"/>
                <a:gd name="T21" fmla="*/ 28 h 28"/>
                <a:gd name="T22" fmla="*/ 14 w 27"/>
                <a:gd name="T23" fmla="*/ 28 h 28"/>
                <a:gd name="T24" fmla="*/ 9 w 27"/>
                <a:gd name="T25" fmla="*/ 27 h 28"/>
                <a:gd name="T26" fmla="*/ 4 w 27"/>
                <a:gd name="T27" fmla="*/ 24 h 28"/>
                <a:gd name="T28" fmla="*/ 1 w 27"/>
                <a:gd name="T29" fmla="*/ 20 h 28"/>
                <a:gd name="T30" fmla="*/ 0 w 27"/>
                <a:gd name="T31" fmla="*/ 14 h 28"/>
                <a:gd name="T32" fmla="*/ 0 w 27"/>
                <a:gd name="T33" fmla="*/ 14 h 28"/>
                <a:gd name="T34" fmla="*/ 1 w 27"/>
                <a:gd name="T35" fmla="*/ 8 h 28"/>
                <a:gd name="T36" fmla="*/ 4 w 27"/>
                <a:gd name="T37" fmla="*/ 4 h 28"/>
                <a:gd name="T38" fmla="*/ 9 w 27"/>
                <a:gd name="T39" fmla="*/ 1 h 28"/>
                <a:gd name="T40" fmla="*/ 14 w 27"/>
                <a:gd name="T41" fmla="*/ 0 h 28"/>
                <a:gd name="T42" fmla="*/ 14 w 27"/>
                <a:gd name="T4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8">
                  <a:moveTo>
                    <a:pt x="14" y="0"/>
                  </a:moveTo>
                  <a:lnTo>
                    <a:pt x="14" y="0"/>
                  </a:lnTo>
                  <a:lnTo>
                    <a:pt x="19" y="1"/>
                  </a:lnTo>
                  <a:lnTo>
                    <a:pt x="23" y="4"/>
                  </a:lnTo>
                  <a:lnTo>
                    <a:pt x="26" y="8"/>
                  </a:lnTo>
                  <a:lnTo>
                    <a:pt x="27" y="14"/>
                  </a:lnTo>
                  <a:lnTo>
                    <a:pt x="27" y="14"/>
                  </a:lnTo>
                  <a:lnTo>
                    <a:pt x="26" y="20"/>
                  </a:lnTo>
                  <a:lnTo>
                    <a:pt x="23" y="24"/>
                  </a:lnTo>
                  <a:lnTo>
                    <a:pt x="19" y="27"/>
                  </a:lnTo>
                  <a:lnTo>
                    <a:pt x="14" y="28"/>
                  </a:lnTo>
                  <a:lnTo>
                    <a:pt x="14" y="28"/>
                  </a:lnTo>
                  <a:lnTo>
                    <a:pt x="9" y="27"/>
                  </a:lnTo>
                  <a:lnTo>
                    <a:pt x="4" y="24"/>
                  </a:lnTo>
                  <a:lnTo>
                    <a:pt x="1" y="20"/>
                  </a:lnTo>
                  <a:lnTo>
                    <a:pt x="0" y="14"/>
                  </a:lnTo>
                  <a:lnTo>
                    <a:pt x="0" y="14"/>
                  </a:lnTo>
                  <a:lnTo>
                    <a:pt x="1" y="8"/>
                  </a:lnTo>
                  <a:lnTo>
                    <a:pt x="4" y="4"/>
                  </a:lnTo>
                  <a:lnTo>
                    <a:pt x="9" y="1"/>
                  </a:lnTo>
                  <a:lnTo>
                    <a:pt x="14" y="0"/>
                  </a:lnTo>
                  <a:lnTo>
                    <a:pt x="14" y="0"/>
                  </a:lnTo>
                  <a:close/>
                </a:path>
              </a:pathLst>
            </a:custGeom>
            <a:solidFill>
              <a:srgbClr val="4899C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92" name="Freeform 1290"/>
            <p:cNvSpPr/>
            <p:nvPr/>
          </p:nvSpPr>
          <p:spPr bwMode="auto">
            <a:xfrm>
              <a:off x="1069099" y="4399988"/>
              <a:ext cx="216292" cy="216292"/>
            </a:xfrm>
            <a:custGeom>
              <a:avLst/>
              <a:gdLst>
                <a:gd name="T0" fmla="*/ 97 w 106"/>
                <a:gd name="T1" fmla="*/ 9 h 105"/>
                <a:gd name="T2" fmla="*/ 97 w 106"/>
                <a:gd name="T3" fmla="*/ 9 h 105"/>
                <a:gd name="T4" fmla="*/ 97 w 106"/>
                <a:gd name="T5" fmla="*/ 9 h 105"/>
                <a:gd name="T6" fmla="*/ 101 w 106"/>
                <a:gd name="T7" fmla="*/ 14 h 105"/>
                <a:gd name="T8" fmla="*/ 104 w 106"/>
                <a:gd name="T9" fmla="*/ 20 h 105"/>
                <a:gd name="T10" fmla="*/ 105 w 106"/>
                <a:gd name="T11" fmla="*/ 26 h 105"/>
                <a:gd name="T12" fmla="*/ 106 w 106"/>
                <a:gd name="T13" fmla="*/ 32 h 105"/>
                <a:gd name="T14" fmla="*/ 105 w 106"/>
                <a:gd name="T15" fmla="*/ 38 h 105"/>
                <a:gd name="T16" fmla="*/ 103 w 106"/>
                <a:gd name="T17" fmla="*/ 44 h 105"/>
                <a:gd name="T18" fmla="*/ 101 w 106"/>
                <a:gd name="T19" fmla="*/ 49 h 105"/>
                <a:gd name="T20" fmla="*/ 96 w 106"/>
                <a:gd name="T21" fmla="*/ 54 h 105"/>
                <a:gd name="T22" fmla="*/ 54 w 106"/>
                <a:gd name="T23" fmla="*/ 96 h 105"/>
                <a:gd name="T24" fmla="*/ 54 w 106"/>
                <a:gd name="T25" fmla="*/ 96 h 105"/>
                <a:gd name="T26" fmla="*/ 49 w 106"/>
                <a:gd name="T27" fmla="*/ 100 h 105"/>
                <a:gd name="T28" fmla="*/ 43 w 106"/>
                <a:gd name="T29" fmla="*/ 103 h 105"/>
                <a:gd name="T30" fmla="*/ 37 w 106"/>
                <a:gd name="T31" fmla="*/ 104 h 105"/>
                <a:gd name="T32" fmla="*/ 31 w 106"/>
                <a:gd name="T33" fmla="*/ 105 h 105"/>
                <a:gd name="T34" fmla="*/ 25 w 106"/>
                <a:gd name="T35" fmla="*/ 104 h 105"/>
                <a:gd name="T36" fmla="*/ 19 w 106"/>
                <a:gd name="T37" fmla="*/ 103 h 105"/>
                <a:gd name="T38" fmla="*/ 14 w 106"/>
                <a:gd name="T39" fmla="*/ 100 h 105"/>
                <a:gd name="T40" fmla="*/ 9 w 106"/>
                <a:gd name="T41" fmla="*/ 96 h 105"/>
                <a:gd name="T42" fmla="*/ 9 w 106"/>
                <a:gd name="T43" fmla="*/ 96 h 105"/>
                <a:gd name="T44" fmla="*/ 5 w 106"/>
                <a:gd name="T45" fmla="*/ 91 h 105"/>
                <a:gd name="T46" fmla="*/ 2 w 106"/>
                <a:gd name="T47" fmla="*/ 85 h 105"/>
                <a:gd name="T48" fmla="*/ 0 w 106"/>
                <a:gd name="T49" fmla="*/ 79 h 105"/>
                <a:gd name="T50" fmla="*/ 0 w 106"/>
                <a:gd name="T51" fmla="*/ 73 h 105"/>
                <a:gd name="T52" fmla="*/ 0 w 106"/>
                <a:gd name="T53" fmla="*/ 67 h 105"/>
                <a:gd name="T54" fmla="*/ 2 w 106"/>
                <a:gd name="T55" fmla="*/ 61 h 105"/>
                <a:gd name="T56" fmla="*/ 5 w 106"/>
                <a:gd name="T57" fmla="*/ 56 h 105"/>
                <a:gd name="T58" fmla="*/ 9 w 106"/>
                <a:gd name="T59" fmla="*/ 51 h 105"/>
                <a:gd name="T60" fmla="*/ 51 w 106"/>
                <a:gd name="T61" fmla="*/ 9 h 105"/>
                <a:gd name="T62" fmla="*/ 51 w 106"/>
                <a:gd name="T63" fmla="*/ 9 h 105"/>
                <a:gd name="T64" fmla="*/ 56 w 106"/>
                <a:gd name="T65" fmla="*/ 5 h 105"/>
                <a:gd name="T66" fmla="*/ 61 w 106"/>
                <a:gd name="T67" fmla="*/ 2 h 105"/>
                <a:gd name="T68" fmla="*/ 67 w 106"/>
                <a:gd name="T69" fmla="*/ 1 h 105"/>
                <a:gd name="T70" fmla="*/ 73 w 106"/>
                <a:gd name="T71" fmla="*/ 0 h 105"/>
                <a:gd name="T72" fmla="*/ 79 w 106"/>
                <a:gd name="T73" fmla="*/ 1 h 105"/>
                <a:gd name="T74" fmla="*/ 86 w 106"/>
                <a:gd name="T75" fmla="*/ 2 h 105"/>
                <a:gd name="T76" fmla="*/ 92 w 106"/>
                <a:gd name="T77" fmla="*/ 5 h 105"/>
                <a:gd name="T78" fmla="*/ 97 w 106"/>
                <a:gd name="T79" fmla="*/ 9 h 105"/>
                <a:gd name="T80" fmla="*/ 97 w 106"/>
                <a:gd name="T81"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105">
                  <a:moveTo>
                    <a:pt x="97" y="9"/>
                  </a:moveTo>
                  <a:lnTo>
                    <a:pt x="97" y="9"/>
                  </a:lnTo>
                  <a:lnTo>
                    <a:pt x="97" y="9"/>
                  </a:lnTo>
                  <a:lnTo>
                    <a:pt x="101" y="14"/>
                  </a:lnTo>
                  <a:lnTo>
                    <a:pt x="104" y="20"/>
                  </a:lnTo>
                  <a:lnTo>
                    <a:pt x="105" y="26"/>
                  </a:lnTo>
                  <a:lnTo>
                    <a:pt x="106" y="32"/>
                  </a:lnTo>
                  <a:lnTo>
                    <a:pt x="105" y="38"/>
                  </a:lnTo>
                  <a:lnTo>
                    <a:pt x="103" y="44"/>
                  </a:lnTo>
                  <a:lnTo>
                    <a:pt x="101" y="49"/>
                  </a:lnTo>
                  <a:lnTo>
                    <a:pt x="96" y="54"/>
                  </a:lnTo>
                  <a:lnTo>
                    <a:pt x="54" y="96"/>
                  </a:lnTo>
                  <a:lnTo>
                    <a:pt x="54" y="96"/>
                  </a:lnTo>
                  <a:lnTo>
                    <a:pt x="49" y="100"/>
                  </a:lnTo>
                  <a:lnTo>
                    <a:pt x="43" y="103"/>
                  </a:lnTo>
                  <a:lnTo>
                    <a:pt x="37" y="104"/>
                  </a:lnTo>
                  <a:lnTo>
                    <a:pt x="31" y="105"/>
                  </a:lnTo>
                  <a:lnTo>
                    <a:pt x="25" y="104"/>
                  </a:lnTo>
                  <a:lnTo>
                    <a:pt x="19" y="103"/>
                  </a:lnTo>
                  <a:lnTo>
                    <a:pt x="14" y="100"/>
                  </a:lnTo>
                  <a:lnTo>
                    <a:pt x="9" y="96"/>
                  </a:lnTo>
                  <a:lnTo>
                    <a:pt x="9" y="96"/>
                  </a:lnTo>
                  <a:lnTo>
                    <a:pt x="5" y="91"/>
                  </a:lnTo>
                  <a:lnTo>
                    <a:pt x="2" y="85"/>
                  </a:lnTo>
                  <a:lnTo>
                    <a:pt x="0" y="79"/>
                  </a:lnTo>
                  <a:lnTo>
                    <a:pt x="0" y="73"/>
                  </a:lnTo>
                  <a:lnTo>
                    <a:pt x="0" y="67"/>
                  </a:lnTo>
                  <a:lnTo>
                    <a:pt x="2" y="61"/>
                  </a:lnTo>
                  <a:lnTo>
                    <a:pt x="5" y="56"/>
                  </a:lnTo>
                  <a:lnTo>
                    <a:pt x="9" y="51"/>
                  </a:lnTo>
                  <a:lnTo>
                    <a:pt x="51" y="9"/>
                  </a:lnTo>
                  <a:lnTo>
                    <a:pt x="51" y="9"/>
                  </a:lnTo>
                  <a:lnTo>
                    <a:pt x="56" y="5"/>
                  </a:lnTo>
                  <a:lnTo>
                    <a:pt x="61" y="2"/>
                  </a:lnTo>
                  <a:lnTo>
                    <a:pt x="67" y="1"/>
                  </a:lnTo>
                  <a:lnTo>
                    <a:pt x="73" y="0"/>
                  </a:lnTo>
                  <a:lnTo>
                    <a:pt x="79" y="1"/>
                  </a:lnTo>
                  <a:lnTo>
                    <a:pt x="86" y="2"/>
                  </a:lnTo>
                  <a:lnTo>
                    <a:pt x="92" y="5"/>
                  </a:lnTo>
                  <a:lnTo>
                    <a:pt x="97" y="9"/>
                  </a:lnTo>
                  <a:lnTo>
                    <a:pt x="97" y="9"/>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93" name="Freeform 1291"/>
            <p:cNvSpPr/>
            <p:nvPr/>
          </p:nvSpPr>
          <p:spPr bwMode="auto">
            <a:xfrm>
              <a:off x="1093817" y="4183697"/>
              <a:ext cx="203932" cy="203932"/>
            </a:xfrm>
            <a:custGeom>
              <a:avLst/>
              <a:gdLst>
                <a:gd name="T0" fmla="*/ 91 w 100"/>
                <a:gd name="T1" fmla="*/ 10 h 99"/>
                <a:gd name="T2" fmla="*/ 91 w 100"/>
                <a:gd name="T3" fmla="*/ 10 h 99"/>
                <a:gd name="T4" fmla="*/ 91 w 100"/>
                <a:gd name="T5" fmla="*/ 10 h 99"/>
                <a:gd name="T6" fmla="*/ 95 w 100"/>
                <a:gd name="T7" fmla="*/ 15 h 99"/>
                <a:gd name="T8" fmla="*/ 98 w 100"/>
                <a:gd name="T9" fmla="*/ 20 h 99"/>
                <a:gd name="T10" fmla="*/ 99 w 100"/>
                <a:gd name="T11" fmla="*/ 26 h 99"/>
                <a:gd name="T12" fmla="*/ 100 w 100"/>
                <a:gd name="T13" fmla="*/ 32 h 99"/>
                <a:gd name="T14" fmla="*/ 99 w 100"/>
                <a:gd name="T15" fmla="*/ 38 h 99"/>
                <a:gd name="T16" fmla="*/ 97 w 100"/>
                <a:gd name="T17" fmla="*/ 44 h 99"/>
                <a:gd name="T18" fmla="*/ 94 w 100"/>
                <a:gd name="T19" fmla="*/ 49 h 99"/>
                <a:gd name="T20" fmla="*/ 90 w 100"/>
                <a:gd name="T21" fmla="*/ 54 h 99"/>
                <a:gd name="T22" fmla="*/ 54 w 100"/>
                <a:gd name="T23" fmla="*/ 90 h 99"/>
                <a:gd name="T24" fmla="*/ 54 w 100"/>
                <a:gd name="T25" fmla="*/ 90 h 99"/>
                <a:gd name="T26" fmla="*/ 49 w 100"/>
                <a:gd name="T27" fmla="*/ 94 h 99"/>
                <a:gd name="T28" fmla="*/ 43 w 100"/>
                <a:gd name="T29" fmla="*/ 97 h 99"/>
                <a:gd name="T30" fmla="*/ 37 w 100"/>
                <a:gd name="T31" fmla="*/ 98 h 99"/>
                <a:gd name="T32" fmla="*/ 31 w 100"/>
                <a:gd name="T33" fmla="*/ 99 h 99"/>
                <a:gd name="T34" fmla="*/ 25 w 100"/>
                <a:gd name="T35" fmla="*/ 98 h 99"/>
                <a:gd name="T36" fmla="*/ 19 w 100"/>
                <a:gd name="T37" fmla="*/ 97 h 99"/>
                <a:gd name="T38" fmla="*/ 14 w 100"/>
                <a:gd name="T39" fmla="*/ 94 h 99"/>
                <a:gd name="T40" fmla="*/ 9 w 100"/>
                <a:gd name="T41" fmla="*/ 90 h 99"/>
                <a:gd name="T42" fmla="*/ 9 w 100"/>
                <a:gd name="T43" fmla="*/ 90 h 99"/>
                <a:gd name="T44" fmla="*/ 5 w 100"/>
                <a:gd name="T45" fmla="*/ 85 h 99"/>
                <a:gd name="T46" fmla="*/ 2 w 100"/>
                <a:gd name="T47" fmla="*/ 79 h 99"/>
                <a:gd name="T48" fmla="*/ 0 w 100"/>
                <a:gd name="T49" fmla="*/ 73 h 99"/>
                <a:gd name="T50" fmla="*/ 0 w 100"/>
                <a:gd name="T51" fmla="*/ 67 h 99"/>
                <a:gd name="T52" fmla="*/ 0 w 100"/>
                <a:gd name="T53" fmla="*/ 61 h 99"/>
                <a:gd name="T54" fmla="*/ 2 w 100"/>
                <a:gd name="T55" fmla="*/ 55 h 99"/>
                <a:gd name="T56" fmla="*/ 5 w 100"/>
                <a:gd name="T57" fmla="*/ 50 h 99"/>
                <a:gd name="T58" fmla="*/ 9 w 100"/>
                <a:gd name="T59" fmla="*/ 45 h 99"/>
                <a:gd name="T60" fmla="*/ 45 w 100"/>
                <a:gd name="T61" fmla="*/ 9 h 99"/>
                <a:gd name="T62" fmla="*/ 45 w 100"/>
                <a:gd name="T63" fmla="*/ 9 h 99"/>
                <a:gd name="T64" fmla="*/ 50 w 100"/>
                <a:gd name="T65" fmla="*/ 5 h 99"/>
                <a:gd name="T66" fmla="*/ 55 w 100"/>
                <a:gd name="T67" fmla="*/ 3 h 99"/>
                <a:gd name="T68" fmla="*/ 61 w 100"/>
                <a:gd name="T69" fmla="*/ 1 h 99"/>
                <a:gd name="T70" fmla="*/ 67 w 100"/>
                <a:gd name="T71" fmla="*/ 0 h 99"/>
                <a:gd name="T72" fmla="*/ 74 w 100"/>
                <a:gd name="T73" fmla="*/ 1 h 99"/>
                <a:gd name="T74" fmla="*/ 80 w 100"/>
                <a:gd name="T75" fmla="*/ 3 h 99"/>
                <a:gd name="T76" fmla="*/ 86 w 100"/>
                <a:gd name="T77" fmla="*/ 6 h 99"/>
                <a:gd name="T78" fmla="*/ 91 w 100"/>
                <a:gd name="T79" fmla="*/ 10 h 99"/>
                <a:gd name="T80" fmla="*/ 91 w 100"/>
                <a:gd name="T81" fmla="*/ 1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99">
                  <a:moveTo>
                    <a:pt x="91" y="10"/>
                  </a:moveTo>
                  <a:lnTo>
                    <a:pt x="91" y="10"/>
                  </a:lnTo>
                  <a:lnTo>
                    <a:pt x="91" y="10"/>
                  </a:lnTo>
                  <a:lnTo>
                    <a:pt x="95" y="15"/>
                  </a:lnTo>
                  <a:lnTo>
                    <a:pt x="98" y="20"/>
                  </a:lnTo>
                  <a:lnTo>
                    <a:pt x="99" y="26"/>
                  </a:lnTo>
                  <a:lnTo>
                    <a:pt x="100" y="32"/>
                  </a:lnTo>
                  <a:lnTo>
                    <a:pt x="99" y="38"/>
                  </a:lnTo>
                  <a:lnTo>
                    <a:pt x="97" y="44"/>
                  </a:lnTo>
                  <a:lnTo>
                    <a:pt x="94" y="49"/>
                  </a:lnTo>
                  <a:lnTo>
                    <a:pt x="90" y="54"/>
                  </a:lnTo>
                  <a:lnTo>
                    <a:pt x="54" y="90"/>
                  </a:lnTo>
                  <a:lnTo>
                    <a:pt x="54" y="90"/>
                  </a:lnTo>
                  <a:lnTo>
                    <a:pt x="49" y="94"/>
                  </a:lnTo>
                  <a:lnTo>
                    <a:pt x="43" y="97"/>
                  </a:lnTo>
                  <a:lnTo>
                    <a:pt x="37" y="98"/>
                  </a:lnTo>
                  <a:lnTo>
                    <a:pt x="31" y="99"/>
                  </a:lnTo>
                  <a:lnTo>
                    <a:pt x="25" y="98"/>
                  </a:lnTo>
                  <a:lnTo>
                    <a:pt x="19" y="97"/>
                  </a:lnTo>
                  <a:lnTo>
                    <a:pt x="14" y="94"/>
                  </a:lnTo>
                  <a:lnTo>
                    <a:pt x="9" y="90"/>
                  </a:lnTo>
                  <a:lnTo>
                    <a:pt x="9" y="90"/>
                  </a:lnTo>
                  <a:lnTo>
                    <a:pt x="5" y="85"/>
                  </a:lnTo>
                  <a:lnTo>
                    <a:pt x="2" y="79"/>
                  </a:lnTo>
                  <a:lnTo>
                    <a:pt x="0" y="73"/>
                  </a:lnTo>
                  <a:lnTo>
                    <a:pt x="0" y="67"/>
                  </a:lnTo>
                  <a:lnTo>
                    <a:pt x="0" y="61"/>
                  </a:lnTo>
                  <a:lnTo>
                    <a:pt x="2" y="55"/>
                  </a:lnTo>
                  <a:lnTo>
                    <a:pt x="5" y="50"/>
                  </a:lnTo>
                  <a:lnTo>
                    <a:pt x="9" y="45"/>
                  </a:lnTo>
                  <a:lnTo>
                    <a:pt x="45" y="9"/>
                  </a:lnTo>
                  <a:lnTo>
                    <a:pt x="45" y="9"/>
                  </a:lnTo>
                  <a:lnTo>
                    <a:pt x="50" y="5"/>
                  </a:lnTo>
                  <a:lnTo>
                    <a:pt x="55" y="3"/>
                  </a:lnTo>
                  <a:lnTo>
                    <a:pt x="61" y="1"/>
                  </a:lnTo>
                  <a:lnTo>
                    <a:pt x="67" y="0"/>
                  </a:lnTo>
                  <a:lnTo>
                    <a:pt x="74" y="1"/>
                  </a:lnTo>
                  <a:lnTo>
                    <a:pt x="80" y="3"/>
                  </a:lnTo>
                  <a:lnTo>
                    <a:pt x="86" y="6"/>
                  </a:lnTo>
                  <a:lnTo>
                    <a:pt x="91" y="10"/>
                  </a:lnTo>
                  <a:lnTo>
                    <a:pt x="91" y="10"/>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94" name="Freeform 1292"/>
            <p:cNvSpPr/>
            <p:nvPr/>
          </p:nvSpPr>
          <p:spPr bwMode="auto">
            <a:xfrm>
              <a:off x="339887" y="4974706"/>
              <a:ext cx="494380" cy="210111"/>
            </a:xfrm>
            <a:custGeom>
              <a:avLst/>
              <a:gdLst>
                <a:gd name="T0" fmla="*/ 25 w 242"/>
                <a:gd name="T1" fmla="*/ 0 h 102"/>
                <a:gd name="T2" fmla="*/ 242 w 242"/>
                <a:gd name="T3" fmla="*/ 43 h 102"/>
                <a:gd name="T4" fmla="*/ 231 w 242"/>
                <a:gd name="T5" fmla="*/ 102 h 102"/>
                <a:gd name="T6" fmla="*/ 0 w 242"/>
                <a:gd name="T7" fmla="*/ 102 h 102"/>
                <a:gd name="T8" fmla="*/ 25 w 242"/>
                <a:gd name="T9" fmla="*/ 0 h 102"/>
              </a:gdLst>
              <a:ahLst/>
              <a:cxnLst>
                <a:cxn ang="0">
                  <a:pos x="T0" y="T1"/>
                </a:cxn>
                <a:cxn ang="0">
                  <a:pos x="T2" y="T3"/>
                </a:cxn>
                <a:cxn ang="0">
                  <a:pos x="T4" y="T5"/>
                </a:cxn>
                <a:cxn ang="0">
                  <a:pos x="T6" y="T7"/>
                </a:cxn>
                <a:cxn ang="0">
                  <a:pos x="T8" y="T9"/>
                </a:cxn>
              </a:cxnLst>
              <a:rect l="0" t="0" r="r" b="b"/>
              <a:pathLst>
                <a:path w="242" h="102">
                  <a:moveTo>
                    <a:pt x="25" y="0"/>
                  </a:moveTo>
                  <a:lnTo>
                    <a:pt x="242" y="43"/>
                  </a:lnTo>
                  <a:lnTo>
                    <a:pt x="231" y="102"/>
                  </a:lnTo>
                  <a:lnTo>
                    <a:pt x="0" y="102"/>
                  </a:lnTo>
                  <a:lnTo>
                    <a:pt x="25" y="0"/>
                  </a:lnTo>
                  <a:close/>
                </a:path>
              </a:pathLst>
            </a:custGeom>
            <a:solidFill>
              <a:srgbClr val="CAEAFC"/>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95" name="Freeform 1293"/>
            <p:cNvSpPr/>
            <p:nvPr/>
          </p:nvSpPr>
          <p:spPr bwMode="auto">
            <a:xfrm>
              <a:off x="444942" y="4183697"/>
              <a:ext cx="166853" cy="648875"/>
            </a:xfrm>
            <a:custGeom>
              <a:avLst/>
              <a:gdLst>
                <a:gd name="T0" fmla="*/ 33 w 82"/>
                <a:gd name="T1" fmla="*/ 310 h 314"/>
                <a:gd name="T2" fmla="*/ 55 w 82"/>
                <a:gd name="T3" fmla="*/ 314 h 314"/>
                <a:gd name="T4" fmla="*/ 58 w 82"/>
                <a:gd name="T5" fmla="*/ 286 h 314"/>
                <a:gd name="T6" fmla="*/ 81 w 82"/>
                <a:gd name="T7" fmla="*/ 64 h 314"/>
                <a:gd name="T8" fmla="*/ 81 w 82"/>
                <a:gd name="T9" fmla="*/ 64 h 314"/>
                <a:gd name="T10" fmla="*/ 82 w 82"/>
                <a:gd name="T11" fmla="*/ 50 h 314"/>
                <a:gd name="T12" fmla="*/ 80 w 82"/>
                <a:gd name="T13" fmla="*/ 39 h 314"/>
                <a:gd name="T14" fmla="*/ 77 w 82"/>
                <a:gd name="T15" fmla="*/ 30 h 314"/>
                <a:gd name="T16" fmla="*/ 73 w 82"/>
                <a:gd name="T17" fmla="*/ 22 h 314"/>
                <a:gd name="T18" fmla="*/ 67 w 82"/>
                <a:gd name="T19" fmla="*/ 16 h 314"/>
                <a:gd name="T20" fmla="*/ 60 w 82"/>
                <a:gd name="T21" fmla="*/ 11 h 314"/>
                <a:gd name="T22" fmla="*/ 52 w 82"/>
                <a:gd name="T23" fmla="*/ 7 h 314"/>
                <a:gd name="T24" fmla="*/ 44 w 82"/>
                <a:gd name="T25" fmla="*/ 4 h 314"/>
                <a:gd name="T26" fmla="*/ 44 w 82"/>
                <a:gd name="T27" fmla="*/ 4 h 314"/>
                <a:gd name="T28" fmla="*/ 36 w 82"/>
                <a:gd name="T29" fmla="*/ 1 h 314"/>
                <a:gd name="T30" fmla="*/ 31 w 82"/>
                <a:gd name="T31" fmla="*/ 0 h 314"/>
                <a:gd name="T32" fmla="*/ 30 w 82"/>
                <a:gd name="T33" fmla="*/ 0 h 314"/>
                <a:gd name="T34" fmla="*/ 28 w 82"/>
                <a:gd name="T35" fmla="*/ 2 h 314"/>
                <a:gd name="T36" fmla="*/ 27 w 82"/>
                <a:gd name="T37" fmla="*/ 8 h 314"/>
                <a:gd name="T38" fmla="*/ 0 w 82"/>
                <a:gd name="T39" fmla="*/ 261 h 314"/>
                <a:gd name="T40" fmla="*/ 0 w 82"/>
                <a:gd name="T41" fmla="*/ 261 h 314"/>
                <a:gd name="T42" fmla="*/ 0 w 82"/>
                <a:gd name="T43" fmla="*/ 271 h 314"/>
                <a:gd name="T44" fmla="*/ 1 w 82"/>
                <a:gd name="T45" fmla="*/ 278 h 314"/>
                <a:gd name="T46" fmla="*/ 4 w 82"/>
                <a:gd name="T47" fmla="*/ 286 h 314"/>
                <a:gd name="T48" fmla="*/ 8 w 82"/>
                <a:gd name="T49" fmla="*/ 293 h 314"/>
                <a:gd name="T50" fmla="*/ 13 w 82"/>
                <a:gd name="T51" fmla="*/ 299 h 314"/>
                <a:gd name="T52" fmla="*/ 19 w 82"/>
                <a:gd name="T53" fmla="*/ 304 h 314"/>
                <a:gd name="T54" fmla="*/ 26 w 82"/>
                <a:gd name="T55" fmla="*/ 307 h 314"/>
                <a:gd name="T56" fmla="*/ 33 w 82"/>
                <a:gd name="T57" fmla="*/ 310 h 314"/>
                <a:gd name="T58" fmla="*/ 33 w 82"/>
                <a:gd name="T59" fmla="*/ 31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 h="314">
                  <a:moveTo>
                    <a:pt x="33" y="310"/>
                  </a:moveTo>
                  <a:lnTo>
                    <a:pt x="55" y="314"/>
                  </a:lnTo>
                  <a:lnTo>
                    <a:pt x="58" y="286"/>
                  </a:lnTo>
                  <a:lnTo>
                    <a:pt x="81" y="64"/>
                  </a:lnTo>
                  <a:lnTo>
                    <a:pt x="81" y="64"/>
                  </a:lnTo>
                  <a:lnTo>
                    <a:pt x="82" y="50"/>
                  </a:lnTo>
                  <a:lnTo>
                    <a:pt x="80" y="39"/>
                  </a:lnTo>
                  <a:lnTo>
                    <a:pt x="77" y="30"/>
                  </a:lnTo>
                  <a:lnTo>
                    <a:pt x="73" y="22"/>
                  </a:lnTo>
                  <a:lnTo>
                    <a:pt x="67" y="16"/>
                  </a:lnTo>
                  <a:lnTo>
                    <a:pt x="60" y="11"/>
                  </a:lnTo>
                  <a:lnTo>
                    <a:pt x="52" y="7"/>
                  </a:lnTo>
                  <a:lnTo>
                    <a:pt x="44" y="4"/>
                  </a:lnTo>
                  <a:lnTo>
                    <a:pt x="44" y="4"/>
                  </a:lnTo>
                  <a:lnTo>
                    <a:pt x="36" y="1"/>
                  </a:lnTo>
                  <a:lnTo>
                    <a:pt x="31" y="0"/>
                  </a:lnTo>
                  <a:lnTo>
                    <a:pt x="30" y="0"/>
                  </a:lnTo>
                  <a:lnTo>
                    <a:pt x="28" y="2"/>
                  </a:lnTo>
                  <a:lnTo>
                    <a:pt x="27" y="8"/>
                  </a:lnTo>
                  <a:lnTo>
                    <a:pt x="0" y="261"/>
                  </a:lnTo>
                  <a:lnTo>
                    <a:pt x="0" y="261"/>
                  </a:lnTo>
                  <a:lnTo>
                    <a:pt x="0" y="271"/>
                  </a:lnTo>
                  <a:lnTo>
                    <a:pt x="1" y="278"/>
                  </a:lnTo>
                  <a:lnTo>
                    <a:pt x="4" y="286"/>
                  </a:lnTo>
                  <a:lnTo>
                    <a:pt x="8" y="293"/>
                  </a:lnTo>
                  <a:lnTo>
                    <a:pt x="13" y="299"/>
                  </a:lnTo>
                  <a:lnTo>
                    <a:pt x="19" y="304"/>
                  </a:lnTo>
                  <a:lnTo>
                    <a:pt x="26" y="307"/>
                  </a:lnTo>
                  <a:lnTo>
                    <a:pt x="33" y="310"/>
                  </a:lnTo>
                  <a:lnTo>
                    <a:pt x="33" y="310"/>
                  </a:lnTo>
                  <a:close/>
                </a:path>
              </a:pathLst>
            </a:custGeom>
            <a:solidFill>
              <a:srgbClr val="FFD7B7"/>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96" name="Freeform 1294"/>
            <p:cNvSpPr/>
            <p:nvPr/>
          </p:nvSpPr>
          <p:spPr bwMode="auto">
            <a:xfrm>
              <a:off x="1106178" y="4257854"/>
              <a:ext cx="111235" cy="117416"/>
            </a:xfrm>
            <a:custGeom>
              <a:avLst/>
              <a:gdLst>
                <a:gd name="T0" fmla="*/ 8 w 55"/>
                <a:gd name="T1" fmla="*/ 10 h 56"/>
                <a:gd name="T2" fmla="*/ 18 w 55"/>
                <a:gd name="T3" fmla="*/ 0 h 56"/>
                <a:gd name="T4" fmla="*/ 18 w 55"/>
                <a:gd name="T5" fmla="*/ 0 h 56"/>
                <a:gd name="T6" fmla="*/ 26 w 55"/>
                <a:gd name="T7" fmla="*/ 2 h 56"/>
                <a:gd name="T8" fmla="*/ 33 w 55"/>
                <a:gd name="T9" fmla="*/ 4 h 56"/>
                <a:gd name="T10" fmla="*/ 39 w 55"/>
                <a:gd name="T11" fmla="*/ 8 h 56"/>
                <a:gd name="T12" fmla="*/ 44 w 55"/>
                <a:gd name="T13" fmla="*/ 12 h 56"/>
                <a:gd name="T14" fmla="*/ 48 w 55"/>
                <a:gd name="T15" fmla="*/ 17 h 56"/>
                <a:gd name="T16" fmla="*/ 51 w 55"/>
                <a:gd name="T17" fmla="*/ 23 h 56"/>
                <a:gd name="T18" fmla="*/ 54 w 55"/>
                <a:gd name="T19" fmla="*/ 30 h 56"/>
                <a:gd name="T20" fmla="*/ 55 w 55"/>
                <a:gd name="T21" fmla="*/ 37 h 56"/>
                <a:gd name="T22" fmla="*/ 45 w 55"/>
                <a:gd name="T23" fmla="*/ 48 h 56"/>
                <a:gd name="T24" fmla="*/ 45 w 55"/>
                <a:gd name="T25" fmla="*/ 48 h 56"/>
                <a:gd name="T26" fmla="*/ 40 w 55"/>
                <a:gd name="T27" fmla="*/ 52 h 56"/>
                <a:gd name="T28" fmla="*/ 35 w 55"/>
                <a:gd name="T29" fmla="*/ 55 h 56"/>
                <a:gd name="T30" fmla="*/ 30 w 55"/>
                <a:gd name="T31" fmla="*/ 56 h 56"/>
                <a:gd name="T32" fmla="*/ 25 w 55"/>
                <a:gd name="T33" fmla="*/ 56 h 56"/>
                <a:gd name="T34" fmla="*/ 20 w 55"/>
                <a:gd name="T35" fmla="*/ 55 h 56"/>
                <a:gd name="T36" fmla="*/ 16 w 55"/>
                <a:gd name="T37" fmla="*/ 53 h 56"/>
                <a:gd name="T38" fmla="*/ 12 w 55"/>
                <a:gd name="T39" fmla="*/ 51 h 56"/>
                <a:gd name="T40" fmla="*/ 8 w 55"/>
                <a:gd name="T41" fmla="*/ 47 h 56"/>
                <a:gd name="T42" fmla="*/ 5 w 55"/>
                <a:gd name="T43" fmla="*/ 43 h 56"/>
                <a:gd name="T44" fmla="*/ 3 w 55"/>
                <a:gd name="T45" fmla="*/ 39 h 56"/>
                <a:gd name="T46" fmla="*/ 1 w 55"/>
                <a:gd name="T47" fmla="*/ 34 h 56"/>
                <a:gd name="T48" fmla="*/ 0 w 55"/>
                <a:gd name="T49" fmla="*/ 29 h 56"/>
                <a:gd name="T50" fmla="*/ 0 w 55"/>
                <a:gd name="T51" fmla="*/ 24 h 56"/>
                <a:gd name="T52" fmla="*/ 2 w 55"/>
                <a:gd name="T53" fmla="*/ 19 h 56"/>
                <a:gd name="T54" fmla="*/ 4 w 55"/>
                <a:gd name="T55" fmla="*/ 15 h 56"/>
                <a:gd name="T56" fmla="*/ 8 w 55"/>
                <a:gd name="T57" fmla="*/ 10 h 56"/>
                <a:gd name="T58" fmla="*/ 8 w 55"/>
                <a:gd name="T59"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56">
                  <a:moveTo>
                    <a:pt x="8" y="10"/>
                  </a:moveTo>
                  <a:lnTo>
                    <a:pt x="18" y="0"/>
                  </a:lnTo>
                  <a:lnTo>
                    <a:pt x="18" y="0"/>
                  </a:lnTo>
                  <a:lnTo>
                    <a:pt x="26" y="2"/>
                  </a:lnTo>
                  <a:lnTo>
                    <a:pt x="33" y="4"/>
                  </a:lnTo>
                  <a:lnTo>
                    <a:pt x="39" y="8"/>
                  </a:lnTo>
                  <a:lnTo>
                    <a:pt x="44" y="12"/>
                  </a:lnTo>
                  <a:lnTo>
                    <a:pt x="48" y="17"/>
                  </a:lnTo>
                  <a:lnTo>
                    <a:pt x="51" y="23"/>
                  </a:lnTo>
                  <a:lnTo>
                    <a:pt x="54" y="30"/>
                  </a:lnTo>
                  <a:lnTo>
                    <a:pt x="55" y="37"/>
                  </a:lnTo>
                  <a:lnTo>
                    <a:pt x="45" y="48"/>
                  </a:lnTo>
                  <a:lnTo>
                    <a:pt x="45" y="48"/>
                  </a:lnTo>
                  <a:lnTo>
                    <a:pt x="40" y="52"/>
                  </a:lnTo>
                  <a:lnTo>
                    <a:pt x="35" y="55"/>
                  </a:lnTo>
                  <a:lnTo>
                    <a:pt x="30" y="56"/>
                  </a:lnTo>
                  <a:lnTo>
                    <a:pt x="25" y="56"/>
                  </a:lnTo>
                  <a:lnTo>
                    <a:pt x="20" y="55"/>
                  </a:lnTo>
                  <a:lnTo>
                    <a:pt x="16" y="53"/>
                  </a:lnTo>
                  <a:lnTo>
                    <a:pt x="12" y="51"/>
                  </a:lnTo>
                  <a:lnTo>
                    <a:pt x="8" y="47"/>
                  </a:lnTo>
                  <a:lnTo>
                    <a:pt x="5" y="43"/>
                  </a:lnTo>
                  <a:lnTo>
                    <a:pt x="3" y="39"/>
                  </a:lnTo>
                  <a:lnTo>
                    <a:pt x="1" y="34"/>
                  </a:lnTo>
                  <a:lnTo>
                    <a:pt x="0" y="29"/>
                  </a:lnTo>
                  <a:lnTo>
                    <a:pt x="0" y="24"/>
                  </a:lnTo>
                  <a:lnTo>
                    <a:pt x="2" y="19"/>
                  </a:lnTo>
                  <a:lnTo>
                    <a:pt x="4" y="15"/>
                  </a:lnTo>
                  <a:lnTo>
                    <a:pt x="8" y="10"/>
                  </a:lnTo>
                  <a:lnTo>
                    <a:pt x="8" y="10"/>
                  </a:lnTo>
                  <a:close/>
                </a:path>
              </a:pathLst>
            </a:custGeom>
            <a:solidFill>
              <a:srgbClr val="FFEBD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97" name="Freeform 1295"/>
            <p:cNvSpPr/>
            <p:nvPr/>
          </p:nvSpPr>
          <p:spPr bwMode="auto">
            <a:xfrm>
              <a:off x="488202" y="4183697"/>
              <a:ext cx="37078" cy="111235"/>
            </a:xfrm>
            <a:custGeom>
              <a:avLst/>
              <a:gdLst>
                <a:gd name="T0" fmla="*/ 16 w 17"/>
                <a:gd name="T1" fmla="*/ 2 h 52"/>
                <a:gd name="T2" fmla="*/ 16 w 17"/>
                <a:gd name="T3" fmla="*/ 2 h 52"/>
                <a:gd name="T4" fmla="*/ 11 w 17"/>
                <a:gd name="T5" fmla="*/ 0 h 52"/>
                <a:gd name="T6" fmla="*/ 8 w 17"/>
                <a:gd name="T7" fmla="*/ 0 h 52"/>
                <a:gd name="T8" fmla="*/ 7 w 17"/>
                <a:gd name="T9" fmla="*/ 0 h 52"/>
                <a:gd name="T10" fmla="*/ 6 w 17"/>
                <a:gd name="T11" fmla="*/ 1 h 52"/>
                <a:gd name="T12" fmla="*/ 5 w 17"/>
                <a:gd name="T13" fmla="*/ 5 h 52"/>
                <a:gd name="T14" fmla="*/ 0 w 17"/>
                <a:gd name="T15" fmla="*/ 52 h 52"/>
                <a:gd name="T16" fmla="*/ 0 w 17"/>
                <a:gd name="T17" fmla="*/ 52 h 52"/>
                <a:gd name="T18" fmla="*/ 4 w 17"/>
                <a:gd name="T19" fmla="*/ 51 h 52"/>
                <a:gd name="T20" fmla="*/ 6 w 17"/>
                <a:gd name="T21" fmla="*/ 50 h 52"/>
                <a:gd name="T22" fmla="*/ 9 w 17"/>
                <a:gd name="T23" fmla="*/ 48 h 52"/>
                <a:gd name="T24" fmla="*/ 11 w 17"/>
                <a:gd name="T25" fmla="*/ 46 h 52"/>
                <a:gd name="T26" fmla="*/ 14 w 17"/>
                <a:gd name="T27" fmla="*/ 40 h 52"/>
                <a:gd name="T28" fmla="*/ 16 w 17"/>
                <a:gd name="T29" fmla="*/ 33 h 52"/>
                <a:gd name="T30" fmla="*/ 16 w 17"/>
                <a:gd name="T31" fmla="*/ 25 h 52"/>
                <a:gd name="T32" fmla="*/ 17 w 17"/>
                <a:gd name="T33" fmla="*/ 17 h 52"/>
                <a:gd name="T34" fmla="*/ 16 w 17"/>
                <a:gd name="T35" fmla="*/ 2 h 52"/>
                <a:gd name="T36" fmla="*/ 16 w 17"/>
                <a:gd name="T3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52">
                  <a:moveTo>
                    <a:pt x="16" y="2"/>
                  </a:moveTo>
                  <a:lnTo>
                    <a:pt x="16" y="2"/>
                  </a:lnTo>
                  <a:lnTo>
                    <a:pt x="11" y="0"/>
                  </a:lnTo>
                  <a:lnTo>
                    <a:pt x="8" y="0"/>
                  </a:lnTo>
                  <a:lnTo>
                    <a:pt x="7" y="0"/>
                  </a:lnTo>
                  <a:lnTo>
                    <a:pt x="6" y="1"/>
                  </a:lnTo>
                  <a:lnTo>
                    <a:pt x="5" y="5"/>
                  </a:lnTo>
                  <a:lnTo>
                    <a:pt x="0" y="52"/>
                  </a:lnTo>
                  <a:lnTo>
                    <a:pt x="0" y="52"/>
                  </a:lnTo>
                  <a:lnTo>
                    <a:pt x="4" y="51"/>
                  </a:lnTo>
                  <a:lnTo>
                    <a:pt x="6" y="50"/>
                  </a:lnTo>
                  <a:lnTo>
                    <a:pt x="9" y="48"/>
                  </a:lnTo>
                  <a:lnTo>
                    <a:pt x="11" y="46"/>
                  </a:lnTo>
                  <a:lnTo>
                    <a:pt x="14" y="40"/>
                  </a:lnTo>
                  <a:lnTo>
                    <a:pt x="16" y="33"/>
                  </a:lnTo>
                  <a:lnTo>
                    <a:pt x="16" y="25"/>
                  </a:lnTo>
                  <a:lnTo>
                    <a:pt x="17" y="17"/>
                  </a:lnTo>
                  <a:lnTo>
                    <a:pt x="16" y="2"/>
                  </a:lnTo>
                  <a:lnTo>
                    <a:pt x="16" y="2"/>
                  </a:lnTo>
                  <a:close/>
                </a:path>
              </a:pathLst>
            </a:custGeom>
            <a:solidFill>
              <a:srgbClr val="FFEBD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98" name="Freeform 1296"/>
            <p:cNvSpPr/>
            <p:nvPr/>
          </p:nvSpPr>
          <p:spPr bwMode="auto">
            <a:xfrm>
              <a:off x="1081458" y="4492685"/>
              <a:ext cx="111235" cy="117416"/>
            </a:xfrm>
            <a:custGeom>
              <a:avLst/>
              <a:gdLst>
                <a:gd name="T0" fmla="*/ 8 w 55"/>
                <a:gd name="T1" fmla="*/ 11 h 57"/>
                <a:gd name="T2" fmla="*/ 18 w 55"/>
                <a:gd name="T3" fmla="*/ 0 h 57"/>
                <a:gd name="T4" fmla="*/ 18 w 55"/>
                <a:gd name="T5" fmla="*/ 0 h 57"/>
                <a:gd name="T6" fmla="*/ 26 w 55"/>
                <a:gd name="T7" fmla="*/ 2 h 57"/>
                <a:gd name="T8" fmla="*/ 33 w 55"/>
                <a:gd name="T9" fmla="*/ 4 h 57"/>
                <a:gd name="T10" fmla="*/ 39 w 55"/>
                <a:gd name="T11" fmla="*/ 8 h 57"/>
                <a:gd name="T12" fmla="*/ 44 w 55"/>
                <a:gd name="T13" fmla="*/ 12 h 57"/>
                <a:gd name="T14" fmla="*/ 48 w 55"/>
                <a:gd name="T15" fmla="*/ 17 h 57"/>
                <a:gd name="T16" fmla="*/ 51 w 55"/>
                <a:gd name="T17" fmla="*/ 23 h 57"/>
                <a:gd name="T18" fmla="*/ 53 w 55"/>
                <a:gd name="T19" fmla="*/ 30 h 57"/>
                <a:gd name="T20" fmla="*/ 55 w 55"/>
                <a:gd name="T21" fmla="*/ 38 h 57"/>
                <a:gd name="T22" fmla="*/ 45 w 55"/>
                <a:gd name="T23" fmla="*/ 48 h 57"/>
                <a:gd name="T24" fmla="*/ 45 w 55"/>
                <a:gd name="T25" fmla="*/ 48 h 57"/>
                <a:gd name="T26" fmla="*/ 40 w 55"/>
                <a:gd name="T27" fmla="*/ 52 h 57"/>
                <a:gd name="T28" fmla="*/ 35 w 55"/>
                <a:gd name="T29" fmla="*/ 55 h 57"/>
                <a:gd name="T30" fmla="*/ 30 w 55"/>
                <a:gd name="T31" fmla="*/ 56 h 57"/>
                <a:gd name="T32" fmla="*/ 25 w 55"/>
                <a:gd name="T33" fmla="*/ 57 h 57"/>
                <a:gd name="T34" fmla="*/ 20 w 55"/>
                <a:gd name="T35" fmla="*/ 56 h 57"/>
                <a:gd name="T36" fmla="*/ 15 w 55"/>
                <a:gd name="T37" fmla="*/ 54 h 57"/>
                <a:gd name="T38" fmla="*/ 11 w 55"/>
                <a:gd name="T39" fmla="*/ 51 h 57"/>
                <a:gd name="T40" fmla="*/ 8 w 55"/>
                <a:gd name="T41" fmla="*/ 48 h 57"/>
                <a:gd name="T42" fmla="*/ 5 w 55"/>
                <a:gd name="T43" fmla="*/ 44 h 57"/>
                <a:gd name="T44" fmla="*/ 2 w 55"/>
                <a:gd name="T45" fmla="*/ 39 h 57"/>
                <a:gd name="T46" fmla="*/ 1 w 55"/>
                <a:gd name="T47" fmla="*/ 34 h 57"/>
                <a:gd name="T48" fmla="*/ 0 w 55"/>
                <a:gd name="T49" fmla="*/ 29 h 57"/>
                <a:gd name="T50" fmla="*/ 0 w 55"/>
                <a:gd name="T51" fmla="*/ 24 h 57"/>
                <a:gd name="T52" fmla="*/ 1 w 55"/>
                <a:gd name="T53" fmla="*/ 20 h 57"/>
                <a:gd name="T54" fmla="*/ 4 w 55"/>
                <a:gd name="T55" fmla="*/ 15 h 57"/>
                <a:gd name="T56" fmla="*/ 8 w 55"/>
                <a:gd name="T57" fmla="*/ 11 h 57"/>
                <a:gd name="T58" fmla="*/ 8 w 55"/>
                <a:gd name="T59" fmla="*/ 1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57">
                  <a:moveTo>
                    <a:pt x="8" y="11"/>
                  </a:moveTo>
                  <a:lnTo>
                    <a:pt x="18" y="0"/>
                  </a:lnTo>
                  <a:lnTo>
                    <a:pt x="18" y="0"/>
                  </a:lnTo>
                  <a:lnTo>
                    <a:pt x="26" y="2"/>
                  </a:lnTo>
                  <a:lnTo>
                    <a:pt x="33" y="4"/>
                  </a:lnTo>
                  <a:lnTo>
                    <a:pt x="39" y="8"/>
                  </a:lnTo>
                  <a:lnTo>
                    <a:pt x="44" y="12"/>
                  </a:lnTo>
                  <a:lnTo>
                    <a:pt x="48" y="17"/>
                  </a:lnTo>
                  <a:lnTo>
                    <a:pt x="51" y="23"/>
                  </a:lnTo>
                  <a:lnTo>
                    <a:pt x="53" y="30"/>
                  </a:lnTo>
                  <a:lnTo>
                    <a:pt x="55" y="38"/>
                  </a:lnTo>
                  <a:lnTo>
                    <a:pt x="45" y="48"/>
                  </a:lnTo>
                  <a:lnTo>
                    <a:pt x="45" y="48"/>
                  </a:lnTo>
                  <a:lnTo>
                    <a:pt x="40" y="52"/>
                  </a:lnTo>
                  <a:lnTo>
                    <a:pt x="35" y="55"/>
                  </a:lnTo>
                  <a:lnTo>
                    <a:pt x="30" y="56"/>
                  </a:lnTo>
                  <a:lnTo>
                    <a:pt x="25" y="57"/>
                  </a:lnTo>
                  <a:lnTo>
                    <a:pt x="20" y="56"/>
                  </a:lnTo>
                  <a:lnTo>
                    <a:pt x="15" y="54"/>
                  </a:lnTo>
                  <a:lnTo>
                    <a:pt x="11" y="51"/>
                  </a:lnTo>
                  <a:lnTo>
                    <a:pt x="8" y="48"/>
                  </a:lnTo>
                  <a:lnTo>
                    <a:pt x="5" y="44"/>
                  </a:lnTo>
                  <a:lnTo>
                    <a:pt x="2" y="39"/>
                  </a:lnTo>
                  <a:lnTo>
                    <a:pt x="1" y="34"/>
                  </a:lnTo>
                  <a:lnTo>
                    <a:pt x="0" y="29"/>
                  </a:lnTo>
                  <a:lnTo>
                    <a:pt x="0" y="24"/>
                  </a:lnTo>
                  <a:lnTo>
                    <a:pt x="1" y="20"/>
                  </a:lnTo>
                  <a:lnTo>
                    <a:pt x="4" y="15"/>
                  </a:lnTo>
                  <a:lnTo>
                    <a:pt x="8" y="11"/>
                  </a:lnTo>
                  <a:lnTo>
                    <a:pt x="8" y="11"/>
                  </a:lnTo>
                  <a:close/>
                </a:path>
              </a:pathLst>
            </a:custGeom>
            <a:solidFill>
              <a:srgbClr val="FFEBD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199" name="Freeform 1297"/>
            <p:cNvSpPr/>
            <p:nvPr/>
          </p:nvSpPr>
          <p:spPr bwMode="auto">
            <a:xfrm>
              <a:off x="543819" y="4196056"/>
              <a:ext cx="67977" cy="383145"/>
            </a:xfrm>
            <a:custGeom>
              <a:avLst/>
              <a:gdLst>
                <a:gd name="T0" fmla="*/ 11 w 34"/>
                <a:gd name="T1" fmla="*/ 187 h 187"/>
                <a:gd name="T2" fmla="*/ 11 w 34"/>
                <a:gd name="T3" fmla="*/ 187 h 187"/>
                <a:gd name="T4" fmla="*/ 15 w 34"/>
                <a:gd name="T5" fmla="*/ 184 h 187"/>
                <a:gd name="T6" fmla="*/ 18 w 34"/>
                <a:gd name="T7" fmla="*/ 180 h 187"/>
                <a:gd name="T8" fmla="*/ 20 w 34"/>
                <a:gd name="T9" fmla="*/ 176 h 187"/>
                <a:gd name="T10" fmla="*/ 21 w 34"/>
                <a:gd name="T11" fmla="*/ 171 h 187"/>
                <a:gd name="T12" fmla="*/ 34 w 34"/>
                <a:gd name="T13" fmla="*/ 43 h 187"/>
                <a:gd name="T14" fmla="*/ 34 w 34"/>
                <a:gd name="T15" fmla="*/ 43 h 187"/>
                <a:gd name="T16" fmla="*/ 34 w 34"/>
                <a:gd name="T17" fmla="*/ 36 h 187"/>
                <a:gd name="T18" fmla="*/ 32 w 34"/>
                <a:gd name="T19" fmla="*/ 28 h 187"/>
                <a:gd name="T20" fmla="*/ 28 w 34"/>
                <a:gd name="T21" fmla="*/ 21 h 187"/>
                <a:gd name="T22" fmla="*/ 23 w 34"/>
                <a:gd name="T23" fmla="*/ 15 h 187"/>
                <a:gd name="T24" fmla="*/ 18 w 34"/>
                <a:gd name="T25" fmla="*/ 9 h 187"/>
                <a:gd name="T26" fmla="*/ 12 w 34"/>
                <a:gd name="T27" fmla="*/ 5 h 187"/>
                <a:gd name="T28" fmla="*/ 6 w 34"/>
                <a:gd name="T29" fmla="*/ 2 h 187"/>
                <a:gd name="T30" fmla="*/ 0 w 34"/>
                <a:gd name="T31" fmla="*/ 0 h 187"/>
                <a:gd name="T32" fmla="*/ 0 w 34"/>
                <a:gd name="T33" fmla="*/ 0 h 187"/>
                <a:gd name="T34" fmla="*/ 5 w 34"/>
                <a:gd name="T35" fmla="*/ 2 h 187"/>
                <a:gd name="T36" fmla="*/ 10 w 34"/>
                <a:gd name="T37" fmla="*/ 4 h 187"/>
                <a:gd name="T38" fmla="*/ 14 w 34"/>
                <a:gd name="T39" fmla="*/ 8 h 187"/>
                <a:gd name="T40" fmla="*/ 18 w 34"/>
                <a:gd name="T41" fmla="*/ 13 h 187"/>
                <a:gd name="T42" fmla="*/ 21 w 34"/>
                <a:gd name="T43" fmla="*/ 18 h 187"/>
                <a:gd name="T44" fmla="*/ 23 w 34"/>
                <a:gd name="T45" fmla="*/ 24 h 187"/>
                <a:gd name="T46" fmla="*/ 25 w 34"/>
                <a:gd name="T47" fmla="*/ 31 h 187"/>
                <a:gd name="T48" fmla="*/ 25 w 34"/>
                <a:gd name="T49" fmla="*/ 37 h 187"/>
                <a:gd name="T50" fmla="*/ 12 w 34"/>
                <a:gd name="T51" fmla="*/ 183 h 187"/>
                <a:gd name="T52" fmla="*/ 12 w 34"/>
                <a:gd name="T53" fmla="*/ 183 h 187"/>
                <a:gd name="T54" fmla="*/ 11 w 34"/>
                <a:gd name="T55" fmla="*/ 187 h 187"/>
                <a:gd name="T56" fmla="*/ 11 w 34"/>
                <a:gd name="T5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187">
                  <a:moveTo>
                    <a:pt x="11" y="187"/>
                  </a:moveTo>
                  <a:lnTo>
                    <a:pt x="11" y="187"/>
                  </a:lnTo>
                  <a:lnTo>
                    <a:pt x="15" y="184"/>
                  </a:lnTo>
                  <a:lnTo>
                    <a:pt x="18" y="180"/>
                  </a:lnTo>
                  <a:lnTo>
                    <a:pt x="20" y="176"/>
                  </a:lnTo>
                  <a:lnTo>
                    <a:pt x="21" y="171"/>
                  </a:lnTo>
                  <a:lnTo>
                    <a:pt x="34" y="43"/>
                  </a:lnTo>
                  <a:lnTo>
                    <a:pt x="34" y="43"/>
                  </a:lnTo>
                  <a:lnTo>
                    <a:pt x="34" y="36"/>
                  </a:lnTo>
                  <a:lnTo>
                    <a:pt x="32" y="28"/>
                  </a:lnTo>
                  <a:lnTo>
                    <a:pt x="28" y="21"/>
                  </a:lnTo>
                  <a:lnTo>
                    <a:pt x="23" y="15"/>
                  </a:lnTo>
                  <a:lnTo>
                    <a:pt x="18" y="9"/>
                  </a:lnTo>
                  <a:lnTo>
                    <a:pt x="12" y="5"/>
                  </a:lnTo>
                  <a:lnTo>
                    <a:pt x="6" y="2"/>
                  </a:lnTo>
                  <a:lnTo>
                    <a:pt x="0" y="0"/>
                  </a:lnTo>
                  <a:lnTo>
                    <a:pt x="0" y="0"/>
                  </a:lnTo>
                  <a:lnTo>
                    <a:pt x="5" y="2"/>
                  </a:lnTo>
                  <a:lnTo>
                    <a:pt x="10" y="4"/>
                  </a:lnTo>
                  <a:lnTo>
                    <a:pt x="14" y="8"/>
                  </a:lnTo>
                  <a:lnTo>
                    <a:pt x="18" y="13"/>
                  </a:lnTo>
                  <a:lnTo>
                    <a:pt x="21" y="18"/>
                  </a:lnTo>
                  <a:lnTo>
                    <a:pt x="23" y="24"/>
                  </a:lnTo>
                  <a:lnTo>
                    <a:pt x="25" y="31"/>
                  </a:lnTo>
                  <a:lnTo>
                    <a:pt x="25" y="37"/>
                  </a:lnTo>
                  <a:lnTo>
                    <a:pt x="12" y="183"/>
                  </a:lnTo>
                  <a:lnTo>
                    <a:pt x="12" y="183"/>
                  </a:lnTo>
                  <a:lnTo>
                    <a:pt x="11" y="187"/>
                  </a:lnTo>
                  <a:lnTo>
                    <a:pt x="11" y="187"/>
                  </a:lnTo>
                  <a:close/>
                </a:path>
              </a:pathLst>
            </a:custGeom>
            <a:solidFill>
              <a:srgbClr val="DEB99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201" name="Freeform 1299"/>
            <p:cNvSpPr/>
            <p:nvPr/>
          </p:nvSpPr>
          <p:spPr bwMode="auto">
            <a:xfrm>
              <a:off x="710672" y="4109539"/>
              <a:ext cx="308988" cy="302808"/>
            </a:xfrm>
            <a:custGeom>
              <a:avLst/>
              <a:gdLst>
                <a:gd name="T0" fmla="*/ 74 w 148"/>
                <a:gd name="T1" fmla="*/ 147 h 147"/>
                <a:gd name="T2" fmla="*/ 88 w 148"/>
                <a:gd name="T3" fmla="*/ 146 h 147"/>
                <a:gd name="T4" fmla="*/ 102 w 148"/>
                <a:gd name="T5" fmla="*/ 142 h 147"/>
                <a:gd name="T6" fmla="*/ 115 w 148"/>
                <a:gd name="T7" fmla="*/ 135 h 147"/>
                <a:gd name="T8" fmla="*/ 126 w 148"/>
                <a:gd name="T9" fmla="*/ 126 h 147"/>
                <a:gd name="T10" fmla="*/ 135 w 148"/>
                <a:gd name="T11" fmla="*/ 115 h 147"/>
                <a:gd name="T12" fmla="*/ 142 w 148"/>
                <a:gd name="T13" fmla="*/ 102 h 147"/>
                <a:gd name="T14" fmla="*/ 146 w 148"/>
                <a:gd name="T15" fmla="*/ 88 h 147"/>
                <a:gd name="T16" fmla="*/ 148 w 148"/>
                <a:gd name="T17" fmla="*/ 73 h 147"/>
                <a:gd name="T18" fmla="*/ 147 w 148"/>
                <a:gd name="T19" fmla="*/ 66 h 147"/>
                <a:gd name="T20" fmla="*/ 144 w 148"/>
                <a:gd name="T21" fmla="*/ 52 h 147"/>
                <a:gd name="T22" fmla="*/ 139 w 148"/>
                <a:gd name="T23" fmla="*/ 38 h 147"/>
                <a:gd name="T24" fmla="*/ 131 w 148"/>
                <a:gd name="T25" fmla="*/ 26 h 147"/>
                <a:gd name="T26" fmla="*/ 121 w 148"/>
                <a:gd name="T27" fmla="*/ 16 h 147"/>
                <a:gd name="T28" fmla="*/ 109 w 148"/>
                <a:gd name="T29" fmla="*/ 8 h 147"/>
                <a:gd name="T30" fmla="*/ 96 w 148"/>
                <a:gd name="T31" fmla="*/ 3 h 147"/>
                <a:gd name="T32" fmla="*/ 81 w 148"/>
                <a:gd name="T33" fmla="*/ 0 h 147"/>
                <a:gd name="T34" fmla="*/ 74 w 148"/>
                <a:gd name="T35" fmla="*/ 0 h 147"/>
                <a:gd name="T36" fmla="*/ 59 w 148"/>
                <a:gd name="T37" fmla="*/ 1 h 147"/>
                <a:gd name="T38" fmla="*/ 45 w 148"/>
                <a:gd name="T39" fmla="*/ 5 h 147"/>
                <a:gd name="T40" fmla="*/ 32 w 148"/>
                <a:gd name="T41" fmla="*/ 12 h 147"/>
                <a:gd name="T42" fmla="*/ 21 w 148"/>
                <a:gd name="T43" fmla="*/ 21 h 147"/>
                <a:gd name="T44" fmla="*/ 12 w 148"/>
                <a:gd name="T45" fmla="*/ 32 h 147"/>
                <a:gd name="T46" fmla="*/ 5 w 148"/>
                <a:gd name="T47" fmla="*/ 45 h 147"/>
                <a:gd name="T48" fmla="*/ 1 w 148"/>
                <a:gd name="T49" fmla="*/ 59 h 147"/>
                <a:gd name="T50" fmla="*/ 0 w 148"/>
                <a:gd name="T51" fmla="*/ 73 h 147"/>
                <a:gd name="T52" fmla="*/ 0 w 148"/>
                <a:gd name="T53" fmla="*/ 81 h 147"/>
                <a:gd name="T54" fmla="*/ 3 w 148"/>
                <a:gd name="T55" fmla="*/ 95 h 147"/>
                <a:gd name="T56" fmla="*/ 9 w 148"/>
                <a:gd name="T57" fmla="*/ 109 h 147"/>
                <a:gd name="T58" fmla="*/ 17 w 148"/>
                <a:gd name="T59" fmla="*/ 120 h 147"/>
                <a:gd name="T60" fmla="*/ 27 w 148"/>
                <a:gd name="T61" fmla="*/ 130 h 147"/>
                <a:gd name="T62" fmla="*/ 38 w 148"/>
                <a:gd name="T63" fmla="*/ 138 h 147"/>
                <a:gd name="T64" fmla="*/ 52 w 148"/>
                <a:gd name="T65" fmla="*/ 144 h 147"/>
                <a:gd name="T66" fmla="*/ 66 w 148"/>
                <a:gd name="T67" fmla="*/ 147 h 147"/>
                <a:gd name="T68" fmla="*/ 74 w 148"/>
                <a:gd name="T69"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8" h="147">
                  <a:moveTo>
                    <a:pt x="74" y="147"/>
                  </a:moveTo>
                  <a:lnTo>
                    <a:pt x="74" y="147"/>
                  </a:lnTo>
                  <a:lnTo>
                    <a:pt x="81" y="147"/>
                  </a:lnTo>
                  <a:lnTo>
                    <a:pt x="88" y="146"/>
                  </a:lnTo>
                  <a:lnTo>
                    <a:pt x="96" y="144"/>
                  </a:lnTo>
                  <a:lnTo>
                    <a:pt x="102" y="142"/>
                  </a:lnTo>
                  <a:lnTo>
                    <a:pt x="109" y="138"/>
                  </a:lnTo>
                  <a:lnTo>
                    <a:pt x="115" y="135"/>
                  </a:lnTo>
                  <a:lnTo>
                    <a:pt x="121" y="130"/>
                  </a:lnTo>
                  <a:lnTo>
                    <a:pt x="126" y="126"/>
                  </a:lnTo>
                  <a:lnTo>
                    <a:pt x="131" y="120"/>
                  </a:lnTo>
                  <a:lnTo>
                    <a:pt x="135" y="115"/>
                  </a:lnTo>
                  <a:lnTo>
                    <a:pt x="139" y="109"/>
                  </a:lnTo>
                  <a:lnTo>
                    <a:pt x="142" y="102"/>
                  </a:lnTo>
                  <a:lnTo>
                    <a:pt x="144" y="95"/>
                  </a:lnTo>
                  <a:lnTo>
                    <a:pt x="146" y="88"/>
                  </a:lnTo>
                  <a:lnTo>
                    <a:pt x="147" y="81"/>
                  </a:lnTo>
                  <a:lnTo>
                    <a:pt x="148" y="73"/>
                  </a:lnTo>
                  <a:lnTo>
                    <a:pt x="148" y="73"/>
                  </a:lnTo>
                  <a:lnTo>
                    <a:pt x="147" y="66"/>
                  </a:lnTo>
                  <a:lnTo>
                    <a:pt x="146" y="59"/>
                  </a:lnTo>
                  <a:lnTo>
                    <a:pt x="144" y="52"/>
                  </a:lnTo>
                  <a:lnTo>
                    <a:pt x="142" y="45"/>
                  </a:lnTo>
                  <a:lnTo>
                    <a:pt x="139" y="38"/>
                  </a:lnTo>
                  <a:lnTo>
                    <a:pt x="135" y="32"/>
                  </a:lnTo>
                  <a:lnTo>
                    <a:pt x="131" y="26"/>
                  </a:lnTo>
                  <a:lnTo>
                    <a:pt x="126" y="21"/>
                  </a:lnTo>
                  <a:lnTo>
                    <a:pt x="121" y="16"/>
                  </a:lnTo>
                  <a:lnTo>
                    <a:pt x="115" y="12"/>
                  </a:lnTo>
                  <a:lnTo>
                    <a:pt x="109" y="8"/>
                  </a:lnTo>
                  <a:lnTo>
                    <a:pt x="102" y="5"/>
                  </a:lnTo>
                  <a:lnTo>
                    <a:pt x="96" y="3"/>
                  </a:lnTo>
                  <a:lnTo>
                    <a:pt x="88" y="1"/>
                  </a:lnTo>
                  <a:lnTo>
                    <a:pt x="81" y="0"/>
                  </a:lnTo>
                  <a:lnTo>
                    <a:pt x="74" y="0"/>
                  </a:lnTo>
                  <a:lnTo>
                    <a:pt x="74" y="0"/>
                  </a:lnTo>
                  <a:lnTo>
                    <a:pt x="66" y="0"/>
                  </a:lnTo>
                  <a:lnTo>
                    <a:pt x="59" y="1"/>
                  </a:lnTo>
                  <a:lnTo>
                    <a:pt x="52" y="3"/>
                  </a:lnTo>
                  <a:lnTo>
                    <a:pt x="45" y="5"/>
                  </a:lnTo>
                  <a:lnTo>
                    <a:pt x="38" y="8"/>
                  </a:lnTo>
                  <a:lnTo>
                    <a:pt x="32" y="12"/>
                  </a:lnTo>
                  <a:lnTo>
                    <a:pt x="27" y="16"/>
                  </a:lnTo>
                  <a:lnTo>
                    <a:pt x="21" y="21"/>
                  </a:lnTo>
                  <a:lnTo>
                    <a:pt x="17" y="26"/>
                  </a:lnTo>
                  <a:lnTo>
                    <a:pt x="12" y="32"/>
                  </a:lnTo>
                  <a:lnTo>
                    <a:pt x="9" y="38"/>
                  </a:lnTo>
                  <a:lnTo>
                    <a:pt x="5" y="45"/>
                  </a:lnTo>
                  <a:lnTo>
                    <a:pt x="3" y="52"/>
                  </a:lnTo>
                  <a:lnTo>
                    <a:pt x="1" y="59"/>
                  </a:lnTo>
                  <a:lnTo>
                    <a:pt x="0" y="66"/>
                  </a:lnTo>
                  <a:lnTo>
                    <a:pt x="0" y="73"/>
                  </a:lnTo>
                  <a:lnTo>
                    <a:pt x="0" y="73"/>
                  </a:lnTo>
                  <a:lnTo>
                    <a:pt x="0" y="81"/>
                  </a:lnTo>
                  <a:lnTo>
                    <a:pt x="1" y="88"/>
                  </a:lnTo>
                  <a:lnTo>
                    <a:pt x="3" y="95"/>
                  </a:lnTo>
                  <a:lnTo>
                    <a:pt x="5" y="102"/>
                  </a:lnTo>
                  <a:lnTo>
                    <a:pt x="9" y="109"/>
                  </a:lnTo>
                  <a:lnTo>
                    <a:pt x="12" y="115"/>
                  </a:lnTo>
                  <a:lnTo>
                    <a:pt x="17" y="120"/>
                  </a:lnTo>
                  <a:lnTo>
                    <a:pt x="21" y="126"/>
                  </a:lnTo>
                  <a:lnTo>
                    <a:pt x="27" y="130"/>
                  </a:lnTo>
                  <a:lnTo>
                    <a:pt x="32" y="135"/>
                  </a:lnTo>
                  <a:lnTo>
                    <a:pt x="38" y="138"/>
                  </a:lnTo>
                  <a:lnTo>
                    <a:pt x="45" y="142"/>
                  </a:lnTo>
                  <a:lnTo>
                    <a:pt x="52" y="144"/>
                  </a:lnTo>
                  <a:lnTo>
                    <a:pt x="59" y="146"/>
                  </a:lnTo>
                  <a:lnTo>
                    <a:pt x="66" y="147"/>
                  </a:lnTo>
                  <a:lnTo>
                    <a:pt x="74" y="147"/>
                  </a:lnTo>
                  <a:lnTo>
                    <a:pt x="74" y="14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grpSp>
      <p:grpSp>
        <p:nvGrpSpPr>
          <p:cNvPr id="210" name="Group 209"/>
          <p:cNvGrpSpPr/>
          <p:nvPr/>
        </p:nvGrpSpPr>
        <p:grpSpPr>
          <a:xfrm>
            <a:off x="8073733" y="2216137"/>
            <a:ext cx="245906" cy="244547"/>
            <a:chOff x="4892675" y="1919288"/>
            <a:chExt cx="287338" cy="285750"/>
          </a:xfrm>
          <a:solidFill>
            <a:srgbClr val="287EAD"/>
          </a:solidFill>
        </p:grpSpPr>
        <p:sp>
          <p:nvSpPr>
            <p:cNvPr id="211" name="Freeform 509"/>
            <p:cNvSpPr/>
            <p:nvPr/>
          </p:nvSpPr>
          <p:spPr bwMode="auto">
            <a:xfrm>
              <a:off x="4892675" y="1976438"/>
              <a:ext cx="182563" cy="133350"/>
            </a:xfrm>
            <a:custGeom>
              <a:avLst/>
              <a:gdLst>
                <a:gd name="T0" fmla="*/ 572 w 572"/>
                <a:gd name="T1" fmla="*/ 124 h 422"/>
                <a:gd name="T2" fmla="*/ 572 w 572"/>
                <a:gd name="T3" fmla="*/ 0 h 422"/>
                <a:gd name="T4" fmla="*/ 0 w 572"/>
                <a:gd name="T5" fmla="*/ 0 h 422"/>
                <a:gd name="T6" fmla="*/ 0 w 572"/>
                <a:gd name="T7" fmla="*/ 407 h 422"/>
                <a:gd name="T8" fmla="*/ 0 w 572"/>
                <a:gd name="T9" fmla="*/ 410 h 422"/>
                <a:gd name="T10" fmla="*/ 1 w 572"/>
                <a:gd name="T11" fmla="*/ 412 h 422"/>
                <a:gd name="T12" fmla="*/ 2 w 572"/>
                <a:gd name="T13" fmla="*/ 415 h 422"/>
                <a:gd name="T14" fmla="*/ 4 w 572"/>
                <a:gd name="T15" fmla="*/ 417 h 422"/>
                <a:gd name="T16" fmla="*/ 6 w 572"/>
                <a:gd name="T17" fmla="*/ 419 h 422"/>
                <a:gd name="T18" fmla="*/ 8 w 572"/>
                <a:gd name="T19" fmla="*/ 421 h 422"/>
                <a:gd name="T20" fmla="*/ 12 w 572"/>
                <a:gd name="T21" fmla="*/ 422 h 422"/>
                <a:gd name="T22" fmla="*/ 15 w 572"/>
                <a:gd name="T23" fmla="*/ 422 h 422"/>
                <a:gd name="T24" fmla="*/ 301 w 572"/>
                <a:gd name="T25" fmla="*/ 422 h 422"/>
                <a:gd name="T26" fmla="*/ 302 w 572"/>
                <a:gd name="T27" fmla="*/ 408 h 422"/>
                <a:gd name="T28" fmla="*/ 303 w 572"/>
                <a:gd name="T29" fmla="*/ 394 h 422"/>
                <a:gd name="T30" fmla="*/ 307 w 572"/>
                <a:gd name="T31" fmla="*/ 380 h 422"/>
                <a:gd name="T32" fmla="*/ 309 w 572"/>
                <a:gd name="T33" fmla="*/ 366 h 422"/>
                <a:gd name="T34" fmla="*/ 312 w 572"/>
                <a:gd name="T35" fmla="*/ 353 h 422"/>
                <a:gd name="T36" fmla="*/ 316 w 572"/>
                <a:gd name="T37" fmla="*/ 339 h 422"/>
                <a:gd name="T38" fmla="*/ 321 w 572"/>
                <a:gd name="T39" fmla="*/ 326 h 422"/>
                <a:gd name="T40" fmla="*/ 326 w 572"/>
                <a:gd name="T41" fmla="*/ 314 h 422"/>
                <a:gd name="T42" fmla="*/ 331 w 572"/>
                <a:gd name="T43" fmla="*/ 301 h 422"/>
                <a:gd name="T44" fmla="*/ 338 w 572"/>
                <a:gd name="T45" fmla="*/ 290 h 422"/>
                <a:gd name="T46" fmla="*/ 344 w 572"/>
                <a:gd name="T47" fmla="*/ 278 h 422"/>
                <a:gd name="T48" fmla="*/ 351 w 572"/>
                <a:gd name="T49" fmla="*/ 266 h 422"/>
                <a:gd name="T50" fmla="*/ 358 w 572"/>
                <a:gd name="T51" fmla="*/ 255 h 422"/>
                <a:gd name="T52" fmla="*/ 367 w 572"/>
                <a:gd name="T53" fmla="*/ 245 h 422"/>
                <a:gd name="T54" fmla="*/ 375 w 572"/>
                <a:gd name="T55" fmla="*/ 234 h 422"/>
                <a:gd name="T56" fmla="*/ 384 w 572"/>
                <a:gd name="T57" fmla="*/ 224 h 422"/>
                <a:gd name="T58" fmla="*/ 392 w 572"/>
                <a:gd name="T59" fmla="*/ 215 h 422"/>
                <a:gd name="T60" fmla="*/ 402 w 572"/>
                <a:gd name="T61" fmla="*/ 205 h 422"/>
                <a:gd name="T62" fmla="*/ 413 w 572"/>
                <a:gd name="T63" fmla="*/ 196 h 422"/>
                <a:gd name="T64" fmla="*/ 422 w 572"/>
                <a:gd name="T65" fmla="*/ 188 h 422"/>
                <a:gd name="T66" fmla="*/ 433 w 572"/>
                <a:gd name="T67" fmla="*/ 179 h 422"/>
                <a:gd name="T68" fmla="*/ 445 w 572"/>
                <a:gd name="T69" fmla="*/ 172 h 422"/>
                <a:gd name="T70" fmla="*/ 456 w 572"/>
                <a:gd name="T71" fmla="*/ 165 h 422"/>
                <a:gd name="T72" fmla="*/ 467 w 572"/>
                <a:gd name="T73" fmla="*/ 158 h 422"/>
                <a:gd name="T74" fmla="*/ 480 w 572"/>
                <a:gd name="T75" fmla="*/ 152 h 422"/>
                <a:gd name="T76" fmla="*/ 492 w 572"/>
                <a:gd name="T77" fmla="*/ 146 h 422"/>
                <a:gd name="T78" fmla="*/ 505 w 572"/>
                <a:gd name="T79" fmla="*/ 142 h 422"/>
                <a:gd name="T80" fmla="*/ 518 w 572"/>
                <a:gd name="T81" fmla="*/ 136 h 422"/>
                <a:gd name="T82" fmla="*/ 531 w 572"/>
                <a:gd name="T83" fmla="*/ 133 h 422"/>
                <a:gd name="T84" fmla="*/ 544 w 572"/>
                <a:gd name="T85" fmla="*/ 129 h 422"/>
                <a:gd name="T86" fmla="*/ 558 w 572"/>
                <a:gd name="T87" fmla="*/ 127 h 422"/>
                <a:gd name="T88" fmla="*/ 572 w 572"/>
                <a:gd name="T89" fmla="*/ 124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2" h="422">
                  <a:moveTo>
                    <a:pt x="572" y="124"/>
                  </a:moveTo>
                  <a:lnTo>
                    <a:pt x="572" y="0"/>
                  </a:lnTo>
                  <a:lnTo>
                    <a:pt x="0" y="0"/>
                  </a:lnTo>
                  <a:lnTo>
                    <a:pt x="0" y="407"/>
                  </a:lnTo>
                  <a:lnTo>
                    <a:pt x="0" y="410"/>
                  </a:lnTo>
                  <a:lnTo>
                    <a:pt x="1" y="412"/>
                  </a:lnTo>
                  <a:lnTo>
                    <a:pt x="2" y="415"/>
                  </a:lnTo>
                  <a:lnTo>
                    <a:pt x="4" y="417"/>
                  </a:lnTo>
                  <a:lnTo>
                    <a:pt x="6" y="419"/>
                  </a:lnTo>
                  <a:lnTo>
                    <a:pt x="8" y="421"/>
                  </a:lnTo>
                  <a:lnTo>
                    <a:pt x="12" y="422"/>
                  </a:lnTo>
                  <a:lnTo>
                    <a:pt x="15" y="422"/>
                  </a:lnTo>
                  <a:lnTo>
                    <a:pt x="301" y="422"/>
                  </a:lnTo>
                  <a:lnTo>
                    <a:pt x="302" y="408"/>
                  </a:lnTo>
                  <a:lnTo>
                    <a:pt x="303" y="394"/>
                  </a:lnTo>
                  <a:lnTo>
                    <a:pt x="307" y="380"/>
                  </a:lnTo>
                  <a:lnTo>
                    <a:pt x="309" y="366"/>
                  </a:lnTo>
                  <a:lnTo>
                    <a:pt x="312" y="353"/>
                  </a:lnTo>
                  <a:lnTo>
                    <a:pt x="316" y="339"/>
                  </a:lnTo>
                  <a:lnTo>
                    <a:pt x="321" y="326"/>
                  </a:lnTo>
                  <a:lnTo>
                    <a:pt x="326" y="314"/>
                  </a:lnTo>
                  <a:lnTo>
                    <a:pt x="331" y="301"/>
                  </a:lnTo>
                  <a:lnTo>
                    <a:pt x="338" y="290"/>
                  </a:lnTo>
                  <a:lnTo>
                    <a:pt x="344" y="278"/>
                  </a:lnTo>
                  <a:lnTo>
                    <a:pt x="351" y="266"/>
                  </a:lnTo>
                  <a:lnTo>
                    <a:pt x="358" y="255"/>
                  </a:lnTo>
                  <a:lnTo>
                    <a:pt x="367" y="245"/>
                  </a:lnTo>
                  <a:lnTo>
                    <a:pt x="375" y="234"/>
                  </a:lnTo>
                  <a:lnTo>
                    <a:pt x="384" y="224"/>
                  </a:lnTo>
                  <a:lnTo>
                    <a:pt x="392" y="215"/>
                  </a:lnTo>
                  <a:lnTo>
                    <a:pt x="402" y="205"/>
                  </a:lnTo>
                  <a:lnTo>
                    <a:pt x="413" y="196"/>
                  </a:lnTo>
                  <a:lnTo>
                    <a:pt x="422" y="188"/>
                  </a:lnTo>
                  <a:lnTo>
                    <a:pt x="433" y="179"/>
                  </a:lnTo>
                  <a:lnTo>
                    <a:pt x="445" y="172"/>
                  </a:lnTo>
                  <a:lnTo>
                    <a:pt x="456" y="165"/>
                  </a:lnTo>
                  <a:lnTo>
                    <a:pt x="467" y="158"/>
                  </a:lnTo>
                  <a:lnTo>
                    <a:pt x="480" y="152"/>
                  </a:lnTo>
                  <a:lnTo>
                    <a:pt x="492" y="146"/>
                  </a:lnTo>
                  <a:lnTo>
                    <a:pt x="505" y="142"/>
                  </a:lnTo>
                  <a:lnTo>
                    <a:pt x="518" y="136"/>
                  </a:lnTo>
                  <a:lnTo>
                    <a:pt x="531" y="133"/>
                  </a:lnTo>
                  <a:lnTo>
                    <a:pt x="544" y="129"/>
                  </a:lnTo>
                  <a:lnTo>
                    <a:pt x="558" y="127"/>
                  </a:lnTo>
                  <a:lnTo>
                    <a:pt x="572" y="1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212" name="Freeform 510"/>
            <p:cNvSpPr/>
            <p:nvPr/>
          </p:nvSpPr>
          <p:spPr bwMode="auto">
            <a:xfrm>
              <a:off x="4987925" y="1919288"/>
              <a:ext cx="84138" cy="47625"/>
            </a:xfrm>
            <a:custGeom>
              <a:avLst/>
              <a:gdLst>
                <a:gd name="T0" fmla="*/ 117 w 263"/>
                <a:gd name="T1" fmla="*/ 4 h 150"/>
                <a:gd name="T2" fmla="*/ 114 w 263"/>
                <a:gd name="T3" fmla="*/ 2 h 150"/>
                <a:gd name="T4" fmla="*/ 112 w 263"/>
                <a:gd name="T5" fmla="*/ 1 h 150"/>
                <a:gd name="T6" fmla="*/ 108 w 263"/>
                <a:gd name="T7" fmla="*/ 0 h 150"/>
                <a:gd name="T8" fmla="*/ 106 w 263"/>
                <a:gd name="T9" fmla="*/ 0 h 150"/>
                <a:gd name="T10" fmla="*/ 0 w 263"/>
                <a:gd name="T11" fmla="*/ 0 h 150"/>
                <a:gd name="T12" fmla="*/ 0 w 263"/>
                <a:gd name="T13" fmla="*/ 150 h 150"/>
                <a:gd name="T14" fmla="*/ 263 w 263"/>
                <a:gd name="T15" fmla="*/ 150 h 150"/>
                <a:gd name="T16" fmla="*/ 117 w 263"/>
                <a:gd name="T17"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 h="150">
                  <a:moveTo>
                    <a:pt x="117" y="4"/>
                  </a:moveTo>
                  <a:lnTo>
                    <a:pt x="114" y="2"/>
                  </a:lnTo>
                  <a:lnTo>
                    <a:pt x="112" y="1"/>
                  </a:lnTo>
                  <a:lnTo>
                    <a:pt x="108" y="0"/>
                  </a:lnTo>
                  <a:lnTo>
                    <a:pt x="106" y="0"/>
                  </a:lnTo>
                  <a:lnTo>
                    <a:pt x="0" y="0"/>
                  </a:lnTo>
                  <a:lnTo>
                    <a:pt x="0" y="150"/>
                  </a:lnTo>
                  <a:lnTo>
                    <a:pt x="263" y="150"/>
                  </a:lnTo>
                  <a:lnTo>
                    <a:pt x="117"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213" name="Freeform 511"/>
            <p:cNvSpPr/>
            <p:nvPr/>
          </p:nvSpPr>
          <p:spPr bwMode="auto">
            <a:xfrm>
              <a:off x="4895850" y="1919288"/>
              <a:ext cx="82550" cy="47625"/>
            </a:xfrm>
            <a:custGeom>
              <a:avLst/>
              <a:gdLst>
                <a:gd name="T0" fmla="*/ 262 w 262"/>
                <a:gd name="T1" fmla="*/ 0 h 150"/>
                <a:gd name="T2" fmla="*/ 157 w 262"/>
                <a:gd name="T3" fmla="*/ 0 h 150"/>
                <a:gd name="T4" fmla="*/ 154 w 262"/>
                <a:gd name="T5" fmla="*/ 0 h 150"/>
                <a:gd name="T6" fmla="*/ 152 w 262"/>
                <a:gd name="T7" fmla="*/ 1 h 150"/>
                <a:gd name="T8" fmla="*/ 148 w 262"/>
                <a:gd name="T9" fmla="*/ 2 h 150"/>
                <a:gd name="T10" fmla="*/ 146 w 262"/>
                <a:gd name="T11" fmla="*/ 4 h 150"/>
                <a:gd name="T12" fmla="*/ 0 w 262"/>
                <a:gd name="T13" fmla="*/ 150 h 150"/>
                <a:gd name="T14" fmla="*/ 262 w 262"/>
                <a:gd name="T15" fmla="*/ 150 h 150"/>
                <a:gd name="T16" fmla="*/ 262 w 262"/>
                <a:gd name="T1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2" h="150">
                  <a:moveTo>
                    <a:pt x="262" y="0"/>
                  </a:moveTo>
                  <a:lnTo>
                    <a:pt x="157" y="0"/>
                  </a:lnTo>
                  <a:lnTo>
                    <a:pt x="154" y="0"/>
                  </a:lnTo>
                  <a:lnTo>
                    <a:pt x="152" y="1"/>
                  </a:lnTo>
                  <a:lnTo>
                    <a:pt x="148" y="2"/>
                  </a:lnTo>
                  <a:lnTo>
                    <a:pt x="146" y="4"/>
                  </a:lnTo>
                  <a:lnTo>
                    <a:pt x="0" y="150"/>
                  </a:lnTo>
                  <a:lnTo>
                    <a:pt x="262" y="150"/>
                  </a:lnTo>
                  <a:lnTo>
                    <a:pt x="26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sp>
          <p:nvSpPr>
            <p:cNvPr id="214" name="Freeform 512"/>
            <p:cNvSpPr>
              <a:spLocks noEditPoints="1"/>
            </p:cNvSpPr>
            <p:nvPr/>
          </p:nvSpPr>
          <p:spPr bwMode="auto">
            <a:xfrm>
              <a:off x="4997450" y="2024063"/>
              <a:ext cx="182563" cy="180975"/>
            </a:xfrm>
            <a:custGeom>
              <a:avLst/>
              <a:gdLst>
                <a:gd name="T0" fmla="*/ 410 w 573"/>
                <a:gd name="T1" fmla="*/ 272 h 573"/>
                <a:gd name="T2" fmla="*/ 399 w 573"/>
                <a:gd name="T3" fmla="*/ 269 h 573"/>
                <a:gd name="T4" fmla="*/ 302 w 573"/>
                <a:gd name="T5" fmla="*/ 410 h 573"/>
                <a:gd name="T6" fmla="*/ 295 w 573"/>
                <a:gd name="T7" fmla="*/ 420 h 573"/>
                <a:gd name="T8" fmla="*/ 283 w 573"/>
                <a:gd name="T9" fmla="*/ 422 h 573"/>
                <a:gd name="T10" fmla="*/ 274 w 573"/>
                <a:gd name="T11" fmla="*/ 415 h 573"/>
                <a:gd name="T12" fmla="*/ 272 w 573"/>
                <a:gd name="T13" fmla="*/ 173 h 573"/>
                <a:gd name="T14" fmla="*/ 170 w 573"/>
                <a:gd name="T15" fmla="*/ 272 h 573"/>
                <a:gd name="T16" fmla="*/ 158 w 573"/>
                <a:gd name="T17" fmla="*/ 269 h 573"/>
                <a:gd name="T18" fmla="*/ 151 w 573"/>
                <a:gd name="T19" fmla="*/ 260 h 573"/>
                <a:gd name="T20" fmla="*/ 154 w 573"/>
                <a:gd name="T21" fmla="*/ 248 h 573"/>
                <a:gd name="T22" fmla="*/ 281 w 573"/>
                <a:gd name="T23" fmla="*/ 123 h 573"/>
                <a:gd name="T24" fmla="*/ 287 w 573"/>
                <a:gd name="T25" fmla="*/ 121 h 573"/>
                <a:gd name="T26" fmla="*/ 292 w 573"/>
                <a:gd name="T27" fmla="*/ 123 h 573"/>
                <a:gd name="T28" fmla="*/ 420 w 573"/>
                <a:gd name="T29" fmla="*/ 248 h 573"/>
                <a:gd name="T30" fmla="*/ 422 w 573"/>
                <a:gd name="T31" fmla="*/ 260 h 573"/>
                <a:gd name="T32" fmla="*/ 287 w 573"/>
                <a:gd name="T33" fmla="*/ 0 h 573"/>
                <a:gd name="T34" fmla="*/ 229 w 573"/>
                <a:gd name="T35" fmla="*/ 7 h 573"/>
                <a:gd name="T36" fmla="*/ 175 w 573"/>
                <a:gd name="T37" fmla="*/ 23 h 573"/>
                <a:gd name="T38" fmla="*/ 127 w 573"/>
                <a:gd name="T39" fmla="*/ 50 h 573"/>
                <a:gd name="T40" fmla="*/ 85 w 573"/>
                <a:gd name="T41" fmla="*/ 85 h 573"/>
                <a:gd name="T42" fmla="*/ 50 w 573"/>
                <a:gd name="T43" fmla="*/ 127 h 573"/>
                <a:gd name="T44" fmla="*/ 23 w 573"/>
                <a:gd name="T45" fmla="*/ 175 h 573"/>
                <a:gd name="T46" fmla="*/ 7 w 573"/>
                <a:gd name="T47" fmla="*/ 229 h 573"/>
                <a:gd name="T48" fmla="*/ 0 w 573"/>
                <a:gd name="T49" fmla="*/ 287 h 573"/>
                <a:gd name="T50" fmla="*/ 7 w 573"/>
                <a:gd name="T51" fmla="*/ 345 h 573"/>
                <a:gd name="T52" fmla="*/ 23 w 573"/>
                <a:gd name="T53" fmla="*/ 398 h 573"/>
                <a:gd name="T54" fmla="*/ 50 w 573"/>
                <a:gd name="T55" fmla="*/ 446 h 573"/>
                <a:gd name="T56" fmla="*/ 85 w 573"/>
                <a:gd name="T57" fmla="*/ 489 h 573"/>
                <a:gd name="T58" fmla="*/ 127 w 573"/>
                <a:gd name="T59" fmla="*/ 524 h 573"/>
                <a:gd name="T60" fmla="*/ 175 w 573"/>
                <a:gd name="T61" fmla="*/ 550 h 573"/>
                <a:gd name="T62" fmla="*/ 229 w 573"/>
                <a:gd name="T63" fmla="*/ 567 h 573"/>
                <a:gd name="T64" fmla="*/ 287 w 573"/>
                <a:gd name="T65" fmla="*/ 573 h 573"/>
                <a:gd name="T66" fmla="*/ 344 w 573"/>
                <a:gd name="T67" fmla="*/ 567 h 573"/>
                <a:gd name="T68" fmla="*/ 398 w 573"/>
                <a:gd name="T69" fmla="*/ 550 h 573"/>
                <a:gd name="T70" fmla="*/ 446 w 573"/>
                <a:gd name="T71" fmla="*/ 524 h 573"/>
                <a:gd name="T72" fmla="*/ 489 w 573"/>
                <a:gd name="T73" fmla="*/ 489 h 573"/>
                <a:gd name="T74" fmla="*/ 524 w 573"/>
                <a:gd name="T75" fmla="*/ 446 h 573"/>
                <a:gd name="T76" fmla="*/ 550 w 573"/>
                <a:gd name="T77" fmla="*/ 398 h 573"/>
                <a:gd name="T78" fmla="*/ 566 w 573"/>
                <a:gd name="T79" fmla="*/ 345 h 573"/>
                <a:gd name="T80" fmla="*/ 573 w 573"/>
                <a:gd name="T81" fmla="*/ 287 h 573"/>
                <a:gd name="T82" fmla="*/ 566 w 573"/>
                <a:gd name="T83" fmla="*/ 229 h 573"/>
                <a:gd name="T84" fmla="*/ 550 w 573"/>
                <a:gd name="T85" fmla="*/ 175 h 573"/>
                <a:gd name="T86" fmla="*/ 524 w 573"/>
                <a:gd name="T87" fmla="*/ 127 h 573"/>
                <a:gd name="T88" fmla="*/ 489 w 573"/>
                <a:gd name="T89" fmla="*/ 85 h 573"/>
                <a:gd name="T90" fmla="*/ 446 w 573"/>
                <a:gd name="T91" fmla="*/ 50 h 573"/>
                <a:gd name="T92" fmla="*/ 398 w 573"/>
                <a:gd name="T93" fmla="*/ 23 h 573"/>
                <a:gd name="T94" fmla="*/ 344 w 573"/>
                <a:gd name="T95" fmla="*/ 7 h 573"/>
                <a:gd name="T96" fmla="*/ 287 w 573"/>
                <a:gd name="T97"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3" h="573">
                  <a:moveTo>
                    <a:pt x="417" y="267"/>
                  </a:moveTo>
                  <a:lnTo>
                    <a:pt x="415" y="269"/>
                  </a:lnTo>
                  <a:lnTo>
                    <a:pt x="413" y="271"/>
                  </a:lnTo>
                  <a:lnTo>
                    <a:pt x="410" y="272"/>
                  </a:lnTo>
                  <a:lnTo>
                    <a:pt x="407" y="272"/>
                  </a:lnTo>
                  <a:lnTo>
                    <a:pt x="405" y="272"/>
                  </a:lnTo>
                  <a:lnTo>
                    <a:pt x="401" y="271"/>
                  </a:lnTo>
                  <a:lnTo>
                    <a:pt x="399" y="269"/>
                  </a:lnTo>
                  <a:lnTo>
                    <a:pt x="396" y="267"/>
                  </a:lnTo>
                  <a:lnTo>
                    <a:pt x="302" y="173"/>
                  </a:lnTo>
                  <a:lnTo>
                    <a:pt x="302" y="407"/>
                  </a:lnTo>
                  <a:lnTo>
                    <a:pt x="302" y="410"/>
                  </a:lnTo>
                  <a:lnTo>
                    <a:pt x="300" y="413"/>
                  </a:lnTo>
                  <a:lnTo>
                    <a:pt x="299" y="415"/>
                  </a:lnTo>
                  <a:lnTo>
                    <a:pt x="297" y="417"/>
                  </a:lnTo>
                  <a:lnTo>
                    <a:pt x="295" y="420"/>
                  </a:lnTo>
                  <a:lnTo>
                    <a:pt x="293" y="421"/>
                  </a:lnTo>
                  <a:lnTo>
                    <a:pt x="290" y="422"/>
                  </a:lnTo>
                  <a:lnTo>
                    <a:pt x="287" y="422"/>
                  </a:lnTo>
                  <a:lnTo>
                    <a:pt x="283" y="422"/>
                  </a:lnTo>
                  <a:lnTo>
                    <a:pt x="281" y="421"/>
                  </a:lnTo>
                  <a:lnTo>
                    <a:pt x="278" y="420"/>
                  </a:lnTo>
                  <a:lnTo>
                    <a:pt x="276" y="417"/>
                  </a:lnTo>
                  <a:lnTo>
                    <a:pt x="274" y="415"/>
                  </a:lnTo>
                  <a:lnTo>
                    <a:pt x="273" y="413"/>
                  </a:lnTo>
                  <a:lnTo>
                    <a:pt x="272" y="410"/>
                  </a:lnTo>
                  <a:lnTo>
                    <a:pt x="272" y="407"/>
                  </a:lnTo>
                  <a:lnTo>
                    <a:pt x="272" y="173"/>
                  </a:lnTo>
                  <a:lnTo>
                    <a:pt x="177" y="267"/>
                  </a:lnTo>
                  <a:lnTo>
                    <a:pt x="175" y="269"/>
                  </a:lnTo>
                  <a:lnTo>
                    <a:pt x="172" y="271"/>
                  </a:lnTo>
                  <a:lnTo>
                    <a:pt x="170" y="272"/>
                  </a:lnTo>
                  <a:lnTo>
                    <a:pt x="166" y="272"/>
                  </a:lnTo>
                  <a:lnTo>
                    <a:pt x="163" y="272"/>
                  </a:lnTo>
                  <a:lnTo>
                    <a:pt x="161" y="271"/>
                  </a:lnTo>
                  <a:lnTo>
                    <a:pt x="158" y="269"/>
                  </a:lnTo>
                  <a:lnTo>
                    <a:pt x="156" y="267"/>
                  </a:lnTo>
                  <a:lnTo>
                    <a:pt x="154" y="265"/>
                  </a:lnTo>
                  <a:lnTo>
                    <a:pt x="152" y="262"/>
                  </a:lnTo>
                  <a:lnTo>
                    <a:pt x="151" y="260"/>
                  </a:lnTo>
                  <a:lnTo>
                    <a:pt x="151" y="257"/>
                  </a:lnTo>
                  <a:lnTo>
                    <a:pt x="151" y="253"/>
                  </a:lnTo>
                  <a:lnTo>
                    <a:pt x="152" y="251"/>
                  </a:lnTo>
                  <a:lnTo>
                    <a:pt x="154" y="248"/>
                  </a:lnTo>
                  <a:lnTo>
                    <a:pt x="156" y="246"/>
                  </a:lnTo>
                  <a:lnTo>
                    <a:pt x="276" y="126"/>
                  </a:lnTo>
                  <a:lnTo>
                    <a:pt x="278" y="124"/>
                  </a:lnTo>
                  <a:lnTo>
                    <a:pt x="281" y="123"/>
                  </a:lnTo>
                  <a:lnTo>
                    <a:pt x="283" y="121"/>
                  </a:lnTo>
                  <a:lnTo>
                    <a:pt x="287" y="121"/>
                  </a:lnTo>
                  <a:lnTo>
                    <a:pt x="287" y="121"/>
                  </a:lnTo>
                  <a:lnTo>
                    <a:pt x="287" y="121"/>
                  </a:lnTo>
                  <a:lnTo>
                    <a:pt x="287" y="121"/>
                  </a:lnTo>
                  <a:lnTo>
                    <a:pt x="287" y="121"/>
                  </a:lnTo>
                  <a:lnTo>
                    <a:pt x="290" y="121"/>
                  </a:lnTo>
                  <a:lnTo>
                    <a:pt x="292" y="123"/>
                  </a:lnTo>
                  <a:lnTo>
                    <a:pt x="295" y="124"/>
                  </a:lnTo>
                  <a:lnTo>
                    <a:pt x="297" y="126"/>
                  </a:lnTo>
                  <a:lnTo>
                    <a:pt x="417" y="246"/>
                  </a:lnTo>
                  <a:lnTo>
                    <a:pt x="420" y="248"/>
                  </a:lnTo>
                  <a:lnTo>
                    <a:pt x="421" y="251"/>
                  </a:lnTo>
                  <a:lnTo>
                    <a:pt x="422" y="253"/>
                  </a:lnTo>
                  <a:lnTo>
                    <a:pt x="422" y="257"/>
                  </a:lnTo>
                  <a:lnTo>
                    <a:pt x="422" y="260"/>
                  </a:lnTo>
                  <a:lnTo>
                    <a:pt x="421" y="262"/>
                  </a:lnTo>
                  <a:lnTo>
                    <a:pt x="420" y="265"/>
                  </a:lnTo>
                  <a:lnTo>
                    <a:pt x="417" y="267"/>
                  </a:lnTo>
                  <a:close/>
                  <a:moveTo>
                    <a:pt x="287" y="0"/>
                  </a:moveTo>
                  <a:lnTo>
                    <a:pt x="272" y="1"/>
                  </a:lnTo>
                  <a:lnTo>
                    <a:pt x="258" y="2"/>
                  </a:lnTo>
                  <a:lnTo>
                    <a:pt x="244" y="3"/>
                  </a:lnTo>
                  <a:lnTo>
                    <a:pt x="229" y="7"/>
                  </a:lnTo>
                  <a:lnTo>
                    <a:pt x="216" y="10"/>
                  </a:lnTo>
                  <a:lnTo>
                    <a:pt x="202" y="13"/>
                  </a:lnTo>
                  <a:lnTo>
                    <a:pt x="188" y="17"/>
                  </a:lnTo>
                  <a:lnTo>
                    <a:pt x="175" y="23"/>
                  </a:lnTo>
                  <a:lnTo>
                    <a:pt x="163" y="29"/>
                  </a:lnTo>
                  <a:lnTo>
                    <a:pt x="150" y="36"/>
                  </a:lnTo>
                  <a:lnTo>
                    <a:pt x="139" y="42"/>
                  </a:lnTo>
                  <a:lnTo>
                    <a:pt x="127" y="50"/>
                  </a:lnTo>
                  <a:lnTo>
                    <a:pt x="116" y="57"/>
                  </a:lnTo>
                  <a:lnTo>
                    <a:pt x="105" y="66"/>
                  </a:lnTo>
                  <a:lnTo>
                    <a:pt x="95" y="75"/>
                  </a:lnTo>
                  <a:lnTo>
                    <a:pt x="85" y="85"/>
                  </a:lnTo>
                  <a:lnTo>
                    <a:pt x="75" y="95"/>
                  </a:lnTo>
                  <a:lnTo>
                    <a:pt x="66" y="104"/>
                  </a:lnTo>
                  <a:lnTo>
                    <a:pt x="57" y="116"/>
                  </a:lnTo>
                  <a:lnTo>
                    <a:pt x="50" y="127"/>
                  </a:lnTo>
                  <a:lnTo>
                    <a:pt x="42" y="139"/>
                  </a:lnTo>
                  <a:lnTo>
                    <a:pt x="36" y="150"/>
                  </a:lnTo>
                  <a:lnTo>
                    <a:pt x="29" y="163"/>
                  </a:lnTo>
                  <a:lnTo>
                    <a:pt x="23" y="175"/>
                  </a:lnTo>
                  <a:lnTo>
                    <a:pt x="18" y="188"/>
                  </a:lnTo>
                  <a:lnTo>
                    <a:pt x="13" y="202"/>
                  </a:lnTo>
                  <a:lnTo>
                    <a:pt x="10" y="215"/>
                  </a:lnTo>
                  <a:lnTo>
                    <a:pt x="7" y="229"/>
                  </a:lnTo>
                  <a:lnTo>
                    <a:pt x="4" y="243"/>
                  </a:lnTo>
                  <a:lnTo>
                    <a:pt x="2" y="258"/>
                  </a:lnTo>
                  <a:lnTo>
                    <a:pt x="1" y="272"/>
                  </a:lnTo>
                  <a:lnTo>
                    <a:pt x="0" y="287"/>
                  </a:lnTo>
                  <a:lnTo>
                    <a:pt x="1" y="302"/>
                  </a:lnTo>
                  <a:lnTo>
                    <a:pt x="2" y="316"/>
                  </a:lnTo>
                  <a:lnTo>
                    <a:pt x="4" y="331"/>
                  </a:lnTo>
                  <a:lnTo>
                    <a:pt x="7" y="345"/>
                  </a:lnTo>
                  <a:lnTo>
                    <a:pt x="10" y="358"/>
                  </a:lnTo>
                  <a:lnTo>
                    <a:pt x="13" y="371"/>
                  </a:lnTo>
                  <a:lnTo>
                    <a:pt x="18" y="385"/>
                  </a:lnTo>
                  <a:lnTo>
                    <a:pt x="23" y="398"/>
                  </a:lnTo>
                  <a:lnTo>
                    <a:pt x="29" y="411"/>
                  </a:lnTo>
                  <a:lnTo>
                    <a:pt x="36" y="423"/>
                  </a:lnTo>
                  <a:lnTo>
                    <a:pt x="42" y="435"/>
                  </a:lnTo>
                  <a:lnTo>
                    <a:pt x="50" y="446"/>
                  </a:lnTo>
                  <a:lnTo>
                    <a:pt x="57" y="457"/>
                  </a:lnTo>
                  <a:lnTo>
                    <a:pt x="66" y="469"/>
                  </a:lnTo>
                  <a:lnTo>
                    <a:pt x="75" y="479"/>
                  </a:lnTo>
                  <a:lnTo>
                    <a:pt x="85" y="489"/>
                  </a:lnTo>
                  <a:lnTo>
                    <a:pt x="95" y="498"/>
                  </a:lnTo>
                  <a:lnTo>
                    <a:pt x="105" y="508"/>
                  </a:lnTo>
                  <a:lnTo>
                    <a:pt x="116" y="516"/>
                  </a:lnTo>
                  <a:lnTo>
                    <a:pt x="127" y="524"/>
                  </a:lnTo>
                  <a:lnTo>
                    <a:pt x="139" y="531"/>
                  </a:lnTo>
                  <a:lnTo>
                    <a:pt x="150" y="538"/>
                  </a:lnTo>
                  <a:lnTo>
                    <a:pt x="163" y="544"/>
                  </a:lnTo>
                  <a:lnTo>
                    <a:pt x="175" y="550"/>
                  </a:lnTo>
                  <a:lnTo>
                    <a:pt x="188" y="555"/>
                  </a:lnTo>
                  <a:lnTo>
                    <a:pt x="202" y="560"/>
                  </a:lnTo>
                  <a:lnTo>
                    <a:pt x="216" y="563"/>
                  </a:lnTo>
                  <a:lnTo>
                    <a:pt x="229" y="567"/>
                  </a:lnTo>
                  <a:lnTo>
                    <a:pt x="244" y="570"/>
                  </a:lnTo>
                  <a:lnTo>
                    <a:pt x="258" y="571"/>
                  </a:lnTo>
                  <a:lnTo>
                    <a:pt x="272" y="572"/>
                  </a:lnTo>
                  <a:lnTo>
                    <a:pt x="287" y="573"/>
                  </a:lnTo>
                  <a:lnTo>
                    <a:pt x="302" y="572"/>
                  </a:lnTo>
                  <a:lnTo>
                    <a:pt x="316" y="571"/>
                  </a:lnTo>
                  <a:lnTo>
                    <a:pt x="331" y="570"/>
                  </a:lnTo>
                  <a:lnTo>
                    <a:pt x="344" y="567"/>
                  </a:lnTo>
                  <a:lnTo>
                    <a:pt x="358" y="563"/>
                  </a:lnTo>
                  <a:lnTo>
                    <a:pt x="371" y="560"/>
                  </a:lnTo>
                  <a:lnTo>
                    <a:pt x="385" y="555"/>
                  </a:lnTo>
                  <a:lnTo>
                    <a:pt x="398" y="550"/>
                  </a:lnTo>
                  <a:lnTo>
                    <a:pt x="411" y="544"/>
                  </a:lnTo>
                  <a:lnTo>
                    <a:pt x="423" y="538"/>
                  </a:lnTo>
                  <a:lnTo>
                    <a:pt x="435" y="531"/>
                  </a:lnTo>
                  <a:lnTo>
                    <a:pt x="446" y="524"/>
                  </a:lnTo>
                  <a:lnTo>
                    <a:pt x="458" y="516"/>
                  </a:lnTo>
                  <a:lnTo>
                    <a:pt x="469" y="508"/>
                  </a:lnTo>
                  <a:lnTo>
                    <a:pt x="479" y="498"/>
                  </a:lnTo>
                  <a:lnTo>
                    <a:pt x="489" y="489"/>
                  </a:lnTo>
                  <a:lnTo>
                    <a:pt x="498" y="479"/>
                  </a:lnTo>
                  <a:lnTo>
                    <a:pt x="507" y="469"/>
                  </a:lnTo>
                  <a:lnTo>
                    <a:pt x="516" y="457"/>
                  </a:lnTo>
                  <a:lnTo>
                    <a:pt x="524" y="446"/>
                  </a:lnTo>
                  <a:lnTo>
                    <a:pt x="531" y="435"/>
                  </a:lnTo>
                  <a:lnTo>
                    <a:pt x="539" y="423"/>
                  </a:lnTo>
                  <a:lnTo>
                    <a:pt x="544" y="411"/>
                  </a:lnTo>
                  <a:lnTo>
                    <a:pt x="550" y="398"/>
                  </a:lnTo>
                  <a:lnTo>
                    <a:pt x="556" y="385"/>
                  </a:lnTo>
                  <a:lnTo>
                    <a:pt x="560" y="371"/>
                  </a:lnTo>
                  <a:lnTo>
                    <a:pt x="563" y="358"/>
                  </a:lnTo>
                  <a:lnTo>
                    <a:pt x="566" y="345"/>
                  </a:lnTo>
                  <a:lnTo>
                    <a:pt x="570" y="331"/>
                  </a:lnTo>
                  <a:lnTo>
                    <a:pt x="571" y="316"/>
                  </a:lnTo>
                  <a:lnTo>
                    <a:pt x="572" y="302"/>
                  </a:lnTo>
                  <a:lnTo>
                    <a:pt x="573" y="287"/>
                  </a:lnTo>
                  <a:lnTo>
                    <a:pt x="572" y="272"/>
                  </a:lnTo>
                  <a:lnTo>
                    <a:pt x="571" y="258"/>
                  </a:lnTo>
                  <a:lnTo>
                    <a:pt x="570" y="243"/>
                  </a:lnTo>
                  <a:lnTo>
                    <a:pt x="566" y="229"/>
                  </a:lnTo>
                  <a:lnTo>
                    <a:pt x="563" y="215"/>
                  </a:lnTo>
                  <a:lnTo>
                    <a:pt x="560" y="202"/>
                  </a:lnTo>
                  <a:lnTo>
                    <a:pt x="556" y="188"/>
                  </a:lnTo>
                  <a:lnTo>
                    <a:pt x="550" y="175"/>
                  </a:lnTo>
                  <a:lnTo>
                    <a:pt x="544" y="162"/>
                  </a:lnTo>
                  <a:lnTo>
                    <a:pt x="539" y="150"/>
                  </a:lnTo>
                  <a:lnTo>
                    <a:pt x="531" y="139"/>
                  </a:lnTo>
                  <a:lnTo>
                    <a:pt x="524" y="127"/>
                  </a:lnTo>
                  <a:lnTo>
                    <a:pt x="516" y="116"/>
                  </a:lnTo>
                  <a:lnTo>
                    <a:pt x="507" y="104"/>
                  </a:lnTo>
                  <a:lnTo>
                    <a:pt x="498" y="95"/>
                  </a:lnTo>
                  <a:lnTo>
                    <a:pt x="489" y="85"/>
                  </a:lnTo>
                  <a:lnTo>
                    <a:pt x="479" y="75"/>
                  </a:lnTo>
                  <a:lnTo>
                    <a:pt x="469" y="66"/>
                  </a:lnTo>
                  <a:lnTo>
                    <a:pt x="458" y="57"/>
                  </a:lnTo>
                  <a:lnTo>
                    <a:pt x="446" y="50"/>
                  </a:lnTo>
                  <a:lnTo>
                    <a:pt x="435" y="42"/>
                  </a:lnTo>
                  <a:lnTo>
                    <a:pt x="423" y="36"/>
                  </a:lnTo>
                  <a:lnTo>
                    <a:pt x="411" y="29"/>
                  </a:lnTo>
                  <a:lnTo>
                    <a:pt x="398" y="23"/>
                  </a:lnTo>
                  <a:lnTo>
                    <a:pt x="385" y="18"/>
                  </a:lnTo>
                  <a:lnTo>
                    <a:pt x="371" y="13"/>
                  </a:lnTo>
                  <a:lnTo>
                    <a:pt x="358" y="10"/>
                  </a:lnTo>
                  <a:lnTo>
                    <a:pt x="344" y="7"/>
                  </a:lnTo>
                  <a:lnTo>
                    <a:pt x="331" y="3"/>
                  </a:lnTo>
                  <a:lnTo>
                    <a:pt x="316" y="2"/>
                  </a:lnTo>
                  <a:lnTo>
                    <a:pt x="302" y="1"/>
                  </a:lnTo>
                  <a:lnTo>
                    <a:pt x="287" y="0"/>
                  </a:lnTo>
                  <a:lnTo>
                    <a:pt x="28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p>
          </p:txBody>
        </p:sp>
      </p:gr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2702694"/>
            <a:ext cx="9144000" cy="2440807"/>
          </a:xfrm>
          <a:prstGeom prst="rect">
            <a:avLst/>
          </a:prstGeom>
          <a:solidFill>
            <a:schemeClr val="bg1">
              <a:lumMod val="75000"/>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pic>
        <p:nvPicPr>
          <p:cNvPr id="6" name="Picture 5"/>
          <p:cNvPicPr>
            <a:picLocks noChangeAspect="1"/>
          </p:cNvPicPr>
          <p:nvPr/>
        </p:nvPicPr>
        <p:blipFill rotWithShape="1">
          <a:blip r:embed="rId1" cstate="print">
            <a:extLst>
              <a:ext uri="{28A0092B-C50C-407E-A947-70E740481C1C}">
                <a14:useLocalDpi xmlns:a14="http://schemas.microsoft.com/office/drawing/2010/main" val="0"/>
              </a:ext>
            </a:extLst>
          </a:blip>
          <a:srcRect r="20059"/>
          <a:stretch>
            <a:fillRect/>
          </a:stretch>
        </p:blipFill>
        <p:spPr>
          <a:xfrm flipH="1">
            <a:off x="2804670" y="478079"/>
            <a:ext cx="6339330" cy="4471808"/>
          </a:xfrm>
          <a:prstGeom prst="rect">
            <a:avLst/>
          </a:prstGeom>
        </p:spPr>
      </p:pic>
      <p:sp>
        <p:nvSpPr>
          <p:cNvPr id="8" name="Title 1"/>
          <p:cNvSpPr txBox="1"/>
          <p:nvPr/>
        </p:nvSpPr>
        <p:spPr>
          <a:xfrm>
            <a:off x="661657" y="483253"/>
            <a:ext cx="3264674" cy="48474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2700" b="1" spc="-113" dirty="0">
                <a:solidFill>
                  <a:srgbClr val="548235"/>
                </a:solidFill>
                <a:latin typeface="Lato" panose="020F0502020204030203" pitchFamily="34" charset="0"/>
                <a:ea typeface="Open Sans" panose="020B0606030504020204" pitchFamily="34" charset="0"/>
                <a:cs typeface="Lato" panose="020F0502020204030203" pitchFamily="34" charset="0"/>
              </a:rPr>
              <a:t>Content</a:t>
            </a:r>
            <a:r>
              <a:rPr lang="en-US" sz="2700" b="1" spc="-113" dirty="0">
                <a:solidFill>
                  <a:schemeClr val="accent1"/>
                </a:solidFill>
                <a:latin typeface="Lato" panose="020F0502020204030203" pitchFamily="34" charset="0"/>
                <a:ea typeface="Open Sans" panose="020B0606030504020204" pitchFamily="34" charset="0"/>
                <a:cs typeface="Lato" panose="020F0502020204030203" pitchFamily="34" charset="0"/>
              </a:rPr>
              <a:t> </a:t>
            </a:r>
            <a:r>
              <a:rPr lang="en-US" sz="2700" spc="-113" dirty="0">
                <a:solidFill>
                  <a:schemeClr val="tx1">
                    <a:lumMod val="75000"/>
                    <a:lumOff val="25000"/>
                  </a:schemeClr>
                </a:solidFill>
                <a:latin typeface="Lato" panose="020F0502020204030203" pitchFamily="34" charset="0"/>
                <a:ea typeface="Open Sans" panose="020B0606030504020204" pitchFamily="34" charset="0"/>
                <a:cs typeface="Lato" panose="020F0502020204030203" pitchFamily="34" charset="0"/>
              </a:rPr>
              <a:t>Business</a:t>
            </a:r>
            <a:endParaRPr lang="en-US" sz="2700" spc="-113" dirty="0">
              <a:solidFill>
                <a:schemeClr val="tx1">
                  <a:lumMod val="75000"/>
                  <a:lumOff val="25000"/>
                </a:schemeClr>
              </a:solidFill>
              <a:latin typeface="Lato" panose="020F0502020204030203" pitchFamily="34" charset="0"/>
              <a:ea typeface="Open Sans" panose="020B0606030504020204" pitchFamily="34" charset="0"/>
              <a:cs typeface="Lato" panose="020F0502020204030203" pitchFamily="34" charset="0"/>
            </a:endParaRPr>
          </a:p>
        </p:txBody>
      </p:sp>
      <p:sp>
        <p:nvSpPr>
          <p:cNvPr id="64" name="Rectangle 63"/>
          <p:cNvSpPr/>
          <p:nvPr/>
        </p:nvSpPr>
        <p:spPr>
          <a:xfrm>
            <a:off x="661657" y="968001"/>
            <a:ext cx="1617008" cy="219291"/>
          </a:xfrm>
          <a:prstGeom prst="rect">
            <a:avLst/>
          </a:prstGeom>
        </p:spPr>
        <p:txBody>
          <a:bodyPr wrap="square">
            <a:spAutoFit/>
          </a:bodyPr>
          <a:lstStyle/>
          <a:p>
            <a:pP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9" name="Title 1"/>
          <p:cNvSpPr txBox="1"/>
          <p:nvPr/>
        </p:nvSpPr>
        <p:spPr>
          <a:xfrm>
            <a:off x="2900301" y="1993672"/>
            <a:ext cx="1854030" cy="507831"/>
          </a:xfrm>
          <a:prstGeom prst="rect">
            <a:avLst/>
          </a:prstGeom>
          <a:noFill/>
        </p:spPr>
        <p:txBody>
          <a:bodyPr wrap="square">
            <a:spAutoFit/>
          </a:bodyPr>
          <a:lstStyle>
            <a:defPPr>
              <a:defRPr lang="en-US"/>
            </a:defPPr>
            <a:lvl1pPr>
              <a:defRPr sz="960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pPr algn="r"/>
            <a:r>
              <a:rPr lang="en-US" sz="1350" dirty="0">
                <a:solidFill>
                  <a:schemeClr val="tx1">
                    <a:lumMod val="85000"/>
                    <a:lumOff val="15000"/>
                  </a:schemeClr>
                </a:solidFill>
                <a:latin typeface="Raleway" panose="020B0503030101060003" pitchFamily="34" charset="0"/>
              </a:rPr>
              <a:t>SOLUTION OF </a:t>
            </a:r>
            <a:r>
              <a:rPr lang="en-US" sz="1350" b="1" dirty="0">
                <a:solidFill>
                  <a:schemeClr val="tx1">
                    <a:lumMod val="85000"/>
                    <a:lumOff val="15000"/>
                  </a:schemeClr>
                </a:solidFill>
                <a:latin typeface="Raleway" panose="020B0503030101060003" pitchFamily="34" charset="0"/>
              </a:rPr>
              <a:t>PROFESSIONAL BUSINESS</a:t>
            </a:r>
            <a:endParaRPr lang="en-US" sz="1350" b="1" dirty="0">
              <a:solidFill>
                <a:schemeClr val="tx1">
                  <a:lumMod val="85000"/>
                  <a:lumOff val="15000"/>
                </a:schemeClr>
              </a:solidFill>
              <a:latin typeface="Raleway" panose="020B0503030101060003" pitchFamily="34" charset="0"/>
            </a:endParaRPr>
          </a:p>
        </p:txBody>
      </p:sp>
      <p:sp>
        <p:nvSpPr>
          <p:cNvPr id="10" name="Rectangle 9"/>
          <p:cNvSpPr/>
          <p:nvPr/>
        </p:nvSpPr>
        <p:spPr>
          <a:xfrm>
            <a:off x="3195875" y="2731268"/>
            <a:ext cx="1558456" cy="854080"/>
          </a:xfrm>
          <a:prstGeom prst="rect">
            <a:avLst/>
          </a:prstGeom>
        </p:spPr>
        <p:txBody>
          <a:bodyPr wrap="square">
            <a:spAutoFit/>
          </a:bodyPr>
          <a:lstStyle/>
          <a:p>
            <a:pPr algn="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ermentuLorem ipsum dolor sit amet, consectetur adipiscing elit. Nulla imperdiet volutpat dui</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grpSp>
        <p:nvGrpSpPr>
          <p:cNvPr id="12" name="Group 11"/>
          <p:cNvGrpSpPr/>
          <p:nvPr/>
        </p:nvGrpSpPr>
        <p:grpSpPr>
          <a:xfrm>
            <a:off x="534547" y="2840608"/>
            <a:ext cx="2138621" cy="612318"/>
            <a:chOff x="6105284" y="4282000"/>
            <a:chExt cx="4149261" cy="816424"/>
          </a:xfrm>
        </p:grpSpPr>
        <p:sp>
          <p:nvSpPr>
            <p:cNvPr id="13" name="TextBox 12"/>
            <p:cNvSpPr txBox="1"/>
            <p:nvPr/>
          </p:nvSpPr>
          <p:spPr>
            <a:xfrm>
              <a:off x="6105284" y="4282000"/>
              <a:ext cx="2037724" cy="292388"/>
            </a:xfrm>
            <a:prstGeom prst="rect">
              <a:avLst/>
            </a:prstGeom>
            <a:noFill/>
          </p:spPr>
          <p:txBody>
            <a:bodyPr wrap="none" rtlCol="0">
              <a:spAutoFit/>
            </a:bodyPr>
            <a:lstStyle/>
            <a:p>
              <a:r>
                <a:rPr lang="en-US" sz="825">
                  <a:solidFill>
                    <a:schemeClr val="tx1">
                      <a:lumMod val="85000"/>
                      <a:lumOff val="15000"/>
                    </a:schemeClr>
                  </a:solidFill>
                  <a:latin typeface="+mj-lt"/>
                  <a:ea typeface="Open Sans" panose="020B0606030504020204" pitchFamily="34" charset="0"/>
                  <a:cs typeface="Open Sans" panose="020B0606030504020204" pitchFamily="34" charset="0"/>
                </a:rPr>
                <a:t>Design &amp; Illustration</a:t>
              </a:r>
              <a:endParaRPr lang="en-US" sz="825">
                <a:solidFill>
                  <a:schemeClr val="tx1">
                    <a:lumMod val="85000"/>
                    <a:lumOff val="15000"/>
                  </a:schemeClr>
                </a:solidFill>
                <a:latin typeface="+mj-lt"/>
                <a:ea typeface="Open Sans" panose="020B0606030504020204" pitchFamily="34" charset="0"/>
                <a:cs typeface="Open Sans" panose="020B0606030504020204" pitchFamily="34" charset="0"/>
              </a:endParaRPr>
            </a:p>
          </p:txBody>
        </p:sp>
        <p:sp>
          <p:nvSpPr>
            <p:cNvPr id="14" name="TextBox 13"/>
            <p:cNvSpPr txBox="1"/>
            <p:nvPr/>
          </p:nvSpPr>
          <p:spPr>
            <a:xfrm>
              <a:off x="9557264" y="4282000"/>
              <a:ext cx="697281" cy="284780"/>
            </a:xfrm>
            <a:prstGeom prst="rect">
              <a:avLst/>
            </a:prstGeom>
            <a:noFill/>
          </p:spPr>
          <p:txBody>
            <a:bodyPr wrap="none" rtlCol="0">
              <a:spAutoFit/>
            </a:bodyPr>
            <a:lstStyle/>
            <a:p>
              <a:pPr algn="r"/>
              <a:r>
                <a:rPr lang="en-US" sz="790">
                  <a:solidFill>
                    <a:schemeClr val="tx1">
                      <a:lumMod val="85000"/>
                      <a:lumOff val="15000"/>
                    </a:schemeClr>
                  </a:solidFill>
                  <a:latin typeface="+mj-lt"/>
                  <a:ea typeface="Open Sans" panose="020B0606030504020204" pitchFamily="34" charset="0"/>
                  <a:cs typeface="Open Sans" panose="020B0606030504020204" pitchFamily="34" charset="0"/>
                </a:rPr>
                <a:t>80%</a:t>
              </a:r>
              <a:endParaRPr lang="en-US" sz="790">
                <a:solidFill>
                  <a:schemeClr val="tx1">
                    <a:lumMod val="85000"/>
                    <a:lumOff val="15000"/>
                  </a:schemeClr>
                </a:solidFill>
                <a:latin typeface="+mj-lt"/>
                <a:ea typeface="Open Sans" panose="020B0606030504020204" pitchFamily="34" charset="0"/>
                <a:cs typeface="Open Sans" panose="020B0606030504020204" pitchFamily="34" charset="0"/>
              </a:endParaRPr>
            </a:p>
          </p:txBody>
        </p:sp>
        <p:sp>
          <p:nvSpPr>
            <p:cNvPr id="15" name="Rectangle 14"/>
            <p:cNvSpPr/>
            <p:nvPr/>
          </p:nvSpPr>
          <p:spPr>
            <a:xfrm>
              <a:off x="6173077" y="4512832"/>
              <a:ext cx="4018073" cy="7442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lumMod val="85000"/>
                    <a:lumOff val="15000"/>
                  </a:schemeClr>
                </a:solidFill>
                <a:latin typeface="+mj-lt"/>
              </a:endParaRPr>
            </a:p>
          </p:txBody>
        </p:sp>
        <p:sp>
          <p:nvSpPr>
            <p:cNvPr id="16" name="Rectangle 15"/>
            <p:cNvSpPr/>
            <p:nvPr/>
          </p:nvSpPr>
          <p:spPr>
            <a:xfrm>
              <a:off x="6175924" y="4512832"/>
              <a:ext cx="3134097" cy="74428"/>
            </a:xfrm>
            <a:prstGeom prst="rect">
              <a:avLst/>
            </a:prstGeom>
            <a:solidFill>
              <a:srgbClr val="5482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lumMod val="85000"/>
                    <a:lumOff val="15000"/>
                  </a:schemeClr>
                </a:solidFill>
                <a:latin typeface="+mj-lt"/>
              </a:endParaRPr>
            </a:p>
          </p:txBody>
        </p:sp>
        <p:sp>
          <p:nvSpPr>
            <p:cNvPr id="17" name="TextBox 16"/>
            <p:cNvSpPr txBox="1"/>
            <p:nvPr/>
          </p:nvSpPr>
          <p:spPr>
            <a:xfrm>
              <a:off x="6105284" y="4793164"/>
              <a:ext cx="2311410" cy="292388"/>
            </a:xfrm>
            <a:prstGeom prst="rect">
              <a:avLst/>
            </a:prstGeom>
            <a:noFill/>
          </p:spPr>
          <p:txBody>
            <a:bodyPr wrap="none" rtlCol="0">
              <a:spAutoFit/>
            </a:bodyPr>
            <a:lstStyle/>
            <a:p>
              <a:r>
                <a:rPr lang="en-US" sz="825">
                  <a:solidFill>
                    <a:schemeClr val="tx1">
                      <a:lumMod val="85000"/>
                      <a:lumOff val="15000"/>
                    </a:schemeClr>
                  </a:solidFill>
                  <a:latin typeface="+mj-lt"/>
                  <a:ea typeface="Open Sans" panose="020B0606030504020204" pitchFamily="34" charset="0"/>
                  <a:cs typeface="Open Sans" panose="020B0606030504020204" pitchFamily="34" charset="0"/>
                </a:rPr>
                <a:t>Marketing &amp; Consulting</a:t>
              </a:r>
              <a:endParaRPr lang="en-US" sz="825">
                <a:solidFill>
                  <a:schemeClr val="tx1">
                    <a:lumMod val="85000"/>
                    <a:lumOff val="15000"/>
                  </a:schemeClr>
                </a:solidFill>
                <a:latin typeface="+mj-lt"/>
                <a:ea typeface="Open Sans" panose="020B0606030504020204" pitchFamily="34" charset="0"/>
                <a:cs typeface="Open Sans" panose="020B0606030504020204" pitchFamily="34" charset="0"/>
              </a:endParaRPr>
            </a:p>
          </p:txBody>
        </p:sp>
        <p:sp>
          <p:nvSpPr>
            <p:cNvPr id="18" name="TextBox 17"/>
            <p:cNvSpPr txBox="1"/>
            <p:nvPr/>
          </p:nvSpPr>
          <p:spPr>
            <a:xfrm>
              <a:off x="9557264" y="4793164"/>
              <a:ext cx="697281" cy="284780"/>
            </a:xfrm>
            <a:prstGeom prst="rect">
              <a:avLst/>
            </a:prstGeom>
            <a:noFill/>
          </p:spPr>
          <p:txBody>
            <a:bodyPr wrap="none" rtlCol="0">
              <a:spAutoFit/>
            </a:bodyPr>
            <a:lstStyle/>
            <a:p>
              <a:pPr algn="r"/>
              <a:r>
                <a:rPr lang="en-US" sz="790">
                  <a:solidFill>
                    <a:schemeClr val="tx1">
                      <a:lumMod val="85000"/>
                      <a:lumOff val="15000"/>
                    </a:schemeClr>
                  </a:solidFill>
                  <a:latin typeface="+mj-lt"/>
                  <a:ea typeface="Open Sans" panose="020B0606030504020204" pitchFamily="34" charset="0"/>
                  <a:cs typeface="Open Sans" panose="020B0606030504020204" pitchFamily="34" charset="0"/>
                </a:rPr>
                <a:t>45%</a:t>
              </a:r>
              <a:endParaRPr lang="en-US" sz="790">
                <a:solidFill>
                  <a:schemeClr val="tx1">
                    <a:lumMod val="85000"/>
                    <a:lumOff val="15000"/>
                  </a:schemeClr>
                </a:solidFill>
                <a:latin typeface="+mj-lt"/>
                <a:ea typeface="Open Sans" panose="020B0606030504020204" pitchFamily="34" charset="0"/>
                <a:cs typeface="Open Sans" panose="020B0606030504020204" pitchFamily="34" charset="0"/>
              </a:endParaRPr>
            </a:p>
          </p:txBody>
        </p:sp>
        <p:sp>
          <p:nvSpPr>
            <p:cNvPr id="19" name="Rectangle 18"/>
            <p:cNvSpPr/>
            <p:nvPr/>
          </p:nvSpPr>
          <p:spPr>
            <a:xfrm>
              <a:off x="6173077" y="5023996"/>
              <a:ext cx="4018073" cy="7442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lumMod val="85000"/>
                    <a:lumOff val="15000"/>
                  </a:schemeClr>
                </a:solidFill>
                <a:latin typeface="+mj-lt"/>
              </a:endParaRPr>
            </a:p>
          </p:txBody>
        </p:sp>
        <p:sp>
          <p:nvSpPr>
            <p:cNvPr id="20" name="Rectangle 19"/>
            <p:cNvSpPr/>
            <p:nvPr/>
          </p:nvSpPr>
          <p:spPr>
            <a:xfrm>
              <a:off x="6175924" y="5023996"/>
              <a:ext cx="2009037" cy="74428"/>
            </a:xfrm>
            <a:prstGeom prst="rect">
              <a:avLst/>
            </a:prstGeom>
            <a:solidFill>
              <a:srgbClr val="5482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lumMod val="85000"/>
                    <a:lumOff val="15000"/>
                  </a:schemeClr>
                </a:solidFill>
                <a:latin typeface="+mj-lt"/>
              </a:endParaRPr>
            </a:p>
          </p:txBody>
        </p:sp>
      </p:grpSp>
      <p:grpSp>
        <p:nvGrpSpPr>
          <p:cNvPr id="21" name="Group 20"/>
          <p:cNvGrpSpPr/>
          <p:nvPr/>
        </p:nvGrpSpPr>
        <p:grpSpPr>
          <a:xfrm>
            <a:off x="506504" y="2014507"/>
            <a:ext cx="268133" cy="268133"/>
            <a:chOff x="5493465" y="3026800"/>
            <a:chExt cx="393262" cy="393262"/>
          </a:xfrm>
        </p:grpSpPr>
        <p:sp>
          <p:nvSpPr>
            <p:cNvPr id="22" name="Oval 21"/>
            <p:cNvSpPr/>
            <p:nvPr/>
          </p:nvSpPr>
          <p:spPr>
            <a:xfrm>
              <a:off x="5493465" y="3026800"/>
              <a:ext cx="393262" cy="393262"/>
            </a:xfrm>
            <a:prstGeom prst="ellipse">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3" name="Half Frame 11"/>
            <p:cNvSpPr/>
            <p:nvPr>
              <p:custDataLst>
                <p:tags r:id="rId2"/>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sz="1015">
                <a:solidFill>
                  <a:schemeClr val="tx1"/>
                </a:solidFill>
                <a:ea typeface="MS PGothic" panose="020B0600070205080204" charset="-128"/>
              </a:endParaRPr>
            </a:p>
          </p:txBody>
        </p:sp>
      </p:grpSp>
      <p:sp>
        <p:nvSpPr>
          <p:cNvPr id="24" name="Rectangle 23"/>
          <p:cNvSpPr/>
          <p:nvPr/>
        </p:nvSpPr>
        <p:spPr>
          <a:xfrm>
            <a:off x="995510" y="1983914"/>
            <a:ext cx="1469059" cy="217434"/>
          </a:xfrm>
          <a:prstGeom prst="rect">
            <a:avLst/>
          </a:prstGeom>
        </p:spPr>
        <p:txBody>
          <a:bodyPr vert="horz" wrap="square" lIns="68580" tIns="34290" rIns="68580" bIns="34290" rtlCol="0" anchor="ctr">
            <a:noAutofit/>
          </a:bodyPr>
          <a:lstStyle/>
          <a:p>
            <a:pPr>
              <a:lnSpc>
                <a:spcPct val="90000"/>
              </a:lnSpc>
              <a:spcBef>
                <a:spcPct val="0"/>
              </a:spcBef>
            </a:pPr>
            <a:r>
              <a:rPr lang="en-US" sz="1050" b="1" dirty="0">
                <a:solidFill>
                  <a:schemeClr val="tx1">
                    <a:lumMod val="85000"/>
                    <a:lumOff val="15000"/>
                  </a:schemeClr>
                </a:solidFill>
                <a:ea typeface="Roboto" panose="02000000000000000000" pitchFamily="2" charset="0"/>
                <a:cs typeface="Times New Roman" panose="02020603050405020304" pitchFamily="18" charset="0"/>
              </a:rPr>
              <a:t>FEATURE</a:t>
            </a:r>
            <a:endParaRPr lang="en-US" sz="1050" b="1" dirty="0">
              <a:solidFill>
                <a:schemeClr val="tx1">
                  <a:lumMod val="85000"/>
                  <a:lumOff val="15000"/>
                </a:schemeClr>
              </a:solidFill>
              <a:ea typeface="Roboto" panose="02000000000000000000" pitchFamily="2" charset="0"/>
              <a:cs typeface="Times New Roman" panose="02020603050405020304" pitchFamily="18" charset="0"/>
            </a:endParaRPr>
          </a:p>
        </p:txBody>
      </p:sp>
      <p:sp>
        <p:nvSpPr>
          <p:cNvPr id="25" name="Rectangle 24"/>
          <p:cNvSpPr/>
          <p:nvPr/>
        </p:nvSpPr>
        <p:spPr>
          <a:xfrm>
            <a:off x="996482" y="2162282"/>
            <a:ext cx="1754915" cy="456087"/>
          </a:xfrm>
          <a:prstGeom prst="rect">
            <a:avLst/>
          </a:prstGeom>
        </p:spPr>
        <p:txBody>
          <a:bodyPr wrap="square">
            <a:spAutoFit/>
          </a:bodyPr>
          <a:lstStyle/>
          <a:p>
            <a:pPr>
              <a:buClr>
                <a:srgbClr val="E24848"/>
              </a:buClr>
              <a:defRPr/>
            </a:pPr>
            <a:r>
              <a:rPr lang="en-US" sz="790" noProof="1">
                <a:solidFill>
                  <a:schemeClr val="tx1">
                    <a:lumMod val="85000"/>
                    <a:lumOff val="15000"/>
                  </a:schemeClr>
                </a:solidFill>
                <a:latin typeface="+mj-lt"/>
                <a:ea typeface="Roboto" panose="02000000000000000000" pitchFamily="2" charset="0"/>
                <a:cs typeface="Open Sans Light" panose="020B0306030504020204" pitchFamily="34" charset="0"/>
              </a:rPr>
              <a:t>Lorem ipsum dolor sit amet, consectetur adipiscing elit. Nulla imperdiet volutpat dui at fermentm. </a:t>
            </a:r>
            <a:endParaRPr lang="en-US" sz="790" noProof="1">
              <a:solidFill>
                <a:schemeClr val="tx1">
                  <a:lumMod val="85000"/>
                  <a:lumOff val="15000"/>
                </a:schemeClr>
              </a:solidFill>
              <a:latin typeface="+mj-lt"/>
              <a:ea typeface="Roboto" panose="02000000000000000000" pitchFamily="2" charset="0"/>
              <a:cs typeface="Open Sans Light" panose="020B0306030504020204" pitchFamily="34" charset="0"/>
            </a:endParaRPr>
          </a:p>
        </p:txBody>
      </p:sp>
      <p:pic>
        <p:nvPicPr>
          <p:cNvPr id="4" name="图片占位符 3"/>
          <p:cNvPicPr>
            <a:picLocks noGrp="1" noChangeAspect="1"/>
          </p:cNvPicPr>
          <p:nvPr>
            <p:ph type="pic" sz="quarter" idx="23"/>
          </p:nvPr>
        </p:nvPicPr>
        <p:blipFill>
          <a:blip r:embed="rId3" cstate="print">
            <a:extLst>
              <a:ext uri="{28A0092B-C50C-407E-A947-70E740481C1C}">
                <a14:useLocalDpi xmlns:a14="http://schemas.microsoft.com/office/drawing/2010/main" val="0"/>
              </a:ext>
            </a:extLst>
          </a:blip>
          <a:srcRect l="18881" r="18881"/>
          <a:stretch>
            <a:fillRect/>
          </a:stretch>
        </p:blipFill>
        <p:spPr/>
      </p:pic>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p:cNvSpPr/>
          <p:nvPr/>
        </p:nvSpPr>
        <p:spPr>
          <a:xfrm>
            <a:off x="4562951" y="0"/>
            <a:ext cx="4581049" cy="2751297"/>
          </a:xfrm>
          <a:prstGeom prst="rect">
            <a:avLst/>
          </a:prstGeom>
          <a:blipFill>
            <a:blip r:embed="rId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1" name="矩形 10"/>
          <p:cNvSpPr/>
          <p:nvPr/>
        </p:nvSpPr>
        <p:spPr>
          <a:xfrm>
            <a:off x="2410302" y="1962627"/>
            <a:ext cx="2497931" cy="2656999"/>
          </a:xfrm>
          <a:prstGeom prst="rect">
            <a:avLst/>
          </a:prstGeom>
          <a:noFill/>
          <a:ln w="19050">
            <a:solidFill>
              <a:srgbClr val="5482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矩形 12"/>
          <p:cNvSpPr/>
          <p:nvPr/>
        </p:nvSpPr>
        <p:spPr>
          <a:xfrm>
            <a:off x="4567714" y="2071688"/>
            <a:ext cx="268129" cy="268129"/>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rgbClr val="548235"/>
              </a:solidFill>
            </a:endParaRPr>
          </a:p>
        </p:txBody>
      </p:sp>
      <p:sp>
        <p:nvSpPr>
          <p:cNvPr id="15" name="文本框 14"/>
          <p:cNvSpPr txBox="1"/>
          <p:nvPr/>
        </p:nvSpPr>
        <p:spPr>
          <a:xfrm>
            <a:off x="3321844" y="2392204"/>
            <a:ext cx="1513523" cy="1495409"/>
          </a:xfrm>
          <a:prstGeom prst="rect">
            <a:avLst/>
          </a:prstGeom>
          <a:noFill/>
        </p:spPr>
        <p:txBody>
          <a:bodyPr wrap="square" rtlCol="0">
            <a:spAutoFit/>
          </a:bodyPr>
          <a:lstStyle/>
          <a:p>
            <a:pPr>
              <a:lnSpc>
                <a:spcPct val="150000"/>
              </a:lnSpc>
            </a:pPr>
            <a:r>
              <a:rPr lang="en-US" altLang="zh-CN" sz="1015" dirty="0">
                <a:solidFill>
                  <a:srgbClr val="548235"/>
                </a:solidFill>
              </a:rPr>
              <a:t>A   L   </a:t>
            </a:r>
            <a:r>
              <a:rPr lang="en-US" altLang="zh-CN" sz="1015" dirty="0" err="1">
                <a:solidFill>
                  <a:srgbClr val="548235"/>
                </a:solidFill>
              </a:rPr>
              <a:t>L</a:t>
            </a:r>
            <a:endParaRPr lang="en-US" altLang="zh-CN" sz="1015" dirty="0">
              <a:solidFill>
                <a:srgbClr val="548235"/>
              </a:solidFill>
            </a:endParaRPr>
          </a:p>
          <a:p>
            <a:pPr>
              <a:lnSpc>
                <a:spcPct val="150000"/>
              </a:lnSpc>
            </a:pPr>
            <a:r>
              <a:rPr lang="en-US" altLang="zh-CN" sz="1015" dirty="0">
                <a:solidFill>
                  <a:srgbClr val="548235"/>
                </a:solidFill>
              </a:rPr>
              <a:t>O   R</a:t>
            </a:r>
            <a:endParaRPr lang="en-US" altLang="zh-CN" sz="1015" dirty="0">
              <a:solidFill>
                <a:srgbClr val="548235"/>
              </a:solidFill>
            </a:endParaRPr>
          </a:p>
          <a:p>
            <a:pPr>
              <a:lnSpc>
                <a:spcPct val="150000"/>
              </a:lnSpc>
            </a:pPr>
            <a:r>
              <a:rPr lang="en-US" altLang="zh-CN" sz="1015" dirty="0">
                <a:solidFill>
                  <a:srgbClr val="548235"/>
                </a:solidFill>
              </a:rPr>
              <a:t>N   O   T   H   I   N   G</a:t>
            </a:r>
            <a:endParaRPr lang="en-US" altLang="zh-CN" sz="1015" dirty="0">
              <a:solidFill>
                <a:srgbClr val="548235"/>
              </a:solidFill>
            </a:endParaRPr>
          </a:p>
          <a:p>
            <a:pPr>
              <a:lnSpc>
                <a:spcPct val="150000"/>
              </a:lnSpc>
            </a:pPr>
            <a:r>
              <a:rPr lang="en-US" altLang="zh-CN" sz="1015" dirty="0">
                <a:solidFill>
                  <a:srgbClr val="548235"/>
                </a:solidFill>
              </a:rPr>
              <a:t>N   O   W</a:t>
            </a:r>
            <a:endParaRPr lang="en-US" altLang="zh-CN" sz="1015" dirty="0">
              <a:solidFill>
                <a:srgbClr val="548235"/>
              </a:solidFill>
            </a:endParaRPr>
          </a:p>
          <a:p>
            <a:pPr>
              <a:lnSpc>
                <a:spcPct val="150000"/>
              </a:lnSpc>
            </a:pPr>
            <a:r>
              <a:rPr lang="en-US" altLang="zh-CN" sz="1015" dirty="0">
                <a:solidFill>
                  <a:srgbClr val="548235"/>
                </a:solidFill>
              </a:rPr>
              <a:t>O   R</a:t>
            </a:r>
            <a:endParaRPr lang="en-US" altLang="zh-CN" sz="1015" dirty="0">
              <a:solidFill>
                <a:srgbClr val="548235"/>
              </a:solidFill>
            </a:endParaRPr>
          </a:p>
          <a:p>
            <a:pPr>
              <a:lnSpc>
                <a:spcPct val="150000"/>
              </a:lnSpc>
            </a:pPr>
            <a:r>
              <a:rPr lang="en-US" altLang="zh-CN" sz="1015" dirty="0">
                <a:solidFill>
                  <a:srgbClr val="548235"/>
                </a:solidFill>
              </a:rPr>
              <a:t>N   E   V   E   R</a:t>
            </a:r>
            <a:endParaRPr lang="en-US" altLang="zh-CN" sz="1015" dirty="0">
              <a:solidFill>
                <a:srgbClr val="548235"/>
              </a:solidFill>
            </a:endParaRPr>
          </a:p>
        </p:txBody>
      </p:sp>
      <p:sp>
        <p:nvSpPr>
          <p:cNvPr id="17" name="矩形 16"/>
          <p:cNvSpPr/>
          <p:nvPr/>
        </p:nvSpPr>
        <p:spPr>
          <a:xfrm>
            <a:off x="-9048" y="0"/>
            <a:ext cx="4571999" cy="5143500"/>
          </a:xfrm>
          <a:prstGeom prst="rect">
            <a:avLst/>
          </a:prstGeom>
          <a:gradFill flip="none" rotWithShape="1">
            <a:gsLst>
              <a:gs pos="84000">
                <a:schemeClr val="bg1">
                  <a:alpha val="0"/>
                </a:schemeClr>
              </a:gs>
              <a:gs pos="100000">
                <a:schemeClr val="tx1">
                  <a:lumMod val="50000"/>
                  <a:lumOff val="50000"/>
                  <a:alpha val="30000"/>
                </a:schemeClr>
              </a:gs>
            </a:gsLst>
            <a:lin ang="0" scaled="1"/>
            <a:tileRect/>
          </a:gradFill>
          <a:ln>
            <a:noFill/>
          </a:ln>
          <a:effectLst>
            <a:outerShdw blurRad="101600" dist="38100" sx="101000" sy="101000" algn="l" rotWithShape="0">
              <a:prstClr val="black">
                <a:alpha val="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 name="Rectangle 3"/>
          <p:cNvSpPr/>
          <p:nvPr/>
        </p:nvSpPr>
        <p:spPr>
          <a:xfrm>
            <a:off x="5186883" y="3740491"/>
            <a:ext cx="3649482" cy="219291"/>
          </a:xfrm>
          <a:prstGeom prst="rect">
            <a:avLst/>
          </a:prstGeom>
        </p:spPr>
        <p:txBody>
          <a:bodyPr wrap="square">
            <a:spAutoFit/>
          </a:bodyPr>
          <a:lstStyle/>
          <a:p>
            <a:pPr>
              <a:buClr>
                <a:srgbClr val="E24848"/>
              </a:buClr>
              <a:defRPr/>
            </a:pPr>
            <a:r>
              <a:rPr lang="en-US" sz="825" noProof="1">
                <a:solidFill>
                  <a:srgbClr val="548235"/>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rgbClr val="548235"/>
              </a:solidFill>
              <a:latin typeface="+mj-lt"/>
              <a:ea typeface="Open Sans Light" panose="020B0306030504020204" pitchFamily="34" charset="0"/>
              <a:cs typeface="Open Sans Light" panose="020B0306030504020204" pitchFamily="34" charset="0"/>
            </a:endParaRPr>
          </a:p>
        </p:txBody>
      </p:sp>
      <p:sp>
        <p:nvSpPr>
          <p:cNvPr id="14" name="Rectangle 12"/>
          <p:cNvSpPr/>
          <p:nvPr/>
        </p:nvSpPr>
        <p:spPr>
          <a:xfrm>
            <a:off x="5186883" y="4050323"/>
            <a:ext cx="3770923" cy="507831"/>
          </a:xfrm>
          <a:prstGeom prst="rect">
            <a:avLst/>
          </a:prstGeom>
        </p:spPr>
        <p:txBody>
          <a:bodyPr wrap="square">
            <a:spAutoFit/>
          </a:bodyPr>
          <a:lstStyle/>
          <a:p>
            <a:pPr>
              <a:buClr>
                <a:srgbClr val="E24848"/>
              </a:buClr>
              <a:defRPr/>
            </a:pPr>
            <a:r>
              <a:rPr lang="en-US" sz="900" noProof="1">
                <a:solidFill>
                  <a:srgbClr val="548235"/>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a:t>
            </a:r>
            <a:endParaRPr lang="en-US" sz="900" noProof="1">
              <a:solidFill>
                <a:srgbClr val="548235"/>
              </a:solidFill>
              <a:latin typeface="+mj-lt"/>
              <a:ea typeface="Open Sans Light" panose="020B0306030504020204" pitchFamily="34" charset="0"/>
              <a:cs typeface="Open Sans Light" panose="020B0306030504020204" pitchFamily="34" charset="0"/>
            </a:endParaRPr>
          </a:p>
        </p:txBody>
      </p:sp>
      <p:sp>
        <p:nvSpPr>
          <p:cNvPr id="18" name="Title 1"/>
          <p:cNvSpPr txBox="1"/>
          <p:nvPr/>
        </p:nvSpPr>
        <p:spPr>
          <a:xfrm>
            <a:off x="5158308" y="3141850"/>
            <a:ext cx="4692015" cy="598640"/>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4950" b="1" spc="-113" dirty="0">
                <a:solidFill>
                  <a:srgbClr val="548235"/>
                </a:solidFill>
                <a:latin typeface="Raleway" panose="020B0503030101060003" pitchFamily="34" charset="0"/>
                <a:ea typeface="Open Sans" panose="020B0606030504020204" pitchFamily="34" charset="0"/>
                <a:cs typeface="Lato" panose="020F0502020204030203" pitchFamily="34" charset="0"/>
              </a:rPr>
              <a:t>Thank you </a:t>
            </a:r>
            <a:endParaRPr lang="en-US" sz="4950" spc="-113" dirty="0">
              <a:solidFill>
                <a:srgbClr val="548235"/>
              </a:solidFill>
              <a:latin typeface="Raleway Light" panose="020B0403030101060003" pitchFamily="34" charset="0"/>
              <a:ea typeface="Open Sans" panose="020B0606030504020204" pitchFamily="34" charset="0"/>
              <a:cs typeface="Lato" panose="020F0502020204030203" pitchFamily="34" charset="0"/>
            </a:endParaRPr>
          </a:p>
        </p:txBody>
      </p:sp>
      <p:sp>
        <p:nvSpPr>
          <p:cNvPr id="20" name="矩形 19"/>
          <p:cNvSpPr/>
          <p:nvPr/>
        </p:nvSpPr>
        <p:spPr>
          <a:xfrm>
            <a:off x="219649" y="762000"/>
            <a:ext cx="2942006" cy="36195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1"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heel(1)">
                                      <p:cBhvr>
                                        <p:cTn id="7" dur="500"/>
                                        <p:tgtEl>
                                          <p:spTgt spid="11"/>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p:cTn id="11" dur="500" fill="hold"/>
                                        <p:tgtEl>
                                          <p:spTgt spid="13"/>
                                        </p:tgtEl>
                                        <p:attrNameLst>
                                          <p:attrName>ppt_w</p:attrName>
                                        </p:attrNameLst>
                                      </p:cBhvr>
                                      <p:tavLst>
                                        <p:tav tm="0">
                                          <p:val>
                                            <p:fltVal val="0"/>
                                          </p:val>
                                        </p:tav>
                                        <p:tav tm="100000">
                                          <p:val>
                                            <p:strVal val="#ppt_w"/>
                                          </p:val>
                                        </p:tav>
                                      </p:tavLst>
                                    </p:anim>
                                    <p:anim calcmode="lin" valueType="num">
                                      <p:cBhvr>
                                        <p:cTn id="12" dur="500" fill="hold"/>
                                        <p:tgtEl>
                                          <p:spTgt spid="13"/>
                                        </p:tgtEl>
                                        <p:attrNameLst>
                                          <p:attrName>ppt_h</p:attrName>
                                        </p:attrNameLst>
                                      </p:cBhvr>
                                      <p:tavLst>
                                        <p:tav tm="0">
                                          <p:val>
                                            <p:fltVal val="0"/>
                                          </p:val>
                                        </p:tav>
                                        <p:tav tm="100000">
                                          <p:val>
                                            <p:strVal val="#ppt_h"/>
                                          </p:val>
                                        </p:tav>
                                      </p:tavLst>
                                    </p:anim>
                                    <p:animEffect transition="in" filter="fade">
                                      <p:cBhvr>
                                        <p:cTn id="13" dur="500"/>
                                        <p:tgtEl>
                                          <p:spTgt spid="13"/>
                                        </p:tgtEl>
                                      </p:cBhvr>
                                    </p:animEffect>
                                  </p:childTnLst>
                                </p:cTn>
                              </p:par>
                            </p:childTnLst>
                          </p:cTn>
                        </p:par>
                        <p:par>
                          <p:cTn id="14" fill="hold">
                            <p:stCondLst>
                              <p:cond delay="1000"/>
                            </p:stCondLst>
                            <p:childTnLst>
                              <p:par>
                                <p:cTn id="15" presetID="42" presetClass="entr" presetSubtype="0" fill="hold" grpId="0" nodeType="after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anim calcmode="lin" valueType="num">
                                      <p:cBhvr>
                                        <p:cTn id="18" dur="500" fill="hold"/>
                                        <p:tgtEl>
                                          <p:spTgt spid="15"/>
                                        </p:tgtEl>
                                        <p:attrNameLst>
                                          <p:attrName>ppt_x</p:attrName>
                                        </p:attrNameLst>
                                      </p:cBhvr>
                                      <p:tavLst>
                                        <p:tav tm="0">
                                          <p:val>
                                            <p:strVal val="#ppt_x"/>
                                          </p:val>
                                        </p:tav>
                                        <p:tav tm="100000">
                                          <p:val>
                                            <p:strVal val="#ppt_x"/>
                                          </p:val>
                                        </p:tav>
                                      </p:tavLst>
                                    </p:anim>
                                    <p:anim calcmode="lin" valueType="num">
                                      <p:cBhvr>
                                        <p:cTn id="19" dur="5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2" presetClass="entr" presetSubtype="2" fill="hold" grpId="0" nodeType="click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right)">
                                      <p:cBhvr>
                                        <p:cTn id="24" dur="500"/>
                                        <p:tgtEl>
                                          <p:spTgt spid="20"/>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left)">
                                      <p:cBhvr>
                                        <p:cTn id="27" dur="500"/>
                                        <p:tgtEl>
                                          <p:spTgt spid="26"/>
                                        </p:tgtEl>
                                      </p:cBhvr>
                                    </p:animEffect>
                                  </p:childTnLst>
                                </p:cTn>
                              </p:par>
                            </p:childTnLst>
                          </p:cTn>
                        </p:par>
                        <p:par>
                          <p:cTn id="28" fill="hold">
                            <p:stCondLst>
                              <p:cond delay="500"/>
                            </p:stCondLst>
                            <p:childTnLst>
                              <p:par>
                                <p:cTn id="29" presetID="22" presetClass="entr" presetSubtype="2" fill="hold" grpId="0"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wipe(right)">
                                      <p:cBhvr>
                                        <p:cTn id="31" dur="500"/>
                                        <p:tgtEl>
                                          <p:spTgt spid="17"/>
                                        </p:tgtEl>
                                      </p:cBhvr>
                                    </p:animEffect>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anim calcmode="lin" valueType="num">
                                      <p:cBhvr>
                                        <p:cTn id="37" dur="1000" fill="hold"/>
                                        <p:tgtEl>
                                          <p:spTgt spid="12"/>
                                        </p:tgtEl>
                                        <p:attrNameLst>
                                          <p:attrName>ppt_x</p:attrName>
                                        </p:attrNameLst>
                                      </p:cBhvr>
                                      <p:tavLst>
                                        <p:tav tm="0">
                                          <p:val>
                                            <p:strVal val="#ppt_x"/>
                                          </p:val>
                                        </p:tav>
                                        <p:tav tm="100000">
                                          <p:val>
                                            <p:strVal val="#ppt_x"/>
                                          </p:val>
                                        </p:tav>
                                      </p:tavLst>
                                    </p:anim>
                                    <p:anim calcmode="lin" valueType="num">
                                      <p:cBhvr>
                                        <p:cTn id="38" dur="1000" fill="hold"/>
                                        <p:tgtEl>
                                          <p:spTgt spid="12"/>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1000"/>
                                        <p:tgtEl>
                                          <p:spTgt spid="14"/>
                                        </p:tgtEl>
                                      </p:cBhvr>
                                    </p:animEffect>
                                    <p:anim calcmode="lin" valueType="num">
                                      <p:cBhvr>
                                        <p:cTn id="42" dur="1000" fill="hold"/>
                                        <p:tgtEl>
                                          <p:spTgt spid="14"/>
                                        </p:tgtEl>
                                        <p:attrNameLst>
                                          <p:attrName>ppt_x</p:attrName>
                                        </p:attrNameLst>
                                      </p:cBhvr>
                                      <p:tavLst>
                                        <p:tav tm="0">
                                          <p:val>
                                            <p:strVal val="#ppt_x"/>
                                          </p:val>
                                        </p:tav>
                                        <p:tav tm="100000">
                                          <p:val>
                                            <p:strVal val="#ppt_x"/>
                                          </p:val>
                                        </p:tav>
                                      </p:tavLst>
                                    </p:anim>
                                    <p:anim calcmode="lin" valueType="num">
                                      <p:cBhvr>
                                        <p:cTn id="43" dur="1000" fill="hold"/>
                                        <p:tgtEl>
                                          <p:spTgt spid="14"/>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fade">
                                      <p:cBhvr>
                                        <p:cTn id="46" dur="1000"/>
                                        <p:tgtEl>
                                          <p:spTgt spid="18"/>
                                        </p:tgtEl>
                                      </p:cBhvr>
                                    </p:animEffect>
                                    <p:anim calcmode="lin" valueType="num">
                                      <p:cBhvr>
                                        <p:cTn id="47" dur="1000" fill="hold"/>
                                        <p:tgtEl>
                                          <p:spTgt spid="18"/>
                                        </p:tgtEl>
                                        <p:attrNameLst>
                                          <p:attrName>ppt_x</p:attrName>
                                        </p:attrNameLst>
                                      </p:cBhvr>
                                      <p:tavLst>
                                        <p:tav tm="0">
                                          <p:val>
                                            <p:strVal val="#ppt_x"/>
                                          </p:val>
                                        </p:tav>
                                        <p:tav tm="100000">
                                          <p:val>
                                            <p:strVal val="#ppt_x"/>
                                          </p:val>
                                        </p:tav>
                                      </p:tavLst>
                                    </p:anim>
                                    <p:anim calcmode="lin" valueType="num">
                                      <p:cBhvr>
                                        <p:cTn id="48"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11" grpId="0" animBg="1"/>
      <p:bldP spid="11" grpId="1" animBg="1"/>
      <p:bldP spid="13" grpId="0" animBg="1"/>
      <p:bldP spid="15" grpId="0"/>
      <p:bldP spid="17" grpId="0" bldLvl="0" animBg="1"/>
      <p:bldP spid="12" grpId="0"/>
      <p:bldP spid="14" grpId="0"/>
      <p:bldP spid="18" grpId="0"/>
      <p:bldP spid="2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278279" y="0"/>
            <a:ext cx="3885248" cy="5143500"/>
          </a:xfrm>
          <a:prstGeom prst="rect">
            <a:avLst/>
          </a:prstGeom>
        </p:spPr>
      </p:pic>
      <p:sp>
        <p:nvSpPr>
          <p:cNvPr id="5" name="矩形 4"/>
          <p:cNvSpPr/>
          <p:nvPr/>
        </p:nvSpPr>
        <p:spPr>
          <a:xfrm>
            <a:off x="476" y="1245870"/>
            <a:ext cx="5964555" cy="247935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 name="文本框 5"/>
          <p:cNvSpPr txBox="1"/>
          <p:nvPr/>
        </p:nvSpPr>
        <p:spPr>
          <a:xfrm>
            <a:off x="357505" y="1648460"/>
            <a:ext cx="5715000" cy="922020"/>
          </a:xfrm>
          <a:prstGeom prst="rect">
            <a:avLst/>
          </a:prstGeom>
          <a:noFill/>
        </p:spPr>
        <p:txBody>
          <a:bodyPr wrap="square" rtlCol="0">
            <a:spAutoFit/>
          </a:bodyPr>
          <a:lstStyle/>
          <a:p>
            <a:pPr algn="dist"/>
            <a:r>
              <a:rPr lang="en-US" altLang="zh-CN" sz="5400" dirty="0">
                <a:solidFill>
                  <a:schemeClr val="bg1"/>
                </a:solidFill>
                <a:latin typeface="LeviBrush" panose="00000400000000000000" charset="0"/>
                <a:ea typeface="方正清刻本悦宋简体" panose="02000000000000000000" charset="-122"/>
                <a:cs typeface="LeviBrush" panose="00000400000000000000" charset="0"/>
                <a:sym typeface="+mn-ea"/>
              </a:rPr>
              <a:t>PART </a:t>
            </a:r>
            <a:r>
              <a:rPr lang="en-US" altLang="zh-CN" sz="5400" dirty="0" smtClean="0">
                <a:solidFill>
                  <a:schemeClr val="bg1"/>
                </a:solidFill>
                <a:latin typeface="LeviBrush" panose="00000400000000000000" charset="0"/>
                <a:ea typeface="方正清刻本悦宋简体" panose="02000000000000000000" charset="-122"/>
                <a:cs typeface="LeviBrush" panose="00000400000000000000" charset="0"/>
                <a:sym typeface="+mn-ea"/>
              </a:rPr>
              <a:t>ONE</a:t>
            </a:r>
            <a:endParaRPr lang="en-US" altLang="zh-CN" sz="5400" dirty="0">
              <a:solidFill>
                <a:schemeClr val="bg1"/>
              </a:solidFill>
              <a:latin typeface="LeviBrush" panose="00000400000000000000" charset="0"/>
              <a:ea typeface="方正清刻本悦宋简体" panose="02000000000000000000" charset="-122"/>
              <a:cs typeface="LeviBrush" panose="00000400000000000000" charset="0"/>
              <a:sym typeface="+mn-ea"/>
            </a:endParaRPr>
          </a:p>
        </p:txBody>
      </p:sp>
      <p:sp>
        <p:nvSpPr>
          <p:cNvPr id="7" name="文本框 6"/>
          <p:cNvSpPr txBox="1"/>
          <p:nvPr/>
        </p:nvSpPr>
        <p:spPr>
          <a:xfrm>
            <a:off x="369094" y="2945130"/>
            <a:ext cx="5183029"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00000"/>
              </a:lnSpc>
            </a:pP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endParaRPr lang="en-US" altLang="zh-CN" sz="600" kern="0" dirty="0">
              <a:solidFill>
                <a:schemeClr val="bg1"/>
              </a:solidFill>
              <a:ea typeface="微软雅黑" panose="020B0503020204020204" charset="-122"/>
              <a:sym typeface="Arial" panose="020B0604020202020204" pitchFamily="34" charset="0"/>
            </a:endParaRPr>
          </a:p>
        </p:txBody>
      </p:sp>
      <p:sp>
        <p:nvSpPr>
          <p:cNvPr id="8" name="文本框 7"/>
          <p:cNvSpPr txBox="1"/>
          <p:nvPr/>
        </p:nvSpPr>
        <p:spPr>
          <a:xfrm>
            <a:off x="417196" y="2461261"/>
            <a:ext cx="3566636" cy="507831"/>
          </a:xfrm>
          <a:prstGeom prst="rect">
            <a:avLst/>
          </a:prstGeom>
          <a:noFill/>
        </p:spPr>
        <p:txBody>
          <a:bodyPr wrap="square" rtlCol="0">
            <a:spAutoFit/>
          </a:bodyPr>
          <a:lstStyle/>
          <a:p>
            <a:pPr algn="l"/>
            <a:r>
              <a:rPr lang="en-US" altLang="zh-CN" sz="2700" dirty="0">
                <a:solidFill>
                  <a:schemeClr val="bg1"/>
                </a:solidFill>
                <a:ea typeface="方正清刻本悦宋简体" panose="02000000000000000000" charset="-122"/>
                <a:cs typeface="+mn-lt"/>
                <a:sym typeface="+mn-ea"/>
              </a:rPr>
              <a:t>ADD YOUR TEXT HERE</a:t>
            </a:r>
            <a:endParaRPr lang="en-US" altLang="zh-CN" sz="2700" dirty="0">
              <a:solidFill>
                <a:schemeClr val="bg1"/>
              </a:solidFill>
              <a:ea typeface="方正清刻本悦宋简体" panose="02000000000000000000" charset="-122"/>
              <a:cs typeface="+mn-lt"/>
              <a:sym typeface="+mn-ea"/>
            </a:endParaRPr>
          </a:p>
        </p:txBody>
      </p:sp>
      <p:grpSp>
        <p:nvGrpSpPr>
          <p:cNvPr id="9" name="组合 8"/>
          <p:cNvGrpSpPr/>
          <p:nvPr/>
        </p:nvGrpSpPr>
        <p:grpSpPr>
          <a:xfrm>
            <a:off x="5714048" y="1710214"/>
            <a:ext cx="509111" cy="145733"/>
            <a:chOff x="7833" y="2869"/>
            <a:chExt cx="1614" cy="426"/>
          </a:xfrm>
        </p:grpSpPr>
        <p:sp>
          <p:nvSpPr>
            <p:cNvPr id="10" name="任意多边形 9"/>
            <p:cNvSpPr/>
            <p:nvPr/>
          </p:nvSpPr>
          <p:spPr>
            <a:xfrm>
              <a:off x="7833" y="2869"/>
              <a:ext cx="1615" cy="142"/>
            </a:xfrm>
            <a:custGeom>
              <a:avLst/>
              <a:gdLst>
                <a:gd name="connisteX0" fmla="*/ 0 w 1025320"/>
                <a:gd name="connsiteY0" fmla="*/ 51640 h 90133"/>
                <a:gd name="connisteX1" fmla="*/ 95250 w 1025320"/>
                <a:gd name="connsiteY1" fmla="*/ 840 h 90133"/>
                <a:gd name="connisteX2" fmla="*/ 209550 w 1025320"/>
                <a:gd name="connsiteY2" fmla="*/ 89740 h 90133"/>
                <a:gd name="connisteX3" fmla="*/ 425450 w 1025320"/>
                <a:gd name="connsiteY3" fmla="*/ 840 h 90133"/>
                <a:gd name="connisteX4" fmla="*/ 565150 w 1025320"/>
                <a:gd name="connsiteY4" fmla="*/ 77040 h 90133"/>
                <a:gd name="connisteX5" fmla="*/ 781050 w 1025320"/>
                <a:gd name="connsiteY5" fmla="*/ 13540 h 90133"/>
                <a:gd name="connisteX6" fmla="*/ 914400 w 1025320"/>
                <a:gd name="connsiteY6" fmla="*/ 89740 h 90133"/>
                <a:gd name="connisteX7" fmla="*/ 1016000 w 1025320"/>
                <a:gd name="connsiteY7" fmla="*/ 38940 h 90133"/>
                <a:gd name="connisteX8" fmla="*/ 1016000 w 1025320"/>
                <a:gd name="connsiteY8" fmla="*/ 38940 h 90133"/>
                <a:gd name="connisteX9" fmla="*/ 1009650 w 1025320"/>
                <a:gd name="connsiteY9" fmla="*/ 38940 h 901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025320" h="90133">
                  <a:moveTo>
                    <a:pt x="0" y="51641"/>
                  </a:moveTo>
                  <a:cubicBezTo>
                    <a:pt x="16510" y="39576"/>
                    <a:pt x="53340" y="-6779"/>
                    <a:pt x="95250" y="841"/>
                  </a:cubicBezTo>
                  <a:cubicBezTo>
                    <a:pt x="137160" y="8461"/>
                    <a:pt x="143510" y="89741"/>
                    <a:pt x="209550" y="89741"/>
                  </a:cubicBezTo>
                  <a:cubicBezTo>
                    <a:pt x="275590" y="89741"/>
                    <a:pt x="354330" y="3381"/>
                    <a:pt x="425450" y="841"/>
                  </a:cubicBezTo>
                  <a:cubicBezTo>
                    <a:pt x="496570" y="-1699"/>
                    <a:pt x="494030" y="74501"/>
                    <a:pt x="565150" y="77041"/>
                  </a:cubicBezTo>
                  <a:cubicBezTo>
                    <a:pt x="636270" y="79581"/>
                    <a:pt x="711200" y="11001"/>
                    <a:pt x="781050" y="13541"/>
                  </a:cubicBezTo>
                  <a:cubicBezTo>
                    <a:pt x="850900" y="16081"/>
                    <a:pt x="867410" y="84661"/>
                    <a:pt x="914400" y="89741"/>
                  </a:cubicBezTo>
                  <a:cubicBezTo>
                    <a:pt x="961390" y="94821"/>
                    <a:pt x="995680" y="49101"/>
                    <a:pt x="1016000" y="38941"/>
                  </a:cubicBezTo>
                  <a:cubicBezTo>
                    <a:pt x="1036320" y="28781"/>
                    <a:pt x="1017270" y="38941"/>
                    <a:pt x="1016000" y="38941"/>
                  </a:cubicBezTo>
                  <a:cubicBezTo>
                    <a:pt x="1014730" y="38941"/>
                    <a:pt x="1010920" y="38941"/>
                    <a:pt x="1009650" y="38941"/>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任意多边形 10"/>
            <p:cNvSpPr/>
            <p:nvPr/>
          </p:nvSpPr>
          <p:spPr>
            <a:xfrm>
              <a:off x="7833" y="3011"/>
              <a:ext cx="1615" cy="142"/>
            </a:xfrm>
            <a:custGeom>
              <a:avLst/>
              <a:gdLst>
                <a:gd name="connisteX0" fmla="*/ 0 w 1025320"/>
                <a:gd name="connsiteY0" fmla="*/ 51640 h 90133"/>
                <a:gd name="connisteX1" fmla="*/ 95250 w 1025320"/>
                <a:gd name="connsiteY1" fmla="*/ 840 h 90133"/>
                <a:gd name="connisteX2" fmla="*/ 209550 w 1025320"/>
                <a:gd name="connsiteY2" fmla="*/ 89740 h 90133"/>
                <a:gd name="connisteX3" fmla="*/ 425450 w 1025320"/>
                <a:gd name="connsiteY3" fmla="*/ 840 h 90133"/>
                <a:gd name="connisteX4" fmla="*/ 565150 w 1025320"/>
                <a:gd name="connsiteY4" fmla="*/ 77040 h 90133"/>
                <a:gd name="connisteX5" fmla="*/ 781050 w 1025320"/>
                <a:gd name="connsiteY5" fmla="*/ 13540 h 90133"/>
                <a:gd name="connisteX6" fmla="*/ 914400 w 1025320"/>
                <a:gd name="connsiteY6" fmla="*/ 89740 h 90133"/>
                <a:gd name="connisteX7" fmla="*/ 1016000 w 1025320"/>
                <a:gd name="connsiteY7" fmla="*/ 38940 h 90133"/>
                <a:gd name="connisteX8" fmla="*/ 1016000 w 1025320"/>
                <a:gd name="connsiteY8" fmla="*/ 38940 h 90133"/>
                <a:gd name="connisteX9" fmla="*/ 1009650 w 1025320"/>
                <a:gd name="connsiteY9" fmla="*/ 38940 h 901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025320" h="90133">
                  <a:moveTo>
                    <a:pt x="0" y="51641"/>
                  </a:moveTo>
                  <a:cubicBezTo>
                    <a:pt x="16510" y="39576"/>
                    <a:pt x="53340" y="-6779"/>
                    <a:pt x="95250" y="841"/>
                  </a:cubicBezTo>
                  <a:cubicBezTo>
                    <a:pt x="137160" y="8461"/>
                    <a:pt x="143510" y="89741"/>
                    <a:pt x="209550" y="89741"/>
                  </a:cubicBezTo>
                  <a:cubicBezTo>
                    <a:pt x="275590" y="89741"/>
                    <a:pt x="354330" y="3381"/>
                    <a:pt x="425450" y="841"/>
                  </a:cubicBezTo>
                  <a:cubicBezTo>
                    <a:pt x="496570" y="-1699"/>
                    <a:pt x="494030" y="74501"/>
                    <a:pt x="565150" y="77041"/>
                  </a:cubicBezTo>
                  <a:cubicBezTo>
                    <a:pt x="636270" y="79581"/>
                    <a:pt x="711200" y="11001"/>
                    <a:pt x="781050" y="13541"/>
                  </a:cubicBezTo>
                  <a:cubicBezTo>
                    <a:pt x="850900" y="16081"/>
                    <a:pt x="867410" y="84661"/>
                    <a:pt x="914400" y="89741"/>
                  </a:cubicBezTo>
                  <a:cubicBezTo>
                    <a:pt x="961390" y="94821"/>
                    <a:pt x="995680" y="49101"/>
                    <a:pt x="1016000" y="38941"/>
                  </a:cubicBezTo>
                  <a:cubicBezTo>
                    <a:pt x="1036320" y="28781"/>
                    <a:pt x="1017270" y="38941"/>
                    <a:pt x="1016000" y="38941"/>
                  </a:cubicBezTo>
                  <a:cubicBezTo>
                    <a:pt x="1014730" y="38941"/>
                    <a:pt x="1010920" y="38941"/>
                    <a:pt x="1009650" y="38941"/>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 name="任意多边形 11"/>
            <p:cNvSpPr/>
            <p:nvPr/>
          </p:nvSpPr>
          <p:spPr>
            <a:xfrm>
              <a:off x="7833" y="3153"/>
              <a:ext cx="1615" cy="142"/>
            </a:xfrm>
            <a:custGeom>
              <a:avLst/>
              <a:gdLst>
                <a:gd name="connisteX0" fmla="*/ 0 w 1025320"/>
                <a:gd name="connsiteY0" fmla="*/ 51640 h 90133"/>
                <a:gd name="connisteX1" fmla="*/ 95250 w 1025320"/>
                <a:gd name="connsiteY1" fmla="*/ 840 h 90133"/>
                <a:gd name="connisteX2" fmla="*/ 209550 w 1025320"/>
                <a:gd name="connsiteY2" fmla="*/ 89740 h 90133"/>
                <a:gd name="connisteX3" fmla="*/ 425450 w 1025320"/>
                <a:gd name="connsiteY3" fmla="*/ 840 h 90133"/>
                <a:gd name="connisteX4" fmla="*/ 565150 w 1025320"/>
                <a:gd name="connsiteY4" fmla="*/ 77040 h 90133"/>
                <a:gd name="connisteX5" fmla="*/ 781050 w 1025320"/>
                <a:gd name="connsiteY5" fmla="*/ 13540 h 90133"/>
                <a:gd name="connisteX6" fmla="*/ 914400 w 1025320"/>
                <a:gd name="connsiteY6" fmla="*/ 89740 h 90133"/>
                <a:gd name="connisteX7" fmla="*/ 1016000 w 1025320"/>
                <a:gd name="connsiteY7" fmla="*/ 38940 h 90133"/>
                <a:gd name="connisteX8" fmla="*/ 1016000 w 1025320"/>
                <a:gd name="connsiteY8" fmla="*/ 38940 h 90133"/>
                <a:gd name="connisteX9" fmla="*/ 1009650 w 1025320"/>
                <a:gd name="connsiteY9" fmla="*/ 38940 h 901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025320" h="90133">
                  <a:moveTo>
                    <a:pt x="0" y="51641"/>
                  </a:moveTo>
                  <a:cubicBezTo>
                    <a:pt x="16510" y="39576"/>
                    <a:pt x="53340" y="-6779"/>
                    <a:pt x="95250" y="841"/>
                  </a:cubicBezTo>
                  <a:cubicBezTo>
                    <a:pt x="137160" y="8461"/>
                    <a:pt x="143510" y="89741"/>
                    <a:pt x="209550" y="89741"/>
                  </a:cubicBezTo>
                  <a:cubicBezTo>
                    <a:pt x="275590" y="89741"/>
                    <a:pt x="354330" y="3381"/>
                    <a:pt x="425450" y="841"/>
                  </a:cubicBezTo>
                  <a:cubicBezTo>
                    <a:pt x="496570" y="-1699"/>
                    <a:pt x="494030" y="74501"/>
                    <a:pt x="565150" y="77041"/>
                  </a:cubicBezTo>
                  <a:cubicBezTo>
                    <a:pt x="636270" y="79581"/>
                    <a:pt x="711200" y="11001"/>
                    <a:pt x="781050" y="13541"/>
                  </a:cubicBezTo>
                  <a:cubicBezTo>
                    <a:pt x="850900" y="16081"/>
                    <a:pt x="867410" y="84661"/>
                    <a:pt x="914400" y="89741"/>
                  </a:cubicBezTo>
                  <a:cubicBezTo>
                    <a:pt x="961390" y="94821"/>
                    <a:pt x="995680" y="49101"/>
                    <a:pt x="1016000" y="38941"/>
                  </a:cubicBezTo>
                  <a:cubicBezTo>
                    <a:pt x="1036320" y="28781"/>
                    <a:pt x="1017270" y="38941"/>
                    <a:pt x="1016000" y="38941"/>
                  </a:cubicBezTo>
                  <a:cubicBezTo>
                    <a:pt x="1014730" y="38941"/>
                    <a:pt x="1010920" y="38941"/>
                    <a:pt x="1009650" y="38941"/>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286126"/>
            <a:ext cx="9144000" cy="18573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8" name="Rectangle 7"/>
          <p:cNvSpPr/>
          <p:nvPr/>
        </p:nvSpPr>
        <p:spPr>
          <a:xfrm>
            <a:off x="415637" y="678152"/>
            <a:ext cx="8312727" cy="3787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pic>
        <p:nvPicPr>
          <p:cNvPr id="12" name="图片占位符 11"/>
          <p:cNvPicPr>
            <a:picLocks noGrp="1" noChangeAspect="1"/>
          </p:cNvPicPr>
          <p:nvPr>
            <p:ph type="pic" sz="quarter" idx="14"/>
          </p:nvPr>
        </p:nvPicPr>
        <p:blipFill>
          <a:blip r:embed="rId1" cstate="print">
            <a:extLst>
              <a:ext uri="{28A0092B-C50C-407E-A947-70E740481C1C}">
                <a14:useLocalDpi xmlns:a14="http://schemas.microsoft.com/office/drawing/2010/main" val="0"/>
              </a:ext>
            </a:extLst>
          </a:blip>
          <a:stretch>
            <a:fillRect/>
          </a:stretch>
        </p:blipFill>
        <p:spPr>
          <a:xfrm>
            <a:off x="4284252" y="1862818"/>
            <a:ext cx="4444111" cy="1280432"/>
          </a:xfrm>
          <a:solidFill>
            <a:schemeClr val="bg1">
              <a:lumMod val="85000"/>
            </a:schemeClr>
          </a:solidFill>
        </p:spPr>
      </p:pic>
      <p:sp>
        <p:nvSpPr>
          <p:cNvPr id="10" name="Rectangle 9"/>
          <p:cNvSpPr/>
          <p:nvPr/>
        </p:nvSpPr>
        <p:spPr>
          <a:xfrm>
            <a:off x="4842193" y="1060630"/>
            <a:ext cx="2760998" cy="438581"/>
          </a:xfrm>
          <a:prstGeom prst="rect">
            <a:avLst/>
          </a:prstGeom>
        </p:spPr>
        <p:txBody>
          <a:bodyPr vert="horz" lIns="68580" tIns="34290" rIns="68580" bIns="34290" rtlCol="0" anchor="ctr">
            <a:noAutofit/>
          </a:bodyPr>
          <a:lstStyle/>
          <a:p>
            <a:pPr>
              <a:spcBef>
                <a:spcPct val="0"/>
              </a:spcBef>
            </a:pPr>
            <a:r>
              <a:rPr lang="en-US" sz="3000" spc="-225" noProof="1">
                <a:solidFill>
                  <a:schemeClr val="bg1"/>
                </a:solidFill>
                <a:latin typeface="Lato" panose="020F0502020204030203" pitchFamily="34" charset="0"/>
                <a:ea typeface="Roboto Light" panose="02000000000000000000" pitchFamily="2" charset="0"/>
                <a:cs typeface="Lato" panose="020F0502020204030203" pitchFamily="34" charset="0"/>
              </a:rPr>
              <a:t>What We Do</a:t>
            </a:r>
            <a:endParaRPr lang="en-US" sz="3000" spc="-225" noProof="1">
              <a:solidFill>
                <a:schemeClr val="bg1"/>
              </a:solidFill>
              <a:latin typeface="Lato" panose="020F0502020204030203" pitchFamily="34" charset="0"/>
              <a:ea typeface="Roboto Light" panose="02000000000000000000" pitchFamily="2" charset="0"/>
              <a:cs typeface="Lato" panose="020F0502020204030203" pitchFamily="34" charset="0"/>
            </a:endParaRPr>
          </a:p>
        </p:txBody>
      </p:sp>
      <p:sp>
        <p:nvSpPr>
          <p:cNvPr id="11" name="Rectangle 10"/>
          <p:cNvSpPr/>
          <p:nvPr/>
        </p:nvSpPr>
        <p:spPr>
          <a:xfrm>
            <a:off x="4842193" y="1492037"/>
            <a:ext cx="3540920" cy="219291"/>
          </a:xfrm>
          <a:prstGeom prst="rect">
            <a:avLst/>
          </a:prstGeom>
        </p:spPr>
        <p:txBody>
          <a:bodyPr wrap="square">
            <a:spAutoFit/>
          </a:bodyPr>
          <a:lstStyle/>
          <a:p>
            <a:pPr>
              <a:buClr>
                <a:srgbClr val="E24848"/>
              </a:buClr>
              <a:defRPr/>
            </a:pPr>
            <a:r>
              <a:rPr lang="en-US" sz="825" noProof="1">
                <a:solidFill>
                  <a:schemeClr val="bg1"/>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bg1"/>
              </a:solidFill>
              <a:latin typeface="+mj-lt"/>
              <a:ea typeface="Open Sans Light" panose="020B0306030504020204" pitchFamily="34" charset="0"/>
              <a:cs typeface="Open Sans Light" panose="020B0306030504020204" pitchFamily="34" charset="0"/>
            </a:endParaRPr>
          </a:p>
        </p:txBody>
      </p:sp>
      <p:sp>
        <p:nvSpPr>
          <p:cNvPr id="13" name="Rectangle 12"/>
          <p:cNvSpPr/>
          <p:nvPr/>
        </p:nvSpPr>
        <p:spPr>
          <a:xfrm>
            <a:off x="5034776" y="3483938"/>
            <a:ext cx="2677275" cy="784830"/>
          </a:xfrm>
          <a:prstGeom prst="rect">
            <a:avLst/>
          </a:prstGeom>
        </p:spPr>
        <p:txBody>
          <a:bodyPr wrap="square">
            <a:spAutoFit/>
          </a:bodyPr>
          <a:lstStyle/>
          <a:p>
            <a:pPr>
              <a:buClr>
                <a:srgbClr val="E24848"/>
              </a:buClr>
              <a:defRPr/>
            </a:pPr>
            <a:r>
              <a:rPr lang="en-US" sz="9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a:t>
            </a:r>
            <a:endParaRPr lang="en-US" sz="900" noProof="1">
              <a:solidFill>
                <a:schemeClr val="bg1"/>
              </a:solidFill>
              <a:latin typeface="+mj-lt"/>
              <a:ea typeface="Open Sans Light" panose="020B0306030504020204" pitchFamily="34" charset="0"/>
              <a:cs typeface="Open Sans Light" panose="020B0306030504020204" pitchFamily="34" charset="0"/>
            </a:endParaRPr>
          </a:p>
        </p:txBody>
      </p:sp>
      <p:pic>
        <p:nvPicPr>
          <p:cNvPr id="3" name="图片占位符 2"/>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tretch>
            <a:fillRect/>
          </a:stretch>
        </p:blipFill>
        <p:spPr>
          <a:xfrm>
            <a:off x="415636" y="678152"/>
            <a:ext cx="4203505" cy="3787197"/>
          </a:xfrm>
        </p:spPr>
      </p:pic>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占位符 4"/>
          <p:cNvPicPr>
            <a:picLocks noGrp="1" noChangeAspect="1"/>
          </p:cNvPicPr>
          <p:nvPr>
            <p:ph type="pic" sz="quarter" idx="13"/>
          </p:nvPr>
        </p:nvPicPr>
        <p:blipFill>
          <a:blip r:embed="rId1" cstate="print">
            <a:extLst>
              <a:ext uri="{28A0092B-C50C-407E-A947-70E740481C1C}">
                <a14:useLocalDpi xmlns:a14="http://schemas.microsoft.com/office/drawing/2010/main" val="0"/>
              </a:ext>
            </a:extLst>
          </a:blip>
          <a:srcRect t="25710" b="25710"/>
          <a:stretch>
            <a:fillRect/>
          </a:stretch>
        </p:blipFill>
        <p:spPr/>
      </p:pic>
      <p:sp>
        <p:nvSpPr>
          <p:cNvPr id="37" name="Rectangle 18"/>
          <p:cNvSpPr/>
          <p:nvPr/>
        </p:nvSpPr>
        <p:spPr>
          <a:xfrm>
            <a:off x="-2743" y="2653141"/>
            <a:ext cx="9144000" cy="2498273"/>
          </a:xfrm>
          <a:prstGeom prst="rect">
            <a:avLst/>
          </a:prstGeom>
          <a:gradFill flip="none" rotWithShape="1">
            <a:gsLst>
              <a:gs pos="75000">
                <a:srgbClr val="548235"/>
              </a:gs>
              <a:gs pos="17000">
                <a:srgbClr val="548235"/>
              </a:gs>
              <a:gs pos="44000">
                <a:schemeClr val="bg1">
                  <a:alpha val="0"/>
                </a:schemeClr>
              </a:gs>
            </a:gsLst>
            <a:lin ang="10800000" scaled="1"/>
            <a:tileRect/>
          </a:grad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bg1"/>
              </a:solidFill>
              <a:latin typeface="+mj-lt"/>
              <a:ea typeface="Roboto Light" panose="02000000000000000000" pitchFamily="2" charset="0"/>
            </a:endParaRPr>
          </a:p>
        </p:txBody>
      </p:sp>
      <p:sp>
        <p:nvSpPr>
          <p:cNvPr id="3" name="Title 1"/>
          <p:cNvSpPr txBox="1"/>
          <p:nvPr/>
        </p:nvSpPr>
        <p:spPr>
          <a:xfrm>
            <a:off x="2692013" y="750155"/>
            <a:ext cx="3759974" cy="105979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3300" b="1" spc="-225" dirty="0">
                <a:solidFill>
                  <a:srgbClr val="548235"/>
                </a:solidFill>
                <a:latin typeface="Lato" panose="020F0502020204030203" pitchFamily="34" charset="0"/>
                <a:ea typeface="Open Sans" panose="020B0606030504020204" pitchFamily="34" charset="0"/>
                <a:cs typeface="Lato" panose="020F0502020204030203" pitchFamily="34" charset="0"/>
              </a:rPr>
              <a:t>Sales Go Up Down</a:t>
            </a:r>
            <a:endParaRPr lang="en-US" sz="3300" b="1" spc="-225" dirty="0">
              <a:solidFill>
                <a:srgbClr val="548235"/>
              </a:solidFill>
              <a:latin typeface="Lato" panose="020F0502020204030203" pitchFamily="34" charset="0"/>
              <a:ea typeface="Open Sans" panose="020B0606030504020204" pitchFamily="34" charset="0"/>
              <a:cs typeface="Lato" panose="020F0502020204030203" pitchFamily="34" charset="0"/>
            </a:endParaRPr>
          </a:p>
          <a:p>
            <a:r>
              <a:rPr lang="en-US" sz="3300" spc="-225" dirty="0">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rPr>
              <a:t>Service Stays Forever</a:t>
            </a:r>
            <a:endParaRPr lang="en-US" sz="3300" spc="-225" dirty="0">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endParaRPr>
          </a:p>
        </p:txBody>
      </p:sp>
      <p:sp>
        <p:nvSpPr>
          <p:cNvPr id="4" name="Rectangle 3"/>
          <p:cNvSpPr/>
          <p:nvPr/>
        </p:nvSpPr>
        <p:spPr>
          <a:xfrm>
            <a:off x="3763496" y="445025"/>
            <a:ext cx="1617008" cy="219291"/>
          </a:xfrm>
          <a:prstGeom prst="rect">
            <a:avLst/>
          </a:prstGeom>
        </p:spPr>
        <p:txBody>
          <a:bodyPr wrap="square">
            <a:spAutoFit/>
          </a:bodyPr>
          <a:lstStyle/>
          <a:p>
            <a:pPr algn="ct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73" name="Shape 5768"/>
          <p:cNvSpPr/>
          <p:nvPr/>
        </p:nvSpPr>
        <p:spPr>
          <a:xfrm>
            <a:off x="3844414" y="3483380"/>
            <a:ext cx="1455173" cy="683895"/>
          </a:xfrm>
          <a:prstGeom prst="rect">
            <a:avLst/>
          </a:prstGeom>
          <a:ln w="12700">
            <a:miter lim="400000"/>
          </a:ln>
        </p:spPr>
        <p:txBody>
          <a:bodyPr lIns="19050" tIns="19050" rIns="19050" bIns="19050">
            <a:spAutoFit/>
          </a:bodyPr>
          <a:lstStyle/>
          <a:p>
            <a:pPr algn="ctr">
              <a:defRPr sz="4000" b="1">
                <a:solidFill>
                  <a:srgbClr val="95C348"/>
                </a:solidFill>
                <a:latin typeface="Helvetica"/>
                <a:ea typeface="Helvetica"/>
                <a:cs typeface="Helvetica"/>
                <a:sym typeface="Helvetica"/>
              </a:defRPr>
            </a:pPr>
            <a:r>
              <a:rPr sz="1500" dirty="0">
                <a:solidFill>
                  <a:schemeClr val="bg1"/>
                </a:solidFill>
                <a:latin typeface="Lato" panose="020F0502020204030203" pitchFamily="34" charset="0"/>
                <a:cs typeface="Lato" panose="020F0502020204030203" pitchFamily="34" charset="0"/>
              </a:rPr>
              <a:t>20</a:t>
            </a:r>
            <a:r>
              <a:rPr lang="en-US" sz="1500" dirty="0">
                <a:solidFill>
                  <a:schemeClr val="bg1"/>
                </a:solidFill>
                <a:latin typeface="Lato" panose="020F0502020204030203" pitchFamily="34" charset="0"/>
                <a:cs typeface="Lato" panose="020F0502020204030203" pitchFamily="34" charset="0"/>
              </a:rPr>
              <a:t>20</a:t>
            </a:r>
            <a:endParaRPr sz="1500" dirty="0">
              <a:solidFill>
                <a:schemeClr val="bg1"/>
              </a:solidFill>
              <a:latin typeface="Lato" panose="020F0502020204030203" pitchFamily="34" charset="0"/>
              <a:cs typeface="Lato" panose="020F0502020204030203" pitchFamily="34" charset="0"/>
            </a:endParaRPr>
          </a:p>
          <a:p>
            <a:pPr algn="ctr">
              <a:lnSpc>
                <a:spcPct val="120000"/>
              </a:lnSpc>
              <a:defRPr sz="2000">
                <a:solidFill>
                  <a:srgbClr val="4C6077"/>
                </a:solidFill>
                <a:latin typeface="Helvetica"/>
                <a:ea typeface="Helvetica"/>
                <a:cs typeface="Helvetica"/>
                <a:sym typeface="Helvetica"/>
              </a:defRPr>
            </a:pPr>
            <a:r>
              <a:rPr sz="750" dirty="0">
                <a:solidFill>
                  <a:schemeClr val="bg1"/>
                </a:solidFill>
                <a:latin typeface="Lato" panose="020F0502020204030203" pitchFamily="34" charset="0"/>
                <a:cs typeface="Lato" panose="020F0502020204030203" pitchFamily="34" charset="0"/>
              </a:rPr>
              <a:t>Lorem ipsum dolor sit </a:t>
            </a:r>
            <a:r>
              <a:rPr sz="750" dirty="0" err="1">
                <a:solidFill>
                  <a:schemeClr val="bg1"/>
                </a:solidFill>
                <a:latin typeface="Lato" panose="020F0502020204030203" pitchFamily="34" charset="0"/>
                <a:cs typeface="Lato" panose="020F0502020204030203" pitchFamily="34" charset="0"/>
              </a:rPr>
              <a:t>amet</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est</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quando</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dicant</a:t>
            </a:r>
            <a:r>
              <a:rPr sz="750" dirty="0">
                <a:solidFill>
                  <a:schemeClr val="bg1"/>
                </a:solidFill>
                <a:latin typeface="Lato" panose="020F0502020204030203" pitchFamily="34" charset="0"/>
                <a:cs typeface="Lato" panose="020F0502020204030203" pitchFamily="34" charset="0"/>
              </a:rPr>
              <a:t> an, </a:t>
            </a:r>
            <a:r>
              <a:rPr sz="750" dirty="0" err="1">
                <a:solidFill>
                  <a:schemeClr val="bg1"/>
                </a:solidFill>
                <a:latin typeface="Lato" panose="020F0502020204030203" pitchFamily="34" charset="0"/>
                <a:cs typeface="Lato" panose="020F0502020204030203" pitchFamily="34" charset="0"/>
              </a:rPr>
              <a:t>modo</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mucius</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verterem</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ei</a:t>
            </a:r>
            <a:r>
              <a:rPr sz="750" dirty="0">
                <a:solidFill>
                  <a:schemeClr val="bg1"/>
                </a:solidFill>
                <a:latin typeface="Lato" panose="020F0502020204030203" pitchFamily="34" charset="0"/>
                <a:cs typeface="Lato" panose="020F0502020204030203" pitchFamily="34" charset="0"/>
              </a:rPr>
              <a:t> has </a:t>
            </a:r>
            <a:r>
              <a:rPr sz="750" dirty="0" err="1">
                <a:solidFill>
                  <a:schemeClr val="bg1"/>
                </a:solidFill>
                <a:latin typeface="Lato" panose="020F0502020204030203" pitchFamily="34" charset="0"/>
                <a:cs typeface="Lato" panose="020F0502020204030203" pitchFamily="34" charset="0"/>
              </a:rPr>
              <a:t>te</a:t>
            </a:r>
            <a:r>
              <a:rPr sz="750" dirty="0">
                <a:solidFill>
                  <a:schemeClr val="bg1"/>
                </a:solidFill>
                <a:latin typeface="Lato" panose="020F0502020204030203" pitchFamily="34" charset="0"/>
                <a:cs typeface="Lato" panose="020F0502020204030203" pitchFamily="34" charset="0"/>
              </a:rPr>
              <a:t> quod.</a:t>
            </a:r>
            <a:endParaRPr sz="750" dirty="0">
              <a:solidFill>
                <a:schemeClr val="bg1"/>
              </a:solidFill>
              <a:latin typeface="Lato" panose="020F0502020204030203" pitchFamily="34" charset="0"/>
              <a:cs typeface="Lato" panose="020F0502020204030203" pitchFamily="34" charset="0"/>
            </a:endParaRPr>
          </a:p>
        </p:txBody>
      </p:sp>
      <p:sp>
        <p:nvSpPr>
          <p:cNvPr id="74" name="Shape 5769"/>
          <p:cNvSpPr/>
          <p:nvPr/>
        </p:nvSpPr>
        <p:spPr>
          <a:xfrm>
            <a:off x="2183004" y="3483380"/>
            <a:ext cx="1455173" cy="683895"/>
          </a:xfrm>
          <a:prstGeom prst="rect">
            <a:avLst/>
          </a:prstGeom>
          <a:ln w="12700">
            <a:miter lim="400000"/>
          </a:ln>
        </p:spPr>
        <p:txBody>
          <a:bodyPr lIns="19050" tIns="19050" rIns="19050" bIns="19050">
            <a:spAutoFit/>
          </a:bodyPr>
          <a:lstStyle/>
          <a:p>
            <a:pPr algn="ctr">
              <a:defRPr sz="4000" b="1">
                <a:solidFill>
                  <a:srgbClr val="00B18D"/>
                </a:solidFill>
                <a:latin typeface="Helvetica"/>
                <a:ea typeface="Helvetica"/>
                <a:cs typeface="Helvetica"/>
                <a:sym typeface="Helvetica"/>
              </a:defRPr>
            </a:pPr>
            <a:r>
              <a:rPr sz="1500" dirty="0">
                <a:solidFill>
                  <a:schemeClr val="bg1"/>
                </a:solidFill>
                <a:latin typeface="Lato" panose="020F0502020204030203" pitchFamily="34" charset="0"/>
                <a:cs typeface="Lato" panose="020F0502020204030203" pitchFamily="34" charset="0"/>
              </a:rPr>
              <a:t>201</a:t>
            </a:r>
            <a:r>
              <a:rPr lang="en-US" sz="1500" dirty="0">
                <a:solidFill>
                  <a:schemeClr val="bg1"/>
                </a:solidFill>
                <a:latin typeface="Lato" panose="020F0502020204030203" pitchFamily="34" charset="0"/>
                <a:cs typeface="Lato" panose="020F0502020204030203" pitchFamily="34" charset="0"/>
              </a:rPr>
              <a:t>9</a:t>
            </a:r>
            <a:endParaRPr sz="1500" dirty="0">
              <a:solidFill>
                <a:schemeClr val="bg1"/>
              </a:solidFill>
              <a:latin typeface="Lato" panose="020F0502020204030203" pitchFamily="34" charset="0"/>
              <a:cs typeface="Lato" panose="020F0502020204030203" pitchFamily="34" charset="0"/>
            </a:endParaRPr>
          </a:p>
          <a:p>
            <a:pPr algn="ctr">
              <a:lnSpc>
                <a:spcPct val="120000"/>
              </a:lnSpc>
              <a:defRPr sz="2000">
                <a:solidFill>
                  <a:srgbClr val="4C6077"/>
                </a:solidFill>
                <a:latin typeface="Helvetica"/>
                <a:ea typeface="Helvetica"/>
                <a:cs typeface="Helvetica"/>
                <a:sym typeface="Helvetica"/>
              </a:defRPr>
            </a:pPr>
            <a:r>
              <a:rPr sz="750" dirty="0">
                <a:solidFill>
                  <a:schemeClr val="bg1"/>
                </a:solidFill>
                <a:latin typeface="Lato" panose="020F0502020204030203" pitchFamily="34" charset="0"/>
                <a:cs typeface="Lato" panose="020F0502020204030203" pitchFamily="34" charset="0"/>
              </a:rPr>
              <a:t>Lorem ipsum dolor sit </a:t>
            </a:r>
            <a:r>
              <a:rPr sz="750" dirty="0" err="1">
                <a:solidFill>
                  <a:schemeClr val="bg1"/>
                </a:solidFill>
                <a:latin typeface="Lato" panose="020F0502020204030203" pitchFamily="34" charset="0"/>
                <a:cs typeface="Lato" panose="020F0502020204030203" pitchFamily="34" charset="0"/>
              </a:rPr>
              <a:t>amet</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est</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quando</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dicant</a:t>
            </a:r>
            <a:r>
              <a:rPr sz="750" dirty="0">
                <a:solidFill>
                  <a:schemeClr val="bg1"/>
                </a:solidFill>
                <a:latin typeface="Lato" panose="020F0502020204030203" pitchFamily="34" charset="0"/>
                <a:cs typeface="Lato" panose="020F0502020204030203" pitchFamily="34" charset="0"/>
              </a:rPr>
              <a:t> an, </a:t>
            </a:r>
            <a:r>
              <a:rPr sz="750" dirty="0" err="1">
                <a:solidFill>
                  <a:schemeClr val="bg1"/>
                </a:solidFill>
                <a:latin typeface="Lato" panose="020F0502020204030203" pitchFamily="34" charset="0"/>
                <a:cs typeface="Lato" panose="020F0502020204030203" pitchFamily="34" charset="0"/>
              </a:rPr>
              <a:t>modo</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mucius</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verterem</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ei</a:t>
            </a:r>
            <a:r>
              <a:rPr sz="750" dirty="0">
                <a:solidFill>
                  <a:schemeClr val="bg1"/>
                </a:solidFill>
                <a:latin typeface="Lato" panose="020F0502020204030203" pitchFamily="34" charset="0"/>
                <a:cs typeface="Lato" panose="020F0502020204030203" pitchFamily="34" charset="0"/>
              </a:rPr>
              <a:t> has </a:t>
            </a:r>
            <a:r>
              <a:rPr sz="750" dirty="0" err="1">
                <a:solidFill>
                  <a:schemeClr val="bg1"/>
                </a:solidFill>
                <a:latin typeface="Lato" panose="020F0502020204030203" pitchFamily="34" charset="0"/>
                <a:cs typeface="Lato" panose="020F0502020204030203" pitchFamily="34" charset="0"/>
              </a:rPr>
              <a:t>te</a:t>
            </a:r>
            <a:r>
              <a:rPr sz="750" dirty="0">
                <a:solidFill>
                  <a:schemeClr val="bg1"/>
                </a:solidFill>
                <a:latin typeface="Lato" panose="020F0502020204030203" pitchFamily="34" charset="0"/>
                <a:cs typeface="Lato" panose="020F0502020204030203" pitchFamily="34" charset="0"/>
              </a:rPr>
              <a:t> quod.</a:t>
            </a:r>
            <a:endParaRPr sz="750" dirty="0">
              <a:solidFill>
                <a:schemeClr val="bg1"/>
              </a:solidFill>
              <a:latin typeface="Lato" panose="020F0502020204030203" pitchFamily="34" charset="0"/>
              <a:cs typeface="Lato" panose="020F0502020204030203" pitchFamily="34" charset="0"/>
            </a:endParaRPr>
          </a:p>
        </p:txBody>
      </p:sp>
      <p:sp>
        <p:nvSpPr>
          <p:cNvPr id="75" name="Shape 5770"/>
          <p:cNvSpPr/>
          <p:nvPr/>
        </p:nvSpPr>
        <p:spPr>
          <a:xfrm>
            <a:off x="521595" y="3483380"/>
            <a:ext cx="1455173" cy="683895"/>
          </a:xfrm>
          <a:prstGeom prst="rect">
            <a:avLst/>
          </a:prstGeom>
          <a:ln w="12700">
            <a:miter lim="400000"/>
          </a:ln>
        </p:spPr>
        <p:txBody>
          <a:bodyPr lIns="19050" tIns="19050" rIns="19050" bIns="19050">
            <a:spAutoFit/>
          </a:bodyPr>
          <a:lstStyle/>
          <a:p>
            <a:pPr algn="ctr">
              <a:defRPr sz="4000" b="1">
                <a:solidFill>
                  <a:srgbClr val="0085AD"/>
                </a:solidFill>
                <a:latin typeface="Helvetica"/>
                <a:ea typeface="Helvetica"/>
                <a:cs typeface="Helvetica"/>
                <a:sym typeface="Helvetica"/>
              </a:defRPr>
            </a:pPr>
            <a:r>
              <a:rPr sz="1500" dirty="0">
                <a:solidFill>
                  <a:schemeClr val="bg1"/>
                </a:solidFill>
                <a:latin typeface="Lato" panose="020F0502020204030203" pitchFamily="34" charset="0"/>
                <a:cs typeface="Lato" panose="020F0502020204030203" pitchFamily="34" charset="0"/>
              </a:rPr>
              <a:t>201</a:t>
            </a:r>
            <a:r>
              <a:rPr lang="en-US" sz="1500" dirty="0">
                <a:solidFill>
                  <a:schemeClr val="bg1"/>
                </a:solidFill>
                <a:latin typeface="Lato" panose="020F0502020204030203" pitchFamily="34" charset="0"/>
                <a:cs typeface="Lato" panose="020F0502020204030203" pitchFamily="34" charset="0"/>
              </a:rPr>
              <a:t>8</a:t>
            </a:r>
            <a:endParaRPr sz="1500" dirty="0">
              <a:solidFill>
                <a:schemeClr val="bg1"/>
              </a:solidFill>
              <a:latin typeface="Lato" panose="020F0502020204030203" pitchFamily="34" charset="0"/>
              <a:cs typeface="Lato" panose="020F0502020204030203" pitchFamily="34" charset="0"/>
            </a:endParaRPr>
          </a:p>
          <a:p>
            <a:pPr algn="ctr">
              <a:lnSpc>
                <a:spcPct val="120000"/>
              </a:lnSpc>
              <a:defRPr sz="2000">
                <a:solidFill>
                  <a:srgbClr val="4C6077"/>
                </a:solidFill>
                <a:latin typeface="Helvetica"/>
                <a:ea typeface="Helvetica"/>
                <a:cs typeface="Helvetica"/>
                <a:sym typeface="Helvetica"/>
              </a:defRPr>
            </a:pPr>
            <a:r>
              <a:rPr sz="750" dirty="0">
                <a:solidFill>
                  <a:schemeClr val="bg1"/>
                </a:solidFill>
                <a:latin typeface="Lato" panose="020F0502020204030203" pitchFamily="34" charset="0"/>
                <a:cs typeface="Lato" panose="020F0502020204030203" pitchFamily="34" charset="0"/>
              </a:rPr>
              <a:t>Lorem ipsum dolor sit </a:t>
            </a:r>
            <a:r>
              <a:rPr sz="750" dirty="0" err="1">
                <a:solidFill>
                  <a:schemeClr val="bg1"/>
                </a:solidFill>
                <a:latin typeface="Lato" panose="020F0502020204030203" pitchFamily="34" charset="0"/>
                <a:cs typeface="Lato" panose="020F0502020204030203" pitchFamily="34" charset="0"/>
              </a:rPr>
              <a:t>amet</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est</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quando</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dicant</a:t>
            </a:r>
            <a:r>
              <a:rPr sz="750" dirty="0">
                <a:solidFill>
                  <a:schemeClr val="bg1"/>
                </a:solidFill>
                <a:latin typeface="Lato" panose="020F0502020204030203" pitchFamily="34" charset="0"/>
                <a:cs typeface="Lato" panose="020F0502020204030203" pitchFamily="34" charset="0"/>
              </a:rPr>
              <a:t> an, </a:t>
            </a:r>
            <a:r>
              <a:rPr sz="750" dirty="0" err="1">
                <a:solidFill>
                  <a:schemeClr val="bg1"/>
                </a:solidFill>
                <a:latin typeface="Lato" panose="020F0502020204030203" pitchFamily="34" charset="0"/>
                <a:cs typeface="Lato" panose="020F0502020204030203" pitchFamily="34" charset="0"/>
              </a:rPr>
              <a:t>modo</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mucius</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verterem</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ei</a:t>
            </a:r>
            <a:r>
              <a:rPr sz="750" dirty="0">
                <a:solidFill>
                  <a:schemeClr val="bg1"/>
                </a:solidFill>
                <a:latin typeface="Lato" panose="020F0502020204030203" pitchFamily="34" charset="0"/>
                <a:cs typeface="Lato" panose="020F0502020204030203" pitchFamily="34" charset="0"/>
              </a:rPr>
              <a:t> has </a:t>
            </a:r>
            <a:r>
              <a:rPr sz="750" dirty="0" err="1">
                <a:solidFill>
                  <a:schemeClr val="bg1"/>
                </a:solidFill>
                <a:latin typeface="Lato" panose="020F0502020204030203" pitchFamily="34" charset="0"/>
                <a:cs typeface="Lato" panose="020F0502020204030203" pitchFamily="34" charset="0"/>
              </a:rPr>
              <a:t>te</a:t>
            </a:r>
            <a:r>
              <a:rPr sz="750" dirty="0">
                <a:solidFill>
                  <a:schemeClr val="bg1"/>
                </a:solidFill>
                <a:latin typeface="Lato" panose="020F0502020204030203" pitchFamily="34" charset="0"/>
                <a:cs typeface="Lato" panose="020F0502020204030203" pitchFamily="34" charset="0"/>
              </a:rPr>
              <a:t> quod.</a:t>
            </a:r>
            <a:endParaRPr sz="750" dirty="0">
              <a:solidFill>
                <a:schemeClr val="bg1"/>
              </a:solidFill>
              <a:latin typeface="Lato" panose="020F0502020204030203" pitchFamily="34" charset="0"/>
              <a:cs typeface="Lato" panose="020F0502020204030203" pitchFamily="34" charset="0"/>
            </a:endParaRPr>
          </a:p>
        </p:txBody>
      </p:sp>
      <p:sp>
        <p:nvSpPr>
          <p:cNvPr id="76" name="Shape 5771"/>
          <p:cNvSpPr/>
          <p:nvPr/>
        </p:nvSpPr>
        <p:spPr>
          <a:xfrm>
            <a:off x="7167232" y="3483380"/>
            <a:ext cx="1455173" cy="683895"/>
          </a:xfrm>
          <a:prstGeom prst="rect">
            <a:avLst/>
          </a:prstGeom>
          <a:ln w="12700">
            <a:miter lim="400000"/>
          </a:ln>
        </p:spPr>
        <p:txBody>
          <a:bodyPr lIns="19050" tIns="19050" rIns="19050" bIns="19050">
            <a:spAutoFit/>
          </a:bodyPr>
          <a:lstStyle/>
          <a:p>
            <a:pPr algn="ctr">
              <a:defRPr sz="4000" b="1">
                <a:solidFill>
                  <a:srgbClr val="82165D"/>
                </a:solidFill>
                <a:latin typeface="Helvetica"/>
                <a:ea typeface="Helvetica"/>
                <a:cs typeface="Helvetica"/>
                <a:sym typeface="Helvetica"/>
              </a:defRPr>
            </a:pPr>
            <a:r>
              <a:rPr sz="1500">
                <a:solidFill>
                  <a:schemeClr val="bg1"/>
                </a:solidFill>
                <a:latin typeface="Lato" panose="020F0502020204030203" pitchFamily="34" charset="0"/>
                <a:cs typeface="Lato" panose="020F0502020204030203" pitchFamily="34" charset="0"/>
              </a:rPr>
              <a:t>202</a:t>
            </a:r>
            <a:r>
              <a:rPr lang="en-US" sz="1500">
                <a:solidFill>
                  <a:schemeClr val="bg1"/>
                </a:solidFill>
                <a:latin typeface="Lato" panose="020F0502020204030203" pitchFamily="34" charset="0"/>
                <a:cs typeface="Lato" panose="020F0502020204030203" pitchFamily="34" charset="0"/>
              </a:rPr>
              <a:t>2</a:t>
            </a:r>
            <a:endParaRPr sz="1500">
              <a:solidFill>
                <a:schemeClr val="bg1"/>
              </a:solidFill>
              <a:latin typeface="Lato" panose="020F0502020204030203" pitchFamily="34" charset="0"/>
              <a:cs typeface="Lato" panose="020F0502020204030203" pitchFamily="34" charset="0"/>
            </a:endParaRPr>
          </a:p>
          <a:p>
            <a:pPr algn="ctr">
              <a:lnSpc>
                <a:spcPct val="120000"/>
              </a:lnSpc>
              <a:defRPr sz="2000">
                <a:solidFill>
                  <a:srgbClr val="4C6077"/>
                </a:solidFill>
                <a:latin typeface="Helvetica"/>
                <a:ea typeface="Helvetica"/>
                <a:cs typeface="Helvetica"/>
                <a:sym typeface="Helvetica"/>
              </a:defRPr>
            </a:pPr>
            <a:r>
              <a:rPr sz="750">
                <a:solidFill>
                  <a:schemeClr val="bg1"/>
                </a:solidFill>
                <a:latin typeface="Lato" panose="020F0502020204030203" pitchFamily="34" charset="0"/>
                <a:cs typeface="Lato" panose="020F0502020204030203" pitchFamily="34" charset="0"/>
              </a:rPr>
              <a:t>Lorem ipsum dolor sit amet, est quando dicant an, modo mucius verterem ei has te quod.</a:t>
            </a:r>
            <a:endParaRPr sz="750">
              <a:solidFill>
                <a:schemeClr val="bg1"/>
              </a:solidFill>
              <a:latin typeface="Lato" panose="020F0502020204030203" pitchFamily="34" charset="0"/>
              <a:cs typeface="Lato" panose="020F0502020204030203" pitchFamily="34" charset="0"/>
            </a:endParaRPr>
          </a:p>
        </p:txBody>
      </p:sp>
      <p:sp>
        <p:nvSpPr>
          <p:cNvPr id="77" name="Shape 5772"/>
          <p:cNvSpPr/>
          <p:nvPr/>
        </p:nvSpPr>
        <p:spPr>
          <a:xfrm>
            <a:off x="5505823" y="3483380"/>
            <a:ext cx="1455173" cy="683895"/>
          </a:xfrm>
          <a:prstGeom prst="rect">
            <a:avLst/>
          </a:prstGeom>
          <a:ln w="12700">
            <a:miter lim="400000"/>
          </a:ln>
        </p:spPr>
        <p:txBody>
          <a:bodyPr lIns="19050" tIns="19050" rIns="19050" bIns="19050">
            <a:spAutoFit/>
          </a:bodyPr>
          <a:lstStyle/>
          <a:p>
            <a:pPr algn="ctr">
              <a:defRPr sz="4000" b="1">
                <a:solidFill>
                  <a:srgbClr val="FFA300"/>
                </a:solidFill>
                <a:latin typeface="Helvetica"/>
                <a:ea typeface="Helvetica"/>
                <a:cs typeface="Helvetica"/>
                <a:sym typeface="Helvetica"/>
              </a:defRPr>
            </a:pPr>
            <a:r>
              <a:rPr sz="1500" dirty="0">
                <a:solidFill>
                  <a:schemeClr val="bg1"/>
                </a:solidFill>
                <a:latin typeface="Lato" panose="020F0502020204030203" pitchFamily="34" charset="0"/>
                <a:cs typeface="Lato" panose="020F0502020204030203" pitchFamily="34" charset="0"/>
              </a:rPr>
              <a:t>20</a:t>
            </a:r>
            <a:r>
              <a:rPr lang="en-US" sz="1500" dirty="0">
                <a:solidFill>
                  <a:schemeClr val="bg1"/>
                </a:solidFill>
                <a:latin typeface="Lato" panose="020F0502020204030203" pitchFamily="34" charset="0"/>
                <a:cs typeface="Lato" panose="020F0502020204030203" pitchFamily="34" charset="0"/>
              </a:rPr>
              <a:t>21</a:t>
            </a:r>
            <a:endParaRPr sz="1500" dirty="0">
              <a:solidFill>
                <a:schemeClr val="bg1"/>
              </a:solidFill>
              <a:latin typeface="Lato" panose="020F0502020204030203" pitchFamily="34" charset="0"/>
              <a:cs typeface="Lato" panose="020F0502020204030203" pitchFamily="34" charset="0"/>
            </a:endParaRPr>
          </a:p>
          <a:p>
            <a:pPr algn="ctr">
              <a:lnSpc>
                <a:spcPct val="120000"/>
              </a:lnSpc>
              <a:defRPr sz="2000">
                <a:solidFill>
                  <a:srgbClr val="4C6077"/>
                </a:solidFill>
                <a:latin typeface="Helvetica"/>
                <a:ea typeface="Helvetica"/>
                <a:cs typeface="Helvetica"/>
                <a:sym typeface="Helvetica"/>
              </a:defRPr>
            </a:pPr>
            <a:r>
              <a:rPr sz="750" dirty="0">
                <a:solidFill>
                  <a:schemeClr val="bg1"/>
                </a:solidFill>
                <a:latin typeface="Lato" panose="020F0502020204030203" pitchFamily="34" charset="0"/>
                <a:cs typeface="Lato" panose="020F0502020204030203" pitchFamily="34" charset="0"/>
              </a:rPr>
              <a:t>Lorem ipsum dolor sit </a:t>
            </a:r>
            <a:r>
              <a:rPr sz="750" dirty="0" err="1">
                <a:solidFill>
                  <a:schemeClr val="bg1"/>
                </a:solidFill>
                <a:latin typeface="Lato" panose="020F0502020204030203" pitchFamily="34" charset="0"/>
                <a:cs typeface="Lato" panose="020F0502020204030203" pitchFamily="34" charset="0"/>
              </a:rPr>
              <a:t>amet</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est</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quando</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dicant</a:t>
            </a:r>
            <a:r>
              <a:rPr sz="750" dirty="0">
                <a:solidFill>
                  <a:schemeClr val="bg1"/>
                </a:solidFill>
                <a:latin typeface="Lato" panose="020F0502020204030203" pitchFamily="34" charset="0"/>
                <a:cs typeface="Lato" panose="020F0502020204030203" pitchFamily="34" charset="0"/>
              </a:rPr>
              <a:t> an, </a:t>
            </a:r>
            <a:r>
              <a:rPr sz="750" dirty="0" err="1">
                <a:solidFill>
                  <a:schemeClr val="bg1"/>
                </a:solidFill>
                <a:latin typeface="Lato" panose="020F0502020204030203" pitchFamily="34" charset="0"/>
                <a:cs typeface="Lato" panose="020F0502020204030203" pitchFamily="34" charset="0"/>
              </a:rPr>
              <a:t>modo</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mucius</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verterem</a:t>
            </a:r>
            <a:r>
              <a:rPr sz="750" dirty="0">
                <a:solidFill>
                  <a:schemeClr val="bg1"/>
                </a:solidFill>
                <a:latin typeface="Lato" panose="020F0502020204030203" pitchFamily="34" charset="0"/>
                <a:cs typeface="Lato" panose="020F0502020204030203" pitchFamily="34" charset="0"/>
              </a:rPr>
              <a:t> </a:t>
            </a:r>
            <a:r>
              <a:rPr sz="750" dirty="0" err="1">
                <a:solidFill>
                  <a:schemeClr val="bg1"/>
                </a:solidFill>
                <a:latin typeface="Lato" panose="020F0502020204030203" pitchFamily="34" charset="0"/>
                <a:cs typeface="Lato" panose="020F0502020204030203" pitchFamily="34" charset="0"/>
              </a:rPr>
              <a:t>ei</a:t>
            </a:r>
            <a:r>
              <a:rPr sz="750" dirty="0">
                <a:solidFill>
                  <a:schemeClr val="bg1"/>
                </a:solidFill>
                <a:latin typeface="Lato" panose="020F0502020204030203" pitchFamily="34" charset="0"/>
                <a:cs typeface="Lato" panose="020F0502020204030203" pitchFamily="34" charset="0"/>
              </a:rPr>
              <a:t> has </a:t>
            </a:r>
            <a:r>
              <a:rPr sz="750" dirty="0" err="1">
                <a:solidFill>
                  <a:schemeClr val="bg1"/>
                </a:solidFill>
                <a:latin typeface="Lato" panose="020F0502020204030203" pitchFamily="34" charset="0"/>
                <a:cs typeface="Lato" panose="020F0502020204030203" pitchFamily="34" charset="0"/>
              </a:rPr>
              <a:t>te</a:t>
            </a:r>
            <a:r>
              <a:rPr sz="750" dirty="0">
                <a:solidFill>
                  <a:schemeClr val="bg1"/>
                </a:solidFill>
                <a:latin typeface="Lato" panose="020F0502020204030203" pitchFamily="34" charset="0"/>
                <a:cs typeface="Lato" panose="020F0502020204030203" pitchFamily="34" charset="0"/>
              </a:rPr>
              <a:t> quod.</a:t>
            </a:r>
            <a:endParaRPr sz="750" dirty="0">
              <a:solidFill>
                <a:schemeClr val="bg1"/>
              </a:solidFill>
              <a:latin typeface="Lato" panose="020F0502020204030203" pitchFamily="34" charset="0"/>
              <a:cs typeface="Lato" panose="020F0502020204030203" pitchFamily="34" charset="0"/>
            </a:endParaRPr>
          </a:p>
        </p:txBody>
      </p:sp>
      <p:sp>
        <p:nvSpPr>
          <p:cNvPr id="79" name="Shape 5775"/>
          <p:cNvSpPr/>
          <p:nvPr/>
        </p:nvSpPr>
        <p:spPr>
          <a:xfrm>
            <a:off x="5766882" y="2178408"/>
            <a:ext cx="933055" cy="933055"/>
          </a:xfrm>
          <a:prstGeom prst="ellipse">
            <a:avLst/>
          </a:prstGeom>
          <a:solidFill>
            <a:srgbClr val="548235"/>
          </a:solidFill>
          <a:ln w="12700" cap="flat">
            <a:solidFill>
              <a:schemeClr val="bg1"/>
            </a:solidFill>
            <a:miter lim="400000"/>
          </a:ln>
          <a:effectLst/>
        </p:spPr>
        <p:txBody>
          <a:bodyPr wrap="square" lIns="19050" tIns="19050" rIns="19050" bIns="19050" numCol="1" anchor="ctr">
            <a:noAutofit/>
          </a:bodyPr>
          <a:lstStyle/>
          <a:p>
            <a:pPr>
              <a:defRPr sz="3200">
                <a:solidFill>
                  <a:srgbClr val="FFFFFF"/>
                </a:solidFill>
              </a:defRPr>
            </a:pPr>
            <a:endParaRPr sz="1200">
              <a:solidFill>
                <a:schemeClr val="bg1"/>
              </a:solidFill>
            </a:endParaRPr>
          </a:p>
        </p:txBody>
      </p:sp>
      <p:sp>
        <p:nvSpPr>
          <p:cNvPr id="82" name="Shape 5778"/>
          <p:cNvSpPr/>
          <p:nvPr/>
        </p:nvSpPr>
        <p:spPr>
          <a:xfrm>
            <a:off x="782655" y="2178408"/>
            <a:ext cx="933055" cy="933055"/>
          </a:xfrm>
          <a:prstGeom prst="ellipse">
            <a:avLst/>
          </a:prstGeom>
          <a:solidFill>
            <a:srgbClr val="548235"/>
          </a:solidFill>
          <a:ln w="12700" cap="flat">
            <a:solidFill>
              <a:schemeClr val="bg1"/>
            </a:solidFill>
            <a:miter lim="400000"/>
          </a:ln>
          <a:effectLst/>
        </p:spPr>
        <p:txBody>
          <a:bodyPr wrap="square" lIns="19050" tIns="19050" rIns="19050" bIns="19050" numCol="1" anchor="ctr">
            <a:noAutofit/>
          </a:bodyPr>
          <a:lstStyle/>
          <a:p>
            <a:pPr>
              <a:defRPr sz="3200">
                <a:solidFill>
                  <a:srgbClr val="FFFFFF"/>
                </a:solidFill>
              </a:defRPr>
            </a:pPr>
            <a:endParaRPr sz="1200">
              <a:solidFill>
                <a:schemeClr val="bg1"/>
              </a:solidFill>
            </a:endParaRPr>
          </a:p>
        </p:txBody>
      </p:sp>
      <p:sp>
        <p:nvSpPr>
          <p:cNvPr id="85" name="Shape 5781"/>
          <p:cNvSpPr/>
          <p:nvPr/>
        </p:nvSpPr>
        <p:spPr>
          <a:xfrm>
            <a:off x="7428291" y="2178408"/>
            <a:ext cx="933055" cy="933055"/>
          </a:xfrm>
          <a:prstGeom prst="ellipse">
            <a:avLst/>
          </a:prstGeom>
          <a:solidFill>
            <a:srgbClr val="548235"/>
          </a:solidFill>
          <a:ln w="12700" cap="flat">
            <a:solidFill>
              <a:schemeClr val="bg1"/>
            </a:solidFill>
            <a:miter lim="400000"/>
          </a:ln>
          <a:effectLst/>
        </p:spPr>
        <p:txBody>
          <a:bodyPr wrap="square" lIns="19050" tIns="19050" rIns="19050" bIns="19050" numCol="1" anchor="ctr">
            <a:noAutofit/>
          </a:bodyPr>
          <a:lstStyle/>
          <a:p>
            <a:pPr>
              <a:defRPr sz="3200">
                <a:solidFill>
                  <a:srgbClr val="FFFFFF"/>
                </a:solidFill>
              </a:defRPr>
            </a:pPr>
            <a:endParaRPr sz="1200">
              <a:solidFill>
                <a:schemeClr val="bg1"/>
              </a:solidFill>
            </a:endParaRPr>
          </a:p>
        </p:txBody>
      </p:sp>
      <p:sp>
        <p:nvSpPr>
          <p:cNvPr id="88" name="Shape 5784"/>
          <p:cNvSpPr/>
          <p:nvPr/>
        </p:nvSpPr>
        <p:spPr>
          <a:xfrm>
            <a:off x="4105473" y="2178408"/>
            <a:ext cx="933055" cy="933055"/>
          </a:xfrm>
          <a:prstGeom prst="ellipse">
            <a:avLst/>
          </a:prstGeom>
          <a:solidFill>
            <a:srgbClr val="548235"/>
          </a:solidFill>
          <a:ln w="12700" cap="flat">
            <a:solidFill>
              <a:schemeClr val="bg1"/>
            </a:solidFill>
            <a:miter lim="400000"/>
          </a:ln>
          <a:effectLst/>
        </p:spPr>
        <p:txBody>
          <a:bodyPr wrap="square" lIns="19050" tIns="19050" rIns="19050" bIns="19050" numCol="1" anchor="ctr">
            <a:noAutofit/>
          </a:bodyPr>
          <a:lstStyle/>
          <a:p>
            <a:pPr>
              <a:defRPr sz="3200">
                <a:solidFill>
                  <a:srgbClr val="FFFFFF"/>
                </a:solidFill>
              </a:defRPr>
            </a:pPr>
            <a:endParaRPr sz="1200">
              <a:solidFill>
                <a:schemeClr val="bg1"/>
              </a:solidFill>
            </a:endParaRPr>
          </a:p>
        </p:txBody>
      </p:sp>
      <p:sp>
        <p:nvSpPr>
          <p:cNvPr id="91" name="Shape 5787"/>
          <p:cNvSpPr/>
          <p:nvPr/>
        </p:nvSpPr>
        <p:spPr>
          <a:xfrm>
            <a:off x="2444064" y="2178408"/>
            <a:ext cx="933055" cy="933055"/>
          </a:xfrm>
          <a:prstGeom prst="ellipse">
            <a:avLst/>
          </a:prstGeom>
          <a:solidFill>
            <a:srgbClr val="548235"/>
          </a:solidFill>
          <a:ln w="12700" cap="flat">
            <a:solidFill>
              <a:schemeClr val="bg1"/>
            </a:solidFill>
            <a:miter lim="400000"/>
          </a:ln>
          <a:effectLst/>
        </p:spPr>
        <p:txBody>
          <a:bodyPr wrap="square" lIns="19050" tIns="19050" rIns="19050" bIns="19050" numCol="1" anchor="ctr">
            <a:noAutofit/>
          </a:bodyPr>
          <a:lstStyle/>
          <a:p>
            <a:pPr>
              <a:defRPr sz="3200">
                <a:solidFill>
                  <a:srgbClr val="FFFFFF"/>
                </a:solidFill>
              </a:defRPr>
            </a:pPr>
            <a:endParaRPr sz="1200">
              <a:solidFill>
                <a:schemeClr val="bg1"/>
              </a:solidFill>
            </a:endParaRPr>
          </a:p>
        </p:txBody>
      </p:sp>
      <p:sp>
        <p:nvSpPr>
          <p:cNvPr id="94" name="Shape 5790"/>
          <p:cNvSpPr/>
          <p:nvPr/>
        </p:nvSpPr>
        <p:spPr>
          <a:xfrm>
            <a:off x="1566342" y="2513318"/>
            <a:ext cx="263234" cy="263234"/>
          </a:xfrm>
          <a:prstGeom prst="ellipse">
            <a:avLst/>
          </a:prstGeom>
          <a:solidFill>
            <a:srgbClr val="548235"/>
          </a:solidFill>
          <a:ln w="50800" cap="flat">
            <a:solidFill>
              <a:schemeClr val="bg1"/>
            </a:solidFill>
            <a:prstDash val="solid"/>
            <a:miter lim="400000"/>
          </a:ln>
          <a:effectLst/>
        </p:spPr>
        <p:txBody>
          <a:bodyPr wrap="square" lIns="19050" tIns="19050" rIns="19050" bIns="19050" numCol="1" anchor="ctr">
            <a:noAutofit/>
          </a:bodyPr>
          <a:lstStyle/>
          <a:p>
            <a:pPr algn="ctr">
              <a:defRPr sz="3200">
                <a:solidFill>
                  <a:srgbClr val="FFFFFF"/>
                </a:solidFill>
              </a:defRPr>
            </a:pPr>
            <a:endParaRPr sz="900">
              <a:solidFill>
                <a:schemeClr val="bg1"/>
              </a:solidFill>
              <a:latin typeface="+mj-lt"/>
            </a:endParaRPr>
          </a:p>
        </p:txBody>
      </p:sp>
      <p:sp>
        <p:nvSpPr>
          <p:cNvPr id="95" name="Shape 5791"/>
          <p:cNvSpPr/>
          <p:nvPr/>
        </p:nvSpPr>
        <p:spPr>
          <a:xfrm>
            <a:off x="1581949" y="2565073"/>
            <a:ext cx="232022" cy="159724"/>
          </a:xfrm>
          <a:prstGeom prst="rect">
            <a:avLst/>
          </a:prstGeom>
          <a:noFill/>
          <a:ln w="12700" cap="flat">
            <a:noFill/>
            <a:miter lim="400000"/>
          </a:ln>
          <a:effectLst/>
        </p:spPr>
        <p:txBody>
          <a:bodyPr wrap="square" lIns="19050" tIns="19050" rIns="19050" bIns="19050" numCol="1" anchor="ctr">
            <a:spAutoFit/>
          </a:bodyPr>
          <a:lstStyle>
            <a:lvl1pPr>
              <a:defRPr sz="2500" b="1">
                <a:solidFill>
                  <a:srgbClr val="0085AD"/>
                </a:solidFill>
                <a:latin typeface="Helvetica"/>
                <a:ea typeface="Helvetica"/>
                <a:cs typeface="Helvetica"/>
                <a:sym typeface="Helvetica"/>
              </a:defRPr>
            </a:lvl1pPr>
          </a:lstStyle>
          <a:p>
            <a:pPr algn="ctr"/>
            <a:r>
              <a:rPr sz="790" dirty="0">
                <a:solidFill>
                  <a:schemeClr val="bg1"/>
                </a:solidFill>
                <a:latin typeface="+mj-lt"/>
              </a:rPr>
              <a:t>01</a:t>
            </a:r>
            <a:endParaRPr sz="790" dirty="0">
              <a:solidFill>
                <a:schemeClr val="bg1"/>
              </a:solidFill>
              <a:latin typeface="+mj-lt"/>
            </a:endParaRPr>
          </a:p>
        </p:txBody>
      </p:sp>
      <p:sp>
        <p:nvSpPr>
          <p:cNvPr id="97" name="Shape 5793"/>
          <p:cNvSpPr/>
          <p:nvPr/>
        </p:nvSpPr>
        <p:spPr>
          <a:xfrm>
            <a:off x="3242538" y="2513318"/>
            <a:ext cx="263233" cy="263234"/>
          </a:xfrm>
          <a:prstGeom prst="ellipse">
            <a:avLst/>
          </a:prstGeom>
          <a:solidFill>
            <a:srgbClr val="548235"/>
          </a:solidFill>
          <a:ln w="50800" cap="flat">
            <a:solidFill>
              <a:schemeClr val="bg1"/>
            </a:solidFill>
            <a:prstDash val="solid"/>
            <a:miter lim="400000"/>
          </a:ln>
          <a:effectLst/>
        </p:spPr>
        <p:txBody>
          <a:bodyPr wrap="square" lIns="19050" tIns="19050" rIns="19050" bIns="19050" numCol="1" anchor="ctr">
            <a:noAutofit/>
          </a:bodyPr>
          <a:lstStyle/>
          <a:p>
            <a:pPr algn="ctr">
              <a:defRPr sz="3200">
                <a:solidFill>
                  <a:srgbClr val="FFFFFF"/>
                </a:solidFill>
              </a:defRPr>
            </a:pPr>
            <a:endParaRPr sz="900">
              <a:solidFill>
                <a:schemeClr val="bg1"/>
              </a:solidFill>
              <a:latin typeface="+mj-lt"/>
            </a:endParaRPr>
          </a:p>
        </p:txBody>
      </p:sp>
      <p:sp>
        <p:nvSpPr>
          <p:cNvPr id="98" name="Shape 5794"/>
          <p:cNvSpPr/>
          <p:nvPr/>
        </p:nvSpPr>
        <p:spPr>
          <a:xfrm>
            <a:off x="3258143" y="2565073"/>
            <a:ext cx="232022" cy="159724"/>
          </a:xfrm>
          <a:prstGeom prst="rect">
            <a:avLst/>
          </a:prstGeom>
          <a:noFill/>
          <a:ln w="12700" cap="flat">
            <a:noFill/>
            <a:miter lim="400000"/>
          </a:ln>
          <a:effectLst/>
        </p:spPr>
        <p:txBody>
          <a:bodyPr wrap="square" lIns="19050" tIns="19050" rIns="19050" bIns="19050" numCol="1" anchor="ctr">
            <a:spAutoFit/>
          </a:bodyPr>
          <a:lstStyle>
            <a:lvl1pPr>
              <a:defRPr sz="2500" b="1">
                <a:solidFill>
                  <a:srgbClr val="00B18D"/>
                </a:solidFill>
                <a:latin typeface="Helvetica"/>
                <a:ea typeface="Helvetica"/>
                <a:cs typeface="Helvetica"/>
                <a:sym typeface="Helvetica"/>
              </a:defRPr>
            </a:lvl1pPr>
          </a:lstStyle>
          <a:p>
            <a:pPr algn="ctr"/>
            <a:r>
              <a:rPr sz="790" dirty="0">
                <a:solidFill>
                  <a:schemeClr val="bg1"/>
                </a:solidFill>
                <a:latin typeface="+mj-lt"/>
              </a:rPr>
              <a:t>02</a:t>
            </a:r>
            <a:endParaRPr sz="790" dirty="0">
              <a:solidFill>
                <a:schemeClr val="bg1"/>
              </a:solidFill>
              <a:latin typeface="+mj-lt"/>
            </a:endParaRPr>
          </a:p>
        </p:txBody>
      </p:sp>
      <p:sp>
        <p:nvSpPr>
          <p:cNvPr id="100" name="Shape 5796"/>
          <p:cNvSpPr/>
          <p:nvPr/>
        </p:nvSpPr>
        <p:spPr>
          <a:xfrm>
            <a:off x="4875870" y="2513318"/>
            <a:ext cx="263233" cy="263234"/>
          </a:xfrm>
          <a:prstGeom prst="ellipse">
            <a:avLst/>
          </a:prstGeom>
          <a:solidFill>
            <a:srgbClr val="548235"/>
          </a:solidFill>
          <a:ln w="50800" cap="flat">
            <a:solidFill>
              <a:schemeClr val="bg1"/>
            </a:solidFill>
            <a:prstDash val="solid"/>
            <a:miter lim="400000"/>
          </a:ln>
          <a:effectLst/>
        </p:spPr>
        <p:txBody>
          <a:bodyPr wrap="square" lIns="19050" tIns="19050" rIns="19050" bIns="19050" numCol="1" anchor="ctr">
            <a:noAutofit/>
          </a:bodyPr>
          <a:lstStyle/>
          <a:p>
            <a:pPr algn="ctr">
              <a:defRPr sz="3200">
                <a:solidFill>
                  <a:srgbClr val="FFFFFF"/>
                </a:solidFill>
              </a:defRPr>
            </a:pPr>
            <a:endParaRPr sz="900">
              <a:solidFill>
                <a:schemeClr val="bg1"/>
              </a:solidFill>
              <a:latin typeface="+mj-lt"/>
            </a:endParaRPr>
          </a:p>
        </p:txBody>
      </p:sp>
      <p:sp>
        <p:nvSpPr>
          <p:cNvPr id="101" name="Shape 5797"/>
          <p:cNvSpPr/>
          <p:nvPr/>
        </p:nvSpPr>
        <p:spPr>
          <a:xfrm>
            <a:off x="4891475" y="2565073"/>
            <a:ext cx="232022" cy="159724"/>
          </a:xfrm>
          <a:prstGeom prst="rect">
            <a:avLst/>
          </a:prstGeom>
          <a:noFill/>
          <a:ln w="12700" cap="flat">
            <a:noFill/>
            <a:miter lim="400000"/>
          </a:ln>
          <a:effectLst/>
        </p:spPr>
        <p:txBody>
          <a:bodyPr wrap="square" lIns="19050" tIns="19050" rIns="19050" bIns="19050" numCol="1" anchor="ctr">
            <a:spAutoFit/>
          </a:bodyPr>
          <a:lstStyle>
            <a:lvl1pPr>
              <a:defRPr sz="2500" b="1">
                <a:solidFill>
                  <a:srgbClr val="95C348"/>
                </a:solidFill>
                <a:latin typeface="Helvetica"/>
                <a:ea typeface="Helvetica"/>
                <a:cs typeface="Helvetica"/>
                <a:sym typeface="Helvetica"/>
              </a:defRPr>
            </a:lvl1pPr>
          </a:lstStyle>
          <a:p>
            <a:pPr algn="ctr"/>
            <a:r>
              <a:rPr sz="790">
                <a:solidFill>
                  <a:schemeClr val="bg1"/>
                </a:solidFill>
                <a:latin typeface="+mj-lt"/>
              </a:rPr>
              <a:t>03</a:t>
            </a:r>
            <a:endParaRPr sz="790">
              <a:solidFill>
                <a:schemeClr val="bg1"/>
              </a:solidFill>
              <a:latin typeface="+mj-lt"/>
            </a:endParaRPr>
          </a:p>
        </p:txBody>
      </p:sp>
      <p:sp>
        <p:nvSpPr>
          <p:cNvPr id="103" name="Shape 5799"/>
          <p:cNvSpPr/>
          <p:nvPr/>
        </p:nvSpPr>
        <p:spPr>
          <a:xfrm>
            <a:off x="6581109" y="2513318"/>
            <a:ext cx="263233" cy="263234"/>
          </a:xfrm>
          <a:prstGeom prst="ellipse">
            <a:avLst/>
          </a:prstGeom>
          <a:solidFill>
            <a:srgbClr val="548235"/>
          </a:solidFill>
          <a:ln w="50800" cap="flat">
            <a:solidFill>
              <a:schemeClr val="bg1"/>
            </a:solidFill>
            <a:prstDash val="solid"/>
            <a:miter lim="400000"/>
          </a:ln>
          <a:effectLst/>
        </p:spPr>
        <p:txBody>
          <a:bodyPr wrap="square" lIns="19050" tIns="19050" rIns="19050" bIns="19050" numCol="1" anchor="ctr">
            <a:noAutofit/>
          </a:bodyPr>
          <a:lstStyle/>
          <a:p>
            <a:pPr algn="ctr">
              <a:defRPr sz="3200">
                <a:solidFill>
                  <a:srgbClr val="FFFFFF"/>
                </a:solidFill>
              </a:defRPr>
            </a:pPr>
            <a:endParaRPr sz="900">
              <a:solidFill>
                <a:schemeClr val="bg1"/>
              </a:solidFill>
              <a:latin typeface="+mj-lt"/>
            </a:endParaRPr>
          </a:p>
        </p:txBody>
      </p:sp>
      <p:sp>
        <p:nvSpPr>
          <p:cNvPr id="104" name="Shape 5800"/>
          <p:cNvSpPr/>
          <p:nvPr/>
        </p:nvSpPr>
        <p:spPr>
          <a:xfrm>
            <a:off x="6596715" y="2565073"/>
            <a:ext cx="232022" cy="159724"/>
          </a:xfrm>
          <a:prstGeom prst="rect">
            <a:avLst/>
          </a:prstGeom>
          <a:noFill/>
          <a:ln w="12700" cap="flat">
            <a:noFill/>
            <a:miter lim="400000"/>
          </a:ln>
          <a:effectLst/>
        </p:spPr>
        <p:txBody>
          <a:bodyPr wrap="square" lIns="19050" tIns="19050" rIns="19050" bIns="19050" numCol="1" anchor="ctr">
            <a:spAutoFit/>
          </a:bodyPr>
          <a:lstStyle>
            <a:lvl1pPr>
              <a:defRPr sz="2500" b="1">
                <a:solidFill>
                  <a:srgbClr val="FFA300"/>
                </a:solidFill>
                <a:latin typeface="Helvetica"/>
                <a:ea typeface="Helvetica"/>
                <a:cs typeface="Helvetica"/>
                <a:sym typeface="Helvetica"/>
              </a:defRPr>
            </a:lvl1pPr>
          </a:lstStyle>
          <a:p>
            <a:pPr algn="ctr"/>
            <a:r>
              <a:rPr sz="790">
                <a:solidFill>
                  <a:schemeClr val="bg1"/>
                </a:solidFill>
                <a:latin typeface="+mj-lt"/>
              </a:rPr>
              <a:t>04</a:t>
            </a:r>
            <a:endParaRPr sz="790">
              <a:solidFill>
                <a:schemeClr val="bg1"/>
              </a:solidFill>
              <a:latin typeface="+mj-lt"/>
            </a:endParaRPr>
          </a:p>
        </p:txBody>
      </p:sp>
      <p:sp>
        <p:nvSpPr>
          <p:cNvPr id="106" name="Shape 5802"/>
          <p:cNvSpPr/>
          <p:nvPr/>
        </p:nvSpPr>
        <p:spPr>
          <a:xfrm>
            <a:off x="8229197" y="2513318"/>
            <a:ext cx="263234" cy="263234"/>
          </a:xfrm>
          <a:prstGeom prst="ellipse">
            <a:avLst/>
          </a:prstGeom>
          <a:solidFill>
            <a:srgbClr val="548235"/>
          </a:solidFill>
          <a:ln w="50800" cap="flat">
            <a:solidFill>
              <a:schemeClr val="bg1"/>
            </a:solidFill>
            <a:prstDash val="solid"/>
            <a:miter lim="400000"/>
          </a:ln>
          <a:effectLst/>
        </p:spPr>
        <p:txBody>
          <a:bodyPr wrap="square" lIns="19050" tIns="19050" rIns="19050" bIns="19050" numCol="1" anchor="ctr">
            <a:noAutofit/>
          </a:bodyPr>
          <a:lstStyle/>
          <a:p>
            <a:pPr algn="ctr">
              <a:defRPr sz="3200">
                <a:solidFill>
                  <a:srgbClr val="FFFFFF"/>
                </a:solidFill>
              </a:defRPr>
            </a:pPr>
            <a:endParaRPr sz="900">
              <a:solidFill>
                <a:schemeClr val="bg1"/>
              </a:solidFill>
              <a:latin typeface="+mj-lt"/>
            </a:endParaRPr>
          </a:p>
        </p:txBody>
      </p:sp>
      <p:sp>
        <p:nvSpPr>
          <p:cNvPr id="107" name="Shape 5803"/>
          <p:cNvSpPr/>
          <p:nvPr/>
        </p:nvSpPr>
        <p:spPr>
          <a:xfrm>
            <a:off x="8244804" y="2565073"/>
            <a:ext cx="232022" cy="159724"/>
          </a:xfrm>
          <a:prstGeom prst="rect">
            <a:avLst/>
          </a:prstGeom>
          <a:noFill/>
          <a:ln w="12700" cap="flat">
            <a:noFill/>
            <a:miter lim="400000"/>
          </a:ln>
          <a:effectLst/>
        </p:spPr>
        <p:txBody>
          <a:bodyPr wrap="square" lIns="19050" tIns="19050" rIns="19050" bIns="19050" numCol="1" anchor="ctr">
            <a:spAutoFit/>
          </a:bodyPr>
          <a:lstStyle>
            <a:lvl1pPr>
              <a:defRPr sz="2500" b="1">
                <a:solidFill>
                  <a:srgbClr val="82165D"/>
                </a:solidFill>
                <a:latin typeface="Helvetica"/>
                <a:ea typeface="Helvetica"/>
                <a:cs typeface="Helvetica"/>
                <a:sym typeface="Helvetica"/>
              </a:defRPr>
            </a:lvl1pPr>
          </a:lstStyle>
          <a:p>
            <a:pPr algn="ctr"/>
            <a:r>
              <a:rPr sz="790">
                <a:solidFill>
                  <a:schemeClr val="bg1"/>
                </a:solidFill>
                <a:latin typeface="+mj-lt"/>
              </a:rPr>
              <a:t>05</a:t>
            </a:r>
            <a:endParaRPr sz="790">
              <a:solidFill>
                <a:schemeClr val="bg1"/>
              </a:solidFill>
              <a:latin typeface="+mj-lt"/>
            </a:endParaRPr>
          </a:p>
        </p:txBody>
      </p:sp>
      <p:sp>
        <p:nvSpPr>
          <p:cNvPr id="108" name="Shape 2637"/>
          <p:cNvSpPr/>
          <p:nvPr/>
        </p:nvSpPr>
        <p:spPr>
          <a:xfrm>
            <a:off x="4446021" y="2420577"/>
            <a:ext cx="228601" cy="419101"/>
          </a:xfrm>
          <a:custGeom>
            <a:avLst/>
            <a:gdLst/>
            <a:ahLst/>
            <a:cxnLst>
              <a:cxn ang="0">
                <a:pos x="wd2" y="hd2"/>
              </a:cxn>
              <a:cxn ang="5400000">
                <a:pos x="wd2" y="hd2"/>
              </a:cxn>
              <a:cxn ang="10800000">
                <a:pos x="wd2" y="hd2"/>
              </a:cxn>
              <a:cxn ang="16200000">
                <a:pos x="wd2" y="hd2"/>
              </a:cxn>
            </a:cxnLst>
            <a:rect l="0" t="0" r="r" b="b"/>
            <a:pathLst>
              <a:path w="21600" h="21600" extrusionOk="0">
                <a:moveTo>
                  <a:pt x="5400" y="8836"/>
                </a:moveTo>
                <a:lnTo>
                  <a:pt x="16200" y="8836"/>
                </a:lnTo>
                <a:lnTo>
                  <a:pt x="16200" y="11782"/>
                </a:lnTo>
                <a:cubicBezTo>
                  <a:pt x="16200" y="13409"/>
                  <a:pt x="13783" y="14727"/>
                  <a:pt x="10800" y="14727"/>
                </a:cubicBezTo>
                <a:cubicBezTo>
                  <a:pt x="7817" y="14727"/>
                  <a:pt x="5400" y="13409"/>
                  <a:pt x="5400" y="11782"/>
                </a:cubicBezTo>
                <a:cubicBezTo>
                  <a:pt x="5400" y="11782"/>
                  <a:pt x="5400" y="8836"/>
                  <a:pt x="5400" y="8836"/>
                </a:cubicBezTo>
                <a:close/>
                <a:moveTo>
                  <a:pt x="5400" y="3927"/>
                </a:moveTo>
                <a:cubicBezTo>
                  <a:pt x="5400" y="2301"/>
                  <a:pt x="7817" y="982"/>
                  <a:pt x="10800" y="982"/>
                </a:cubicBezTo>
                <a:cubicBezTo>
                  <a:pt x="13783" y="982"/>
                  <a:pt x="16200" y="2301"/>
                  <a:pt x="16200" y="3927"/>
                </a:cubicBezTo>
                <a:lnTo>
                  <a:pt x="16200" y="7855"/>
                </a:lnTo>
                <a:lnTo>
                  <a:pt x="5400" y="7855"/>
                </a:lnTo>
                <a:cubicBezTo>
                  <a:pt x="5400" y="7855"/>
                  <a:pt x="5400" y="3927"/>
                  <a:pt x="5400" y="3927"/>
                </a:cubicBezTo>
                <a:close/>
                <a:moveTo>
                  <a:pt x="10800" y="15709"/>
                </a:moveTo>
                <a:cubicBezTo>
                  <a:pt x="14777" y="15709"/>
                  <a:pt x="18000" y="13951"/>
                  <a:pt x="18000" y="11782"/>
                </a:cubicBezTo>
                <a:lnTo>
                  <a:pt x="18000" y="3927"/>
                </a:lnTo>
                <a:cubicBezTo>
                  <a:pt x="18000" y="1758"/>
                  <a:pt x="14777" y="0"/>
                  <a:pt x="10800" y="0"/>
                </a:cubicBezTo>
                <a:cubicBezTo>
                  <a:pt x="6823" y="0"/>
                  <a:pt x="3600" y="1758"/>
                  <a:pt x="3600" y="3927"/>
                </a:cubicBezTo>
                <a:lnTo>
                  <a:pt x="3600" y="11782"/>
                </a:lnTo>
                <a:cubicBezTo>
                  <a:pt x="3600" y="13951"/>
                  <a:pt x="6823" y="15709"/>
                  <a:pt x="10800" y="15709"/>
                </a:cubicBezTo>
                <a:moveTo>
                  <a:pt x="21600" y="11782"/>
                </a:moveTo>
                <a:lnTo>
                  <a:pt x="21600" y="10309"/>
                </a:lnTo>
                <a:cubicBezTo>
                  <a:pt x="21600" y="10038"/>
                  <a:pt x="21197" y="9818"/>
                  <a:pt x="20700" y="9818"/>
                </a:cubicBezTo>
                <a:cubicBezTo>
                  <a:pt x="20203" y="9818"/>
                  <a:pt x="19800" y="10038"/>
                  <a:pt x="19800" y="10309"/>
                </a:cubicBezTo>
                <a:lnTo>
                  <a:pt x="19800" y="11782"/>
                </a:lnTo>
                <a:cubicBezTo>
                  <a:pt x="19800" y="14493"/>
                  <a:pt x="15771" y="16691"/>
                  <a:pt x="10800" y="16691"/>
                </a:cubicBezTo>
                <a:cubicBezTo>
                  <a:pt x="5829" y="16691"/>
                  <a:pt x="1800" y="14493"/>
                  <a:pt x="1800" y="11782"/>
                </a:cubicBezTo>
                <a:lnTo>
                  <a:pt x="1800" y="10309"/>
                </a:lnTo>
                <a:cubicBezTo>
                  <a:pt x="1800" y="10038"/>
                  <a:pt x="1397" y="9818"/>
                  <a:pt x="900" y="9818"/>
                </a:cubicBezTo>
                <a:cubicBezTo>
                  <a:pt x="403" y="9818"/>
                  <a:pt x="0" y="10038"/>
                  <a:pt x="0" y="10309"/>
                </a:cubicBezTo>
                <a:lnTo>
                  <a:pt x="0" y="11782"/>
                </a:lnTo>
                <a:cubicBezTo>
                  <a:pt x="0" y="14870"/>
                  <a:pt x="4358" y="17398"/>
                  <a:pt x="9900" y="17648"/>
                </a:cubicBezTo>
                <a:lnTo>
                  <a:pt x="9900" y="20618"/>
                </a:lnTo>
                <a:lnTo>
                  <a:pt x="3600" y="20618"/>
                </a:lnTo>
                <a:cubicBezTo>
                  <a:pt x="3103" y="20618"/>
                  <a:pt x="2700" y="20838"/>
                  <a:pt x="2700" y="21110"/>
                </a:cubicBezTo>
                <a:cubicBezTo>
                  <a:pt x="2700" y="21381"/>
                  <a:pt x="3103" y="21600"/>
                  <a:pt x="3600" y="21600"/>
                </a:cubicBezTo>
                <a:lnTo>
                  <a:pt x="18000" y="21600"/>
                </a:lnTo>
                <a:cubicBezTo>
                  <a:pt x="18497" y="21600"/>
                  <a:pt x="18900" y="21381"/>
                  <a:pt x="18900" y="21110"/>
                </a:cubicBezTo>
                <a:cubicBezTo>
                  <a:pt x="18900" y="20838"/>
                  <a:pt x="18497" y="20618"/>
                  <a:pt x="18000" y="20618"/>
                </a:cubicBezTo>
                <a:lnTo>
                  <a:pt x="11700" y="20618"/>
                </a:lnTo>
                <a:lnTo>
                  <a:pt x="11700" y="17648"/>
                </a:lnTo>
                <a:cubicBezTo>
                  <a:pt x="17243" y="17398"/>
                  <a:pt x="21600" y="14870"/>
                  <a:pt x="21600" y="11782"/>
                </a:cubicBezTo>
              </a:path>
            </a:pathLst>
          </a:custGeom>
          <a:solidFill>
            <a:schemeClr val="bg1"/>
          </a:solidFill>
          <a:ln w="12700">
            <a:miter lim="400000"/>
          </a:ln>
        </p:spPr>
        <p:txBody>
          <a:bodyPr lIns="28575" tIns="28575" rIns="28575" bIns="28575" anchor="ctr"/>
          <a:lstStyle/>
          <a:p>
            <a:pPr defTabSz="3429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50">
              <a:solidFill>
                <a:schemeClr val="bg1"/>
              </a:solidFill>
            </a:endParaRPr>
          </a:p>
        </p:txBody>
      </p:sp>
      <p:sp>
        <p:nvSpPr>
          <p:cNvPr id="109" name="Shape 2642"/>
          <p:cNvSpPr/>
          <p:nvPr/>
        </p:nvSpPr>
        <p:spPr>
          <a:xfrm>
            <a:off x="7679011" y="2417736"/>
            <a:ext cx="419101" cy="381001"/>
          </a:xfrm>
          <a:custGeom>
            <a:avLst/>
            <a:gdLst/>
            <a:ahLst/>
            <a:cxnLst>
              <a:cxn ang="0">
                <a:pos x="wd2" y="hd2"/>
              </a:cxn>
              <a:cxn ang="5400000">
                <a:pos x="wd2" y="hd2"/>
              </a:cxn>
              <a:cxn ang="10800000">
                <a:pos x="wd2" y="hd2"/>
              </a:cxn>
              <a:cxn ang="16200000">
                <a:pos x="wd2" y="hd2"/>
              </a:cxn>
            </a:cxnLst>
            <a:rect l="0" t="0" r="r" b="b"/>
            <a:pathLst>
              <a:path w="21600" h="21600" extrusionOk="0">
                <a:moveTo>
                  <a:pt x="6382" y="10800"/>
                </a:moveTo>
                <a:cubicBezTo>
                  <a:pt x="6653" y="10800"/>
                  <a:pt x="6873" y="10559"/>
                  <a:pt x="6873" y="10260"/>
                </a:cubicBezTo>
                <a:cubicBezTo>
                  <a:pt x="6873" y="9962"/>
                  <a:pt x="6653" y="9720"/>
                  <a:pt x="6382" y="9720"/>
                </a:cubicBezTo>
                <a:cubicBezTo>
                  <a:pt x="6110" y="9720"/>
                  <a:pt x="5891" y="9962"/>
                  <a:pt x="5891" y="10260"/>
                </a:cubicBezTo>
                <a:cubicBezTo>
                  <a:pt x="5891" y="10559"/>
                  <a:pt x="6110" y="10800"/>
                  <a:pt x="6382" y="10800"/>
                </a:cubicBezTo>
                <a:moveTo>
                  <a:pt x="3436" y="10800"/>
                </a:moveTo>
                <a:cubicBezTo>
                  <a:pt x="3708" y="10800"/>
                  <a:pt x="3927" y="11042"/>
                  <a:pt x="3927" y="11340"/>
                </a:cubicBezTo>
                <a:cubicBezTo>
                  <a:pt x="3927" y="11639"/>
                  <a:pt x="3708" y="11880"/>
                  <a:pt x="3436" y="11880"/>
                </a:cubicBezTo>
                <a:cubicBezTo>
                  <a:pt x="3165" y="11880"/>
                  <a:pt x="2945" y="11639"/>
                  <a:pt x="2945" y="11340"/>
                </a:cubicBezTo>
                <a:cubicBezTo>
                  <a:pt x="2945" y="11042"/>
                  <a:pt x="3165" y="10800"/>
                  <a:pt x="3436" y="10800"/>
                </a:cubicBezTo>
                <a:moveTo>
                  <a:pt x="3436" y="12960"/>
                </a:moveTo>
                <a:cubicBezTo>
                  <a:pt x="4249" y="12960"/>
                  <a:pt x="4909" y="12235"/>
                  <a:pt x="4909" y="11340"/>
                </a:cubicBezTo>
                <a:cubicBezTo>
                  <a:pt x="4909" y="10446"/>
                  <a:pt x="4249" y="9720"/>
                  <a:pt x="3436" y="9720"/>
                </a:cubicBezTo>
                <a:cubicBezTo>
                  <a:pt x="2623" y="9720"/>
                  <a:pt x="1964" y="10446"/>
                  <a:pt x="1964" y="11340"/>
                </a:cubicBezTo>
                <a:cubicBezTo>
                  <a:pt x="1964" y="12235"/>
                  <a:pt x="2623" y="12960"/>
                  <a:pt x="3436" y="12960"/>
                </a:cubicBezTo>
                <a:moveTo>
                  <a:pt x="14236" y="18360"/>
                </a:moveTo>
                <a:lnTo>
                  <a:pt x="2455" y="18360"/>
                </a:lnTo>
                <a:cubicBezTo>
                  <a:pt x="2183" y="18360"/>
                  <a:pt x="1964" y="18602"/>
                  <a:pt x="1964" y="18900"/>
                </a:cubicBezTo>
                <a:cubicBezTo>
                  <a:pt x="1964" y="19199"/>
                  <a:pt x="2183" y="19440"/>
                  <a:pt x="2455" y="19440"/>
                </a:cubicBezTo>
                <a:lnTo>
                  <a:pt x="14236" y="19440"/>
                </a:lnTo>
                <a:cubicBezTo>
                  <a:pt x="14508" y="19440"/>
                  <a:pt x="14727" y="19199"/>
                  <a:pt x="14727" y="18900"/>
                </a:cubicBezTo>
                <a:cubicBezTo>
                  <a:pt x="14727" y="18602"/>
                  <a:pt x="14508" y="18360"/>
                  <a:pt x="14236" y="18360"/>
                </a:cubicBezTo>
                <a:moveTo>
                  <a:pt x="20618" y="18105"/>
                </a:moveTo>
                <a:lnTo>
                  <a:pt x="16691" y="16377"/>
                </a:lnTo>
                <a:lnTo>
                  <a:pt x="16691" y="12784"/>
                </a:lnTo>
                <a:lnTo>
                  <a:pt x="20618" y="11056"/>
                </a:lnTo>
                <a:cubicBezTo>
                  <a:pt x="20618" y="11056"/>
                  <a:pt x="20618" y="18105"/>
                  <a:pt x="20618" y="18105"/>
                </a:cubicBezTo>
                <a:close/>
                <a:moveTo>
                  <a:pt x="15709" y="19440"/>
                </a:moveTo>
                <a:cubicBezTo>
                  <a:pt x="15709" y="20037"/>
                  <a:pt x="15269" y="20520"/>
                  <a:pt x="14727" y="20520"/>
                </a:cubicBezTo>
                <a:lnTo>
                  <a:pt x="1964" y="20520"/>
                </a:lnTo>
                <a:cubicBezTo>
                  <a:pt x="1422" y="20520"/>
                  <a:pt x="982" y="20037"/>
                  <a:pt x="982" y="19440"/>
                </a:cubicBezTo>
                <a:lnTo>
                  <a:pt x="982" y="9720"/>
                </a:lnTo>
                <a:cubicBezTo>
                  <a:pt x="982" y="9124"/>
                  <a:pt x="1422" y="8640"/>
                  <a:pt x="1964" y="8640"/>
                </a:cubicBezTo>
                <a:lnTo>
                  <a:pt x="14727" y="8640"/>
                </a:lnTo>
                <a:cubicBezTo>
                  <a:pt x="15269" y="8640"/>
                  <a:pt x="15709" y="9124"/>
                  <a:pt x="15709" y="9720"/>
                </a:cubicBezTo>
                <a:cubicBezTo>
                  <a:pt x="15709" y="9720"/>
                  <a:pt x="15709" y="19440"/>
                  <a:pt x="15709" y="19440"/>
                </a:cubicBezTo>
                <a:close/>
                <a:moveTo>
                  <a:pt x="1964" y="4320"/>
                </a:moveTo>
                <a:cubicBezTo>
                  <a:pt x="1964" y="2531"/>
                  <a:pt x="3282" y="1080"/>
                  <a:pt x="4909" y="1080"/>
                </a:cubicBezTo>
                <a:cubicBezTo>
                  <a:pt x="6536" y="1080"/>
                  <a:pt x="7855" y="2531"/>
                  <a:pt x="7855" y="4320"/>
                </a:cubicBezTo>
                <a:cubicBezTo>
                  <a:pt x="7855" y="6110"/>
                  <a:pt x="6536" y="7560"/>
                  <a:pt x="4909" y="7560"/>
                </a:cubicBezTo>
                <a:cubicBezTo>
                  <a:pt x="3282" y="7560"/>
                  <a:pt x="1964" y="6110"/>
                  <a:pt x="1964" y="4320"/>
                </a:cubicBezTo>
                <a:moveTo>
                  <a:pt x="9190" y="7560"/>
                </a:moveTo>
                <a:lnTo>
                  <a:pt x="7501" y="7560"/>
                </a:lnTo>
                <a:cubicBezTo>
                  <a:pt x="7839" y="7233"/>
                  <a:pt x="8122" y="6840"/>
                  <a:pt x="8342" y="6404"/>
                </a:cubicBezTo>
                <a:cubicBezTo>
                  <a:pt x="8562" y="6842"/>
                  <a:pt x="8851" y="7232"/>
                  <a:pt x="9190" y="7560"/>
                </a:cubicBezTo>
                <a:moveTo>
                  <a:pt x="11782" y="1080"/>
                </a:moveTo>
                <a:cubicBezTo>
                  <a:pt x="13409" y="1080"/>
                  <a:pt x="14727" y="2531"/>
                  <a:pt x="14727" y="4320"/>
                </a:cubicBezTo>
                <a:cubicBezTo>
                  <a:pt x="14727" y="6110"/>
                  <a:pt x="13409" y="7560"/>
                  <a:pt x="11782" y="7560"/>
                </a:cubicBezTo>
                <a:cubicBezTo>
                  <a:pt x="10155" y="7560"/>
                  <a:pt x="8836" y="6110"/>
                  <a:pt x="8836" y="4320"/>
                </a:cubicBezTo>
                <a:cubicBezTo>
                  <a:pt x="8836" y="2531"/>
                  <a:pt x="10155" y="1080"/>
                  <a:pt x="11782" y="1080"/>
                </a:cubicBezTo>
                <a:moveTo>
                  <a:pt x="21109" y="9720"/>
                </a:moveTo>
                <a:cubicBezTo>
                  <a:pt x="21030" y="9720"/>
                  <a:pt x="20958" y="9745"/>
                  <a:pt x="20892" y="9782"/>
                </a:cubicBezTo>
                <a:lnTo>
                  <a:pt x="20890" y="9777"/>
                </a:lnTo>
                <a:lnTo>
                  <a:pt x="16691" y="11625"/>
                </a:lnTo>
                <a:lnTo>
                  <a:pt x="16691" y="9720"/>
                </a:lnTo>
                <a:cubicBezTo>
                  <a:pt x="16691" y="8527"/>
                  <a:pt x="15812" y="7560"/>
                  <a:pt x="14727" y="7560"/>
                </a:cubicBezTo>
                <a:lnTo>
                  <a:pt x="14373" y="7560"/>
                </a:lnTo>
                <a:cubicBezTo>
                  <a:pt x="15191" y="6768"/>
                  <a:pt x="15709" y="5612"/>
                  <a:pt x="15709" y="4320"/>
                </a:cubicBezTo>
                <a:cubicBezTo>
                  <a:pt x="15709" y="1934"/>
                  <a:pt x="13951" y="0"/>
                  <a:pt x="11782" y="0"/>
                </a:cubicBezTo>
                <a:cubicBezTo>
                  <a:pt x="10302" y="0"/>
                  <a:pt x="9015" y="901"/>
                  <a:pt x="8345" y="2231"/>
                </a:cubicBezTo>
                <a:cubicBezTo>
                  <a:pt x="7676" y="901"/>
                  <a:pt x="6389" y="0"/>
                  <a:pt x="4909" y="0"/>
                </a:cubicBezTo>
                <a:cubicBezTo>
                  <a:pt x="2740" y="0"/>
                  <a:pt x="982" y="1934"/>
                  <a:pt x="982" y="4320"/>
                </a:cubicBezTo>
                <a:cubicBezTo>
                  <a:pt x="982" y="5612"/>
                  <a:pt x="1501" y="6768"/>
                  <a:pt x="2317" y="7560"/>
                </a:cubicBezTo>
                <a:lnTo>
                  <a:pt x="1964" y="7560"/>
                </a:lnTo>
                <a:cubicBezTo>
                  <a:pt x="879" y="7560"/>
                  <a:pt x="0" y="8527"/>
                  <a:pt x="0" y="9720"/>
                </a:cubicBezTo>
                <a:lnTo>
                  <a:pt x="0" y="19440"/>
                </a:lnTo>
                <a:cubicBezTo>
                  <a:pt x="0" y="20633"/>
                  <a:pt x="879" y="21600"/>
                  <a:pt x="1964" y="21600"/>
                </a:cubicBezTo>
                <a:lnTo>
                  <a:pt x="14727" y="21600"/>
                </a:lnTo>
                <a:cubicBezTo>
                  <a:pt x="15812" y="21600"/>
                  <a:pt x="16691" y="20633"/>
                  <a:pt x="16691" y="19440"/>
                </a:cubicBezTo>
                <a:lnTo>
                  <a:pt x="16691" y="17536"/>
                </a:lnTo>
                <a:lnTo>
                  <a:pt x="20890" y="19383"/>
                </a:lnTo>
                <a:lnTo>
                  <a:pt x="20891" y="19379"/>
                </a:lnTo>
                <a:cubicBezTo>
                  <a:pt x="20958" y="19415"/>
                  <a:pt x="21030" y="19440"/>
                  <a:pt x="21109" y="19440"/>
                </a:cubicBezTo>
                <a:cubicBezTo>
                  <a:pt x="21380" y="19440"/>
                  <a:pt x="21600" y="19199"/>
                  <a:pt x="21600" y="18900"/>
                </a:cubicBezTo>
                <a:lnTo>
                  <a:pt x="21600" y="10260"/>
                </a:lnTo>
                <a:cubicBezTo>
                  <a:pt x="21600" y="9962"/>
                  <a:pt x="21380" y="9720"/>
                  <a:pt x="21109" y="9720"/>
                </a:cubicBezTo>
                <a:moveTo>
                  <a:pt x="11782" y="5400"/>
                </a:moveTo>
                <a:cubicBezTo>
                  <a:pt x="12324" y="5400"/>
                  <a:pt x="12764" y="4916"/>
                  <a:pt x="12764" y="4320"/>
                </a:cubicBezTo>
                <a:cubicBezTo>
                  <a:pt x="12764" y="3724"/>
                  <a:pt x="12324" y="3240"/>
                  <a:pt x="11782" y="3240"/>
                </a:cubicBezTo>
                <a:cubicBezTo>
                  <a:pt x="11240" y="3240"/>
                  <a:pt x="10800" y="3724"/>
                  <a:pt x="10800" y="4320"/>
                </a:cubicBezTo>
                <a:cubicBezTo>
                  <a:pt x="10800" y="4916"/>
                  <a:pt x="11240" y="5400"/>
                  <a:pt x="11782" y="5400"/>
                </a:cubicBezTo>
                <a:moveTo>
                  <a:pt x="4909" y="5400"/>
                </a:moveTo>
                <a:cubicBezTo>
                  <a:pt x="5451" y="5400"/>
                  <a:pt x="5891" y="4916"/>
                  <a:pt x="5891" y="4320"/>
                </a:cubicBezTo>
                <a:cubicBezTo>
                  <a:pt x="5891" y="3724"/>
                  <a:pt x="5451" y="3240"/>
                  <a:pt x="4909" y="3240"/>
                </a:cubicBezTo>
                <a:cubicBezTo>
                  <a:pt x="4367" y="3240"/>
                  <a:pt x="3927" y="3724"/>
                  <a:pt x="3927" y="4320"/>
                </a:cubicBezTo>
                <a:cubicBezTo>
                  <a:pt x="3927" y="4916"/>
                  <a:pt x="4367" y="5400"/>
                  <a:pt x="4909" y="5400"/>
                </a:cubicBezTo>
              </a:path>
            </a:pathLst>
          </a:custGeom>
          <a:solidFill>
            <a:schemeClr val="bg1"/>
          </a:solidFill>
          <a:ln w="12700">
            <a:miter lim="400000"/>
          </a:ln>
        </p:spPr>
        <p:txBody>
          <a:bodyPr lIns="28575" tIns="28575" rIns="28575" bIns="28575" anchor="ctr"/>
          <a:lstStyle/>
          <a:p>
            <a:pPr defTabSz="3429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50">
              <a:solidFill>
                <a:schemeClr val="bg1"/>
              </a:solidFill>
            </a:endParaRPr>
          </a:p>
        </p:txBody>
      </p:sp>
      <p:sp>
        <p:nvSpPr>
          <p:cNvPr id="110" name="Shape 2643"/>
          <p:cNvSpPr/>
          <p:nvPr/>
        </p:nvSpPr>
        <p:spPr>
          <a:xfrm>
            <a:off x="1128191" y="2386633"/>
            <a:ext cx="228601" cy="419101"/>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bg1"/>
          </a:solidFill>
          <a:ln w="12700">
            <a:miter lim="400000"/>
          </a:ln>
        </p:spPr>
        <p:txBody>
          <a:bodyPr lIns="28575" tIns="28575" rIns="28575" bIns="28575" anchor="ctr"/>
          <a:lstStyle/>
          <a:p>
            <a:pPr defTabSz="3429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50">
              <a:solidFill>
                <a:schemeClr val="bg1"/>
              </a:solidFill>
            </a:endParaRPr>
          </a:p>
        </p:txBody>
      </p:sp>
      <p:sp>
        <p:nvSpPr>
          <p:cNvPr id="111" name="Shape 2649"/>
          <p:cNvSpPr/>
          <p:nvPr/>
        </p:nvSpPr>
        <p:spPr>
          <a:xfrm>
            <a:off x="6034443" y="2430658"/>
            <a:ext cx="419101" cy="419101"/>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1147" y="4071"/>
                </a:moveTo>
                <a:cubicBezTo>
                  <a:pt x="11058" y="3982"/>
                  <a:pt x="10935" y="3927"/>
                  <a:pt x="10800" y="3927"/>
                </a:cubicBezTo>
                <a:cubicBezTo>
                  <a:pt x="10665" y="3927"/>
                  <a:pt x="10542" y="3982"/>
                  <a:pt x="10453" y="4071"/>
                </a:cubicBezTo>
                <a:lnTo>
                  <a:pt x="8489" y="6035"/>
                </a:lnTo>
                <a:cubicBezTo>
                  <a:pt x="8400" y="6124"/>
                  <a:pt x="8345" y="6247"/>
                  <a:pt x="8345" y="6382"/>
                </a:cubicBezTo>
                <a:cubicBezTo>
                  <a:pt x="8345" y="6653"/>
                  <a:pt x="8566" y="6873"/>
                  <a:pt x="8836" y="6873"/>
                </a:cubicBezTo>
                <a:cubicBezTo>
                  <a:pt x="8972" y="6873"/>
                  <a:pt x="9095" y="6818"/>
                  <a:pt x="9183" y="6729"/>
                </a:cubicBezTo>
                <a:lnTo>
                  <a:pt x="10309" y="5603"/>
                </a:lnTo>
                <a:lnTo>
                  <a:pt x="10309" y="11291"/>
                </a:lnTo>
                <a:cubicBezTo>
                  <a:pt x="10309" y="11562"/>
                  <a:pt x="10529" y="11782"/>
                  <a:pt x="10800" y="11782"/>
                </a:cubicBezTo>
                <a:cubicBezTo>
                  <a:pt x="11071" y="11782"/>
                  <a:pt x="11291" y="11562"/>
                  <a:pt x="11291" y="11291"/>
                </a:cubicBezTo>
                <a:lnTo>
                  <a:pt x="11291" y="5603"/>
                </a:lnTo>
                <a:lnTo>
                  <a:pt x="12417" y="6729"/>
                </a:lnTo>
                <a:cubicBezTo>
                  <a:pt x="12505" y="6818"/>
                  <a:pt x="12628" y="6873"/>
                  <a:pt x="12764" y="6873"/>
                </a:cubicBezTo>
                <a:cubicBezTo>
                  <a:pt x="13034" y="6873"/>
                  <a:pt x="13255" y="6653"/>
                  <a:pt x="13255" y="6382"/>
                </a:cubicBezTo>
                <a:cubicBezTo>
                  <a:pt x="13255" y="6247"/>
                  <a:pt x="13200" y="6124"/>
                  <a:pt x="13111" y="6035"/>
                </a:cubicBezTo>
                <a:cubicBezTo>
                  <a:pt x="13111" y="6035"/>
                  <a:pt x="11147" y="4071"/>
                  <a:pt x="11147" y="4071"/>
                </a:cubicBezTo>
                <a:close/>
              </a:path>
            </a:pathLst>
          </a:custGeom>
          <a:solidFill>
            <a:schemeClr val="bg1"/>
          </a:solidFill>
          <a:ln w="12700">
            <a:miter lim="400000"/>
          </a:ln>
        </p:spPr>
        <p:txBody>
          <a:bodyPr lIns="28575" tIns="28575" rIns="28575" bIns="28575" anchor="ctr"/>
          <a:lstStyle/>
          <a:p>
            <a:pPr defTabSz="3429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50">
              <a:solidFill>
                <a:schemeClr val="bg1"/>
              </a:solidFill>
            </a:endParaRPr>
          </a:p>
        </p:txBody>
      </p:sp>
      <p:sp>
        <p:nvSpPr>
          <p:cNvPr id="112" name="Shape 2690"/>
          <p:cNvSpPr/>
          <p:nvPr/>
        </p:nvSpPr>
        <p:spPr>
          <a:xfrm>
            <a:off x="2684868" y="2424733"/>
            <a:ext cx="419101" cy="381001"/>
          </a:xfrm>
          <a:custGeom>
            <a:avLst/>
            <a:gdLst/>
            <a:ahLst/>
            <a:cxnLst>
              <a:cxn ang="0">
                <a:pos x="wd2" y="hd2"/>
              </a:cxn>
              <a:cxn ang="5400000">
                <a:pos x="wd2" y="hd2"/>
              </a:cxn>
              <a:cxn ang="10800000">
                <a:pos x="wd2" y="hd2"/>
              </a:cxn>
              <a:cxn ang="16200000">
                <a:pos x="wd2" y="hd2"/>
              </a:cxn>
            </a:cxnLst>
            <a:rect l="0" t="0" r="r" b="b"/>
            <a:pathLst>
              <a:path w="21600" h="21600" extrusionOk="0">
                <a:moveTo>
                  <a:pt x="20618" y="11880"/>
                </a:moveTo>
                <a:cubicBezTo>
                  <a:pt x="20618" y="12476"/>
                  <a:pt x="20178" y="12960"/>
                  <a:pt x="19636" y="12960"/>
                </a:cubicBezTo>
                <a:lnTo>
                  <a:pt x="19636" y="8640"/>
                </a:lnTo>
                <a:cubicBezTo>
                  <a:pt x="20178" y="8640"/>
                  <a:pt x="20618" y="9124"/>
                  <a:pt x="20618" y="9720"/>
                </a:cubicBezTo>
                <a:cubicBezTo>
                  <a:pt x="20618" y="9720"/>
                  <a:pt x="20618" y="11880"/>
                  <a:pt x="20618" y="11880"/>
                </a:cubicBezTo>
                <a:close/>
                <a:moveTo>
                  <a:pt x="18655" y="19980"/>
                </a:moveTo>
                <a:cubicBezTo>
                  <a:pt x="18655" y="20279"/>
                  <a:pt x="18434" y="20520"/>
                  <a:pt x="18164" y="20520"/>
                </a:cubicBezTo>
                <a:cubicBezTo>
                  <a:pt x="17893" y="20520"/>
                  <a:pt x="17673" y="20279"/>
                  <a:pt x="17673" y="19980"/>
                </a:cubicBezTo>
                <a:lnTo>
                  <a:pt x="17673" y="1620"/>
                </a:lnTo>
                <a:cubicBezTo>
                  <a:pt x="17673" y="1322"/>
                  <a:pt x="17893" y="1080"/>
                  <a:pt x="18164" y="1080"/>
                </a:cubicBezTo>
                <a:cubicBezTo>
                  <a:pt x="18434" y="1080"/>
                  <a:pt x="18655" y="1322"/>
                  <a:pt x="18655" y="1620"/>
                </a:cubicBezTo>
                <a:cubicBezTo>
                  <a:pt x="18655" y="1620"/>
                  <a:pt x="18655" y="19980"/>
                  <a:pt x="18655" y="19980"/>
                </a:cubicBezTo>
                <a:close/>
                <a:moveTo>
                  <a:pt x="16691" y="18404"/>
                </a:moveTo>
                <a:lnTo>
                  <a:pt x="2944" y="13512"/>
                </a:lnTo>
                <a:cubicBezTo>
                  <a:pt x="2944" y="13508"/>
                  <a:pt x="2945" y="13504"/>
                  <a:pt x="2945" y="13500"/>
                </a:cubicBezTo>
                <a:lnTo>
                  <a:pt x="2945" y="8100"/>
                </a:lnTo>
                <a:cubicBezTo>
                  <a:pt x="2945" y="8096"/>
                  <a:pt x="2944" y="8093"/>
                  <a:pt x="2944" y="8089"/>
                </a:cubicBezTo>
                <a:lnTo>
                  <a:pt x="16691" y="3197"/>
                </a:lnTo>
                <a:cubicBezTo>
                  <a:pt x="16691" y="3197"/>
                  <a:pt x="16691" y="18404"/>
                  <a:pt x="16691" y="18404"/>
                </a:cubicBezTo>
                <a:close/>
                <a:moveTo>
                  <a:pt x="12480" y="18725"/>
                </a:moveTo>
                <a:cubicBezTo>
                  <a:pt x="12316" y="19294"/>
                  <a:pt x="11764" y="19608"/>
                  <a:pt x="11247" y="19428"/>
                </a:cubicBezTo>
                <a:lnTo>
                  <a:pt x="6102" y="17625"/>
                </a:lnTo>
                <a:cubicBezTo>
                  <a:pt x="5585" y="17444"/>
                  <a:pt x="5299" y="16837"/>
                  <a:pt x="5464" y="16269"/>
                </a:cubicBezTo>
                <a:lnTo>
                  <a:pt x="5654" y="15610"/>
                </a:lnTo>
                <a:lnTo>
                  <a:pt x="12661" y="18104"/>
                </a:lnTo>
                <a:cubicBezTo>
                  <a:pt x="12661" y="18104"/>
                  <a:pt x="12480" y="18725"/>
                  <a:pt x="12480" y="18725"/>
                </a:cubicBezTo>
                <a:close/>
                <a:moveTo>
                  <a:pt x="1964" y="13500"/>
                </a:moveTo>
                <a:lnTo>
                  <a:pt x="982" y="13500"/>
                </a:lnTo>
                <a:lnTo>
                  <a:pt x="982" y="8100"/>
                </a:lnTo>
                <a:lnTo>
                  <a:pt x="1964" y="8100"/>
                </a:lnTo>
                <a:cubicBezTo>
                  <a:pt x="1964" y="8100"/>
                  <a:pt x="1964" y="13500"/>
                  <a:pt x="1964" y="13500"/>
                </a:cubicBezTo>
                <a:close/>
                <a:moveTo>
                  <a:pt x="19636" y="7560"/>
                </a:moveTo>
                <a:lnTo>
                  <a:pt x="19636" y="1620"/>
                </a:lnTo>
                <a:cubicBezTo>
                  <a:pt x="19636" y="725"/>
                  <a:pt x="18977" y="0"/>
                  <a:pt x="18164" y="0"/>
                </a:cubicBezTo>
                <a:cubicBezTo>
                  <a:pt x="17350" y="0"/>
                  <a:pt x="16691" y="725"/>
                  <a:pt x="16691" y="1620"/>
                </a:cubicBezTo>
                <a:lnTo>
                  <a:pt x="16691" y="2062"/>
                </a:lnTo>
                <a:lnTo>
                  <a:pt x="2411" y="7144"/>
                </a:lnTo>
                <a:cubicBezTo>
                  <a:pt x="2276" y="7067"/>
                  <a:pt x="2126" y="7020"/>
                  <a:pt x="1964" y="7020"/>
                </a:cubicBezTo>
                <a:lnTo>
                  <a:pt x="982" y="7020"/>
                </a:lnTo>
                <a:cubicBezTo>
                  <a:pt x="440" y="7020"/>
                  <a:pt x="0" y="7504"/>
                  <a:pt x="0" y="8100"/>
                </a:cubicBezTo>
                <a:lnTo>
                  <a:pt x="0" y="13500"/>
                </a:lnTo>
                <a:cubicBezTo>
                  <a:pt x="0" y="14097"/>
                  <a:pt x="440" y="14580"/>
                  <a:pt x="982" y="14580"/>
                </a:cubicBezTo>
                <a:lnTo>
                  <a:pt x="1964" y="14580"/>
                </a:lnTo>
                <a:cubicBezTo>
                  <a:pt x="2126" y="14580"/>
                  <a:pt x="2276" y="14533"/>
                  <a:pt x="2411" y="14457"/>
                </a:cubicBezTo>
                <a:lnTo>
                  <a:pt x="4720" y="15278"/>
                </a:lnTo>
                <a:lnTo>
                  <a:pt x="4529" y="15941"/>
                </a:lnTo>
                <a:cubicBezTo>
                  <a:pt x="4199" y="17078"/>
                  <a:pt x="4770" y="18292"/>
                  <a:pt x="5803" y="18654"/>
                </a:cubicBezTo>
                <a:lnTo>
                  <a:pt x="10949" y="20456"/>
                </a:lnTo>
                <a:cubicBezTo>
                  <a:pt x="11983" y="20819"/>
                  <a:pt x="13087" y="20190"/>
                  <a:pt x="13416" y="19053"/>
                </a:cubicBezTo>
                <a:lnTo>
                  <a:pt x="13595" y="18437"/>
                </a:lnTo>
                <a:lnTo>
                  <a:pt x="16691" y="19538"/>
                </a:lnTo>
                <a:lnTo>
                  <a:pt x="16691" y="19980"/>
                </a:lnTo>
                <a:cubicBezTo>
                  <a:pt x="16691" y="20875"/>
                  <a:pt x="17350" y="21600"/>
                  <a:pt x="18164" y="21600"/>
                </a:cubicBezTo>
                <a:cubicBezTo>
                  <a:pt x="18977" y="21600"/>
                  <a:pt x="19636" y="20875"/>
                  <a:pt x="19636" y="19980"/>
                </a:cubicBezTo>
                <a:lnTo>
                  <a:pt x="19636" y="14040"/>
                </a:lnTo>
                <a:cubicBezTo>
                  <a:pt x="20721" y="14040"/>
                  <a:pt x="21600" y="13073"/>
                  <a:pt x="21600" y="11880"/>
                </a:cubicBezTo>
                <a:lnTo>
                  <a:pt x="21600" y="9720"/>
                </a:lnTo>
                <a:cubicBezTo>
                  <a:pt x="21600" y="8527"/>
                  <a:pt x="20721" y="7560"/>
                  <a:pt x="19636" y="7560"/>
                </a:cubicBezTo>
              </a:path>
            </a:pathLst>
          </a:custGeom>
          <a:solidFill>
            <a:schemeClr val="bg1"/>
          </a:solidFill>
          <a:ln w="12700">
            <a:miter lim="400000"/>
          </a:ln>
        </p:spPr>
        <p:txBody>
          <a:bodyPr lIns="28575" tIns="28575" rIns="28575" bIns="28575" anchor="ctr"/>
          <a:lstStyle/>
          <a:p>
            <a:pPr defTabSz="3429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5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占位符 3"/>
          <p:cNvPicPr>
            <a:picLocks noGrp="1" noChangeAspect="1"/>
          </p:cNvPicPr>
          <p:nvPr>
            <p:ph type="pic" sz="quarter" idx="15"/>
          </p:nvPr>
        </p:nvPicPr>
        <p:blipFill>
          <a:blip r:embed="rId1" cstate="print">
            <a:extLst>
              <a:ext uri="{28A0092B-C50C-407E-A947-70E740481C1C}">
                <a14:useLocalDpi xmlns:a14="http://schemas.microsoft.com/office/drawing/2010/main" val="0"/>
              </a:ext>
            </a:extLst>
          </a:blip>
          <a:stretch>
            <a:fillRect/>
          </a:stretch>
        </p:blipFill>
        <p:spPr>
          <a:xfrm>
            <a:off x="1184857" y="3044541"/>
            <a:ext cx="2101366" cy="1358060"/>
          </a:xfrm>
        </p:spPr>
      </p:pic>
      <p:pic>
        <p:nvPicPr>
          <p:cNvPr id="6" name="图片占位符 5"/>
          <p:cNvPicPr>
            <a:picLocks noGrp="1" noChangeAspect="1"/>
          </p:cNvPicPr>
          <p:nvPr>
            <p:ph type="pic" sz="quarter" idx="17"/>
          </p:nvPr>
        </p:nvPicPr>
        <p:blipFill>
          <a:blip r:embed="rId2" cstate="print">
            <a:extLst>
              <a:ext uri="{28A0092B-C50C-407E-A947-70E740481C1C}">
                <a14:useLocalDpi xmlns:a14="http://schemas.microsoft.com/office/drawing/2010/main" val="0"/>
              </a:ext>
            </a:extLst>
          </a:blip>
          <a:stretch>
            <a:fillRect/>
          </a:stretch>
        </p:blipFill>
        <p:spPr>
          <a:xfrm>
            <a:off x="5901559" y="3044541"/>
            <a:ext cx="2101366" cy="1358060"/>
          </a:xfrm>
        </p:spPr>
      </p:pic>
      <p:pic>
        <p:nvPicPr>
          <p:cNvPr id="9" name="图片占位符 8"/>
          <p:cNvPicPr>
            <a:picLocks noGrp="1" noChangeAspect="1"/>
          </p:cNvPicPr>
          <p:nvPr>
            <p:ph type="pic" sz="quarter" idx="16"/>
          </p:nvPr>
        </p:nvPicPr>
        <p:blipFill>
          <a:blip r:embed="rId3" cstate="print">
            <a:extLst>
              <a:ext uri="{28A0092B-C50C-407E-A947-70E740481C1C}">
                <a14:useLocalDpi xmlns:a14="http://schemas.microsoft.com/office/drawing/2010/main" val="0"/>
              </a:ext>
            </a:extLst>
          </a:blip>
          <a:stretch>
            <a:fillRect/>
          </a:stretch>
        </p:blipFill>
        <p:spPr>
          <a:xfrm>
            <a:off x="3548826" y="3044541"/>
            <a:ext cx="2101366" cy="1358060"/>
          </a:xfrm>
          <a:solidFill>
            <a:schemeClr val="bg1">
              <a:lumMod val="75000"/>
            </a:schemeClr>
          </a:solidFill>
        </p:spPr>
      </p:pic>
      <p:sp>
        <p:nvSpPr>
          <p:cNvPr id="38" name="Content Placeholder 2"/>
          <p:cNvSpPr txBox="1"/>
          <p:nvPr/>
        </p:nvSpPr>
        <p:spPr>
          <a:xfrm>
            <a:off x="1880693" y="1514263"/>
            <a:ext cx="1278557" cy="182536"/>
          </a:xfrm>
          <a:prstGeom prst="rect">
            <a:avLst/>
          </a:prstGeom>
        </p:spPr>
        <p:txBody>
          <a:bodyPr vert="horz" wrap="square" lIns="68562" tIns="34281" rIns="68562" bIns="34281" rtlCol="0" anchor="ctr">
            <a:noAutofit/>
          </a:bodyPr>
          <a:lstStyle>
            <a:defPPr>
              <a:defRPr lang="en-US"/>
            </a:defPPr>
            <a:lvl1pPr algn="ctr" defTabSz="914400">
              <a:lnSpc>
                <a:spcPct val="90000"/>
              </a:lnSpc>
              <a:spcBef>
                <a:spcPct val="0"/>
              </a:spcBef>
              <a:buNone/>
              <a:defRPr sz="3600" b="1" spc="-300">
                <a:solidFill>
                  <a:schemeClr val="tx1">
                    <a:lumMod val="95000"/>
                    <a:lumOff val="5000"/>
                  </a:schemeClr>
                </a:solidFill>
                <a:latin typeface="Caviar Dreams" panose="020B0402020204020504" pitchFamily="34" charset="0"/>
                <a:ea typeface="Roboto" panose="02000000000000000000" pitchFamily="2" charset="0"/>
                <a:cs typeface="Times New Roman" panose="02020603050405020304" pitchFamily="18" charset="0"/>
              </a:defRPr>
            </a:lvl1pPr>
          </a:lstStyle>
          <a:p>
            <a:pPr algn="l"/>
            <a:r>
              <a:rPr lang="en-US" sz="790" b="0" spc="0" dirty="0">
                <a:solidFill>
                  <a:schemeClr val="tx1">
                    <a:lumMod val="85000"/>
                    <a:lumOff val="15000"/>
                  </a:schemeClr>
                </a:solidFill>
                <a:latin typeface="Lato" panose="020F0502020204030203" pitchFamily="34" charset="0"/>
                <a:cs typeface="Lato" panose="020F0502020204030203" pitchFamily="34" charset="0"/>
              </a:rPr>
              <a:t>Web Design</a:t>
            </a:r>
            <a:endParaRPr lang="en-US" sz="790" b="0" spc="0" dirty="0">
              <a:solidFill>
                <a:schemeClr val="tx1">
                  <a:lumMod val="85000"/>
                  <a:lumOff val="15000"/>
                </a:schemeClr>
              </a:solidFill>
              <a:latin typeface="Lato" panose="020F0502020204030203" pitchFamily="34" charset="0"/>
              <a:cs typeface="Lato" panose="020F0502020204030203" pitchFamily="34" charset="0"/>
            </a:endParaRPr>
          </a:p>
        </p:txBody>
      </p:sp>
      <p:sp>
        <p:nvSpPr>
          <p:cNvPr id="48" name="Content Placeholder 2"/>
          <p:cNvSpPr txBox="1"/>
          <p:nvPr/>
        </p:nvSpPr>
        <p:spPr>
          <a:xfrm>
            <a:off x="1861091" y="1679533"/>
            <a:ext cx="1037663" cy="570323"/>
          </a:xfrm>
          <a:prstGeom prst="rect">
            <a:avLst/>
          </a:prstGeom>
        </p:spPr>
        <p:txBody>
          <a:bodyPr vert="horz" lIns="68580" tIns="34290" rIns="68580" bIns="34290" rtlCol="0" anchor="ctr">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id-ID" sz="1350" b="1" dirty="0">
                <a:solidFill>
                  <a:schemeClr val="tx1">
                    <a:lumMod val="85000"/>
                    <a:lumOff val="15000"/>
                  </a:schemeClr>
                </a:solidFill>
                <a:latin typeface="Lato" panose="020F0502020204030203" pitchFamily="34" charset="0"/>
                <a:ea typeface="Open Sans Light" panose="020B0306030504020204" pitchFamily="34" charset="0"/>
                <a:cs typeface="Lato" panose="020F0502020204030203" pitchFamily="34" charset="0"/>
              </a:rPr>
              <a:t>MATUY DEE</a:t>
            </a:r>
            <a:endParaRPr lang="id-ID" sz="1350" b="1" dirty="0">
              <a:solidFill>
                <a:schemeClr val="tx1">
                  <a:lumMod val="85000"/>
                  <a:lumOff val="15000"/>
                </a:schemeClr>
              </a:solidFill>
              <a:latin typeface="Lato" panose="020F0502020204030203" pitchFamily="34" charset="0"/>
              <a:ea typeface="Open Sans Light" panose="020B0306030504020204" pitchFamily="34" charset="0"/>
              <a:cs typeface="Lato" panose="020F0502020204030203" pitchFamily="34" charset="0"/>
            </a:endParaRPr>
          </a:p>
        </p:txBody>
      </p:sp>
      <p:sp>
        <p:nvSpPr>
          <p:cNvPr id="49" name="Rounded Rectangle 48"/>
          <p:cNvSpPr/>
          <p:nvPr/>
        </p:nvSpPr>
        <p:spPr>
          <a:xfrm rot="16200000" flipV="1">
            <a:off x="1542465" y="1967139"/>
            <a:ext cx="465127" cy="10415"/>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5">
              <a:solidFill>
                <a:schemeClr val="accent4"/>
              </a:solidFill>
              <a:latin typeface="Neris Light" panose="00000400000000000000" pitchFamily="50" charset="0"/>
            </a:endParaRPr>
          </a:p>
        </p:txBody>
      </p:sp>
      <p:sp>
        <p:nvSpPr>
          <p:cNvPr id="51" name="Content Placeholder 2"/>
          <p:cNvSpPr txBox="1"/>
          <p:nvPr/>
        </p:nvSpPr>
        <p:spPr>
          <a:xfrm>
            <a:off x="4437073" y="1679533"/>
            <a:ext cx="1165623" cy="570323"/>
          </a:xfrm>
          <a:prstGeom prst="rect">
            <a:avLst/>
          </a:prstGeom>
        </p:spPr>
        <p:txBody>
          <a:bodyPr vert="horz" lIns="68580" tIns="34290" rIns="68580" bIns="34290" rtlCol="0" anchor="ctr">
            <a:noAutofit/>
          </a:bodyPr>
          <a:lstStyle>
            <a:defPPr>
              <a:defRPr lang="en-US"/>
            </a:defPPr>
            <a:lvl1pPr indent="0">
              <a:spcBef>
                <a:spcPts val="0"/>
              </a:spcBef>
              <a:buFont typeface="Arial" panose="020B0604020202020204" pitchFamily="34" charset="0"/>
              <a:buNone/>
              <a:defRPr b="1">
                <a:solidFill>
                  <a:schemeClr val="tx1">
                    <a:lumMod val="85000"/>
                    <a:lumOff val="15000"/>
                  </a:schemeClr>
                </a:solidFill>
                <a:latin typeface="Lato" panose="020F0502020204030203" pitchFamily="34" charset="0"/>
                <a:ea typeface="Open Sans Light" panose="020B0306030504020204" pitchFamily="34" charset="0"/>
                <a:cs typeface="Lato" panose="020F0502020204030203" pitchFamily="34" charset="0"/>
              </a:defRPr>
            </a:lvl1pPr>
            <a:lvl2pPr marL="742950" indent="-285750">
              <a:spcBef>
                <a:spcPct val="20000"/>
              </a:spcBef>
              <a:buFont typeface="Arial" panose="020B0604020202020204" pitchFamily="34" charset="0"/>
              <a:buChar char="–"/>
              <a:defRPr sz="1200">
                <a:solidFill>
                  <a:schemeClr val="bg1">
                    <a:lumMod val="65000"/>
                  </a:schemeClr>
                </a:solidFill>
              </a:defRPr>
            </a:lvl2pPr>
            <a:lvl3pPr marL="1143000" indent="-228600">
              <a:spcBef>
                <a:spcPct val="20000"/>
              </a:spcBef>
              <a:buFont typeface="Arial" panose="020B0604020202020204" pitchFamily="34" charset="0"/>
              <a:buChar char="•"/>
              <a:defRPr sz="1100">
                <a:solidFill>
                  <a:schemeClr val="bg1">
                    <a:lumMod val="65000"/>
                  </a:schemeClr>
                </a:solidFill>
              </a:defRPr>
            </a:lvl3pPr>
            <a:lvl4pPr marL="1600200" indent="-228600">
              <a:spcBef>
                <a:spcPct val="20000"/>
              </a:spcBef>
              <a:buFont typeface="Arial" panose="020B0604020202020204" pitchFamily="34" charset="0"/>
              <a:buChar char="–"/>
              <a:defRPr sz="1050">
                <a:solidFill>
                  <a:schemeClr val="bg1">
                    <a:lumMod val="65000"/>
                  </a:schemeClr>
                </a:solidFill>
              </a:defRPr>
            </a:lvl4pPr>
            <a:lvl5pPr marL="2057400" indent="-228600">
              <a:spcBef>
                <a:spcPct val="20000"/>
              </a:spcBef>
              <a:buFont typeface="Arial" panose="020B0604020202020204" pitchFamily="34" charset="0"/>
              <a:buChar char="»"/>
              <a:defRPr sz="1050">
                <a:solidFill>
                  <a:schemeClr val="bg1">
                    <a:lumMod val="65000"/>
                  </a:schemeClr>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id-ID" sz="1015" dirty="0"/>
              <a:t>SARAH WEBL</a:t>
            </a:r>
            <a:endParaRPr lang="id-ID" sz="1015" dirty="0"/>
          </a:p>
        </p:txBody>
      </p:sp>
      <p:sp>
        <p:nvSpPr>
          <p:cNvPr id="60" name="Rounded Rectangle 59"/>
          <p:cNvSpPr/>
          <p:nvPr/>
        </p:nvSpPr>
        <p:spPr>
          <a:xfrm rot="16200000" flipV="1">
            <a:off x="4118446" y="1967139"/>
            <a:ext cx="465127" cy="10415"/>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5">
              <a:solidFill>
                <a:schemeClr val="accent4"/>
              </a:solidFill>
              <a:latin typeface="Neris Light" panose="00000400000000000000" pitchFamily="50" charset="0"/>
            </a:endParaRPr>
          </a:p>
        </p:txBody>
      </p:sp>
      <p:sp>
        <p:nvSpPr>
          <p:cNvPr id="67" name="Rectangle 66"/>
          <p:cNvSpPr/>
          <p:nvPr/>
        </p:nvSpPr>
        <p:spPr>
          <a:xfrm>
            <a:off x="1184856" y="2361777"/>
            <a:ext cx="2101367" cy="473206"/>
          </a:xfrm>
          <a:prstGeom prst="rect">
            <a:avLst/>
          </a:prstGeom>
        </p:spPr>
        <p:txBody>
          <a:bodyPr wrap="square">
            <a:spAutoFit/>
          </a:bodyPr>
          <a:lstStyle/>
          <a:p>
            <a:pPr>
              <a:spcBef>
                <a:spcPts val="450"/>
              </a:spcBef>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70" name="Rectangle 69"/>
          <p:cNvSpPr/>
          <p:nvPr/>
        </p:nvSpPr>
        <p:spPr>
          <a:xfrm rot="5400000" flipH="1">
            <a:off x="1342640" y="2972251"/>
            <a:ext cx="365304" cy="509885"/>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Lato" panose="020F0502020204030203" pitchFamily="34" charset="0"/>
              <a:cs typeface="Lato" panose="020F0502020204030203" pitchFamily="34" charset="0"/>
            </a:endParaRPr>
          </a:p>
        </p:txBody>
      </p:sp>
      <p:sp>
        <p:nvSpPr>
          <p:cNvPr id="71" name="Rectangle 70"/>
          <p:cNvSpPr/>
          <p:nvPr/>
        </p:nvSpPr>
        <p:spPr>
          <a:xfrm rot="5400000" flipH="1">
            <a:off x="3778145" y="2972251"/>
            <a:ext cx="365304" cy="509885"/>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Lato" panose="020F0502020204030203" pitchFamily="34" charset="0"/>
              <a:cs typeface="Lato" panose="020F0502020204030203" pitchFamily="34" charset="0"/>
            </a:endParaRPr>
          </a:p>
        </p:txBody>
      </p:sp>
      <p:sp>
        <p:nvSpPr>
          <p:cNvPr id="72" name="Rectangle 71"/>
          <p:cNvSpPr/>
          <p:nvPr/>
        </p:nvSpPr>
        <p:spPr>
          <a:xfrm rot="5400000" flipH="1">
            <a:off x="6153558" y="2972251"/>
            <a:ext cx="365304" cy="509885"/>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Lato" panose="020F0502020204030203" pitchFamily="34" charset="0"/>
              <a:cs typeface="Lato" panose="020F0502020204030203" pitchFamily="34" charset="0"/>
            </a:endParaRPr>
          </a:p>
        </p:txBody>
      </p:sp>
      <p:sp>
        <p:nvSpPr>
          <p:cNvPr id="73" name="Content Placeholder 2"/>
          <p:cNvSpPr txBox="1"/>
          <p:nvPr/>
        </p:nvSpPr>
        <p:spPr>
          <a:xfrm>
            <a:off x="1270351" y="3099291"/>
            <a:ext cx="509885" cy="255806"/>
          </a:xfrm>
          <a:prstGeom prst="rect">
            <a:avLst/>
          </a:prstGeom>
        </p:spPr>
        <p:txBody>
          <a:bodyPr vert="horz" lIns="68580" tIns="34290" rIns="68580" bIns="34290" rtlCol="0" anchor="ctr">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0"/>
              </a:spcBef>
              <a:buNone/>
            </a:pPr>
            <a:r>
              <a:rPr lang="en-US" sz="900" dirty="0">
                <a:solidFill>
                  <a:schemeClr val="bg1"/>
                </a:solidFill>
                <a:latin typeface="Lato" panose="020F0502020204030203" pitchFamily="34" charset="0"/>
                <a:ea typeface="Open Sans Light" panose="020B0306030504020204" pitchFamily="34" charset="0"/>
                <a:cs typeface="Lato" panose="020F0502020204030203" pitchFamily="34" charset="0"/>
              </a:rPr>
              <a:t>1524K</a:t>
            </a:r>
            <a:endParaRPr lang="id-ID" sz="900" dirty="0">
              <a:solidFill>
                <a:schemeClr val="bg1"/>
              </a:solidFill>
              <a:latin typeface="Lato" panose="020F0502020204030203" pitchFamily="34" charset="0"/>
              <a:ea typeface="Open Sans Light" panose="020B0306030504020204" pitchFamily="34" charset="0"/>
              <a:cs typeface="Lato" panose="020F0502020204030203" pitchFamily="34" charset="0"/>
            </a:endParaRPr>
          </a:p>
        </p:txBody>
      </p:sp>
      <p:sp>
        <p:nvSpPr>
          <p:cNvPr id="74" name="Content Placeholder 2"/>
          <p:cNvSpPr txBox="1"/>
          <p:nvPr/>
        </p:nvSpPr>
        <p:spPr>
          <a:xfrm>
            <a:off x="3705855" y="3099291"/>
            <a:ext cx="509885" cy="255806"/>
          </a:xfrm>
          <a:prstGeom prst="rect">
            <a:avLst/>
          </a:prstGeom>
        </p:spPr>
        <p:txBody>
          <a:bodyPr vert="horz" lIns="68580" tIns="34290" rIns="68580" bIns="34290" rtlCol="0" anchor="ctr">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0"/>
              </a:spcBef>
              <a:buNone/>
            </a:pPr>
            <a:r>
              <a:rPr lang="en-US" sz="900" dirty="0">
                <a:solidFill>
                  <a:schemeClr val="bg1"/>
                </a:solidFill>
                <a:latin typeface="Lato" panose="020F0502020204030203" pitchFamily="34" charset="0"/>
                <a:ea typeface="Open Sans Light" panose="020B0306030504020204" pitchFamily="34" charset="0"/>
                <a:cs typeface="Lato" panose="020F0502020204030203" pitchFamily="34" charset="0"/>
              </a:rPr>
              <a:t>1524K</a:t>
            </a:r>
            <a:endParaRPr lang="id-ID" sz="900" dirty="0">
              <a:solidFill>
                <a:schemeClr val="bg1"/>
              </a:solidFill>
              <a:latin typeface="Lato" panose="020F0502020204030203" pitchFamily="34" charset="0"/>
              <a:ea typeface="Open Sans Light" panose="020B0306030504020204" pitchFamily="34" charset="0"/>
              <a:cs typeface="Lato" panose="020F0502020204030203" pitchFamily="34" charset="0"/>
            </a:endParaRPr>
          </a:p>
        </p:txBody>
      </p:sp>
      <p:sp>
        <p:nvSpPr>
          <p:cNvPr id="75" name="Content Placeholder 2"/>
          <p:cNvSpPr txBox="1"/>
          <p:nvPr/>
        </p:nvSpPr>
        <p:spPr>
          <a:xfrm>
            <a:off x="6081268" y="3099291"/>
            <a:ext cx="509885" cy="255806"/>
          </a:xfrm>
          <a:prstGeom prst="rect">
            <a:avLst/>
          </a:prstGeom>
        </p:spPr>
        <p:txBody>
          <a:bodyPr vert="horz" lIns="68580" tIns="34290" rIns="68580" bIns="34290" rtlCol="0" anchor="ctr">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0"/>
              </a:spcBef>
              <a:buNone/>
            </a:pPr>
            <a:r>
              <a:rPr lang="en-US" sz="900" dirty="0">
                <a:solidFill>
                  <a:schemeClr val="bg1"/>
                </a:solidFill>
                <a:latin typeface="Lato" panose="020F0502020204030203" pitchFamily="34" charset="0"/>
                <a:ea typeface="Open Sans Light" panose="020B0306030504020204" pitchFamily="34" charset="0"/>
                <a:cs typeface="Lato" panose="020F0502020204030203" pitchFamily="34" charset="0"/>
              </a:rPr>
              <a:t>1524K</a:t>
            </a:r>
            <a:endParaRPr lang="id-ID" sz="900" dirty="0">
              <a:solidFill>
                <a:schemeClr val="bg1"/>
              </a:solidFill>
              <a:latin typeface="Lato" panose="020F0502020204030203" pitchFamily="34" charset="0"/>
              <a:ea typeface="Open Sans Light" panose="020B0306030504020204" pitchFamily="34" charset="0"/>
              <a:cs typeface="Lato" panose="020F0502020204030203" pitchFamily="34" charset="0"/>
            </a:endParaRPr>
          </a:p>
        </p:txBody>
      </p:sp>
      <p:sp>
        <p:nvSpPr>
          <p:cNvPr id="76" name="Title 1"/>
          <p:cNvSpPr txBox="1"/>
          <p:nvPr/>
        </p:nvSpPr>
        <p:spPr>
          <a:xfrm>
            <a:off x="2939663" y="483253"/>
            <a:ext cx="3264674" cy="48474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2700" b="1" spc="-113" dirty="0">
                <a:solidFill>
                  <a:srgbClr val="548235"/>
                </a:solidFill>
                <a:latin typeface="Lato" panose="020F0502020204030203" pitchFamily="34" charset="0"/>
                <a:ea typeface="Open Sans" panose="020B0606030504020204" pitchFamily="34" charset="0"/>
                <a:cs typeface="Lato" panose="020F0502020204030203" pitchFamily="34" charset="0"/>
              </a:rPr>
              <a:t>Meet</a:t>
            </a:r>
            <a:r>
              <a:rPr lang="en-US" sz="2700" b="1" spc="-113" dirty="0">
                <a:solidFill>
                  <a:schemeClr val="accent1"/>
                </a:solidFill>
                <a:latin typeface="Lato" panose="020F0502020204030203" pitchFamily="34" charset="0"/>
                <a:ea typeface="Open Sans" panose="020B0606030504020204" pitchFamily="34" charset="0"/>
                <a:cs typeface="Lato" panose="020F0502020204030203" pitchFamily="34" charset="0"/>
              </a:rPr>
              <a:t> </a:t>
            </a:r>
            <a:r>
              <a:rPr lang="en-US" sz="2700" spc="-113" dirty="0">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rPr>
              <a:t>The Team</a:t>
            </a:r>
            <a:endParaRPr lang="en-US" sz="2700" spc="-113" dirty="0">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endParaRPr>
          </a:p>
        </p:txBody>
      </p:sp>
      <p:sp>
        <p:nvSpPr>
          <p:cNvPr id="77" name="Rectangle 76"/>
          <p:cNvSpPr/>
          <p:nvPr/>
        </p:nvSpPr>
        <p:spPr>
          <a:xfrm>
            <a:off x="3763496" y="968001"/>
            <a:ext cx="1617008" cy="219291"/>
          </a:xfrm>
          <a:prstGeom prst="rect">
            <a:avLst/>
          </a:prstGeom>
        </p:spPr>
        <p:txBody>
          <a:bodyPr wrap="square">
            <a:spAutoFit/>
          </a:bodyPr>
          <a:lstStyle/>
          <a:p>
            <a:pPr algn="ct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32" name="Content Placeholder 2"/>
          <p:cNvSpPr txBox="1"/>
          <p:nvPr/>
        </p:nvSpPr>
        <p:spPr>
          <a:xfrm>
            <a:off x="4437074" y="1514263"/>
            <a:ext cx="1246479" cy="225520"/>
          </a:xfrm>
          <a:prstGeom prst="rect">
            <a:avLst/>
          </a:prstGeom>
        </p:spPr>
        <p:txBody>
          <a:bodyPr vert="horz" wrap="square" lIns="68562" tIns="34281" rIns="68562" bIns="34281" rtlCol="0" anchor="ctr">
            <a:noAutofit/>
          </a:bodyPr>
          <a:lstStyle>
            <a:defPPr>
              <a:defRPr lang="en-US"/>
            </a:defPPr>
            <a:lvl1pPr algn="ctr" defTabSz="914400">
              <a:lnSpc>
                <a:spcPct val="90000"/>
              </a:lnSpc>
              <a:spcBef>
                <a:spcPct val="0"/>
              </a:spcBef>
              <a:buNone/>
              <a:defRPr sz="3600" b="1" spc="-300">
                <a:solidFill>
                  <a:schemeClr val="tx1">
                    <a:lumMod val="95000"/>
                    <a:lumOff val="5000"/>
                  </a:schemeClr>
                </a:solidFill>
                <a:latin typeface="Caviar Dreams" panose="020B0402020204020504" pitchFamily="34" charset="0"/>
                <a:ea typeface="Roboto" panose="02000000000000000000" pitchFamily="2" charset="0"/>
                <a:cs typeface="Times New Roman" panose="02020603050405020304" pitchFamily="18" charset="0"/>
              </a:defRPr>
            </a:lvl1pPr>
          </a:lstStyle>
          <a:p>
            <a:pPr algn="l"/>
            <a:r>
              <a:rPr lang="en-US" sz="790" b="0" spc="0" dirty="0">
                <a:solidFill>
                  <a:schemeClr val="tx1">
                    <a:lumMod val="85000"/>
                    <a:lumOff val="15000"/>
                  </a:schemeClr>
                </a:solidFill>
                <a:latin typeface="Lato" panose="020F0502020204030203" pitchFamily="34" charset="0"/>
                <a:cs typeface="Lato" panose="020F0502020204030203" pitchFamily="34" charset="0"/>
              </a:rPr>
              <a:t>Marketing Solution</a:t>
            </a:r>
            <a:endParaRPr lang="en-US" sz="790" b="0" spc="0" dirty="0">
              <a:solidFill>
                <a:schemeClr val="tx1">
                  <a:lumMod val="85000"/>
                  <a:lumOff val="15000"/>
                </a:schemeClr>
              </a:solidFill>
              <a:latin typeface="Lato" panose="020F0502020204030203" pitchFamily="34" charset="0"/>
              <a:cs typeface="Lato" panose="020F0502020204030203" pitchFamily="34" charset="0"/>
            </a:endParaRPr>
          </a:p>
        </p:txBody>
      </p:sp>
      <p:sp>
        <p:nvSpPr>
          <p:cNvPr id="33" name="Content Placeholder 2"/>
          <p:cNvSpPr txBox="1"/>
          <p:nvPr/>
        </p:nvSpPr>
        <p:spPr>
          <a:xfrm>
            <a:off x="6802071" y="1679533"/>
            <a:ext cx="1165623" cy="570323"/>
          </a:xfrm>
          <a:prstGeom prst="rect">
            <a:avLst/>
          </a:prstGeom>
        </p:spPr>
        <p:txBody>
          <a:bodyPr vert="horz" lIns="68580" tIns="34290" rIns="68580" bIns="34290" rtlCol="0" anchor="ctr">
            <a:noAutofit/>
          </a:bodyPr>
          <a:lstStyle>
            <a:defPPr>
              <a:defRPr lang="en-US"/>
            </a:defPPr>
            <a:lvl1pPr indent="0">
              <a:spcBef>
                <a:spcPts val="0"/>
              </a:spcBef>
              <a:buFont typeface="Arial" panose="020B0604020202020204" pitchFamily="34" charset="0"/>
              <a:buNone/>
              <a:defRPr b="1">
                <a:solidFill>
                  <a:schemeClr val="tx1">
                    <a:lumMod val="85000"/>
                    <a:lumOff val="15000"/>
                  </a:schemeClr>
                </a:solidFill>
                <a:latin typeface="Lato" panose="020F0502020204030203" pitchFamily="34" charset="0"/>
                <a:ea typeface="Open Sans Light" panose="020B0306030504020204" pitchFamily="34" charset="0"/>
                <a:cs typeface="Lato" panose="020F0502020204030203" pitchFamily="34" charset="0"/>
              </a:defRPr>
            </a:lvl1pPr>
            <a:lvl2pPr marL="742950" indent="-285750">
              <a:spcBef>
                <a:spcPct val="20000"/>
              </a:spcBef>
              <a:buFont typeface="Arial" panose="020B0604020202020204" pitchFamily="34" charset="0"/>
              <a:buChar char="–"/>
              <a:defRPr sz="1200">
                <a:solidFill>
                  <a:schemeClr val="bg1">
                    <a:lumMod val="65000"/>
                  </a:schemeClr>
                </a:solidFill>
              </a:defRPr>
            </a:lvl2pPr>
            <a:lvl3pPr marL="1143000" indent="-228600">
              <a:spcBef>
                <a:spcPct val="20000"/>
              </a:spcBef>
              <a:buFont typeface="Arial" panose="020B0604020202020204" pitchFamily="34" charset="0"/>
              <a:buChar char="•"/>
              <a:defRPr sz="1100">
                <a:solidFill>
                  <a:schemeClr val="bg1">
                    <a:lumMod val="65000"/>
                  </a:schemeClr>
                </a:solidFill>
              </a:defRPr>
            </a:lvl3pPr>
            <a:lvl4pPr marL="1600200" indent="-228600">
              <a:spcBef>
                <a:spcPct val="20000"/>
              </a:spcBef>
              <a:buFont typeface="Arial" panose="020B0604020202020204" pitchFamily="34" charset="0"/>
              <a:buChar char="–"/>
              <a:defRPr sz="1050">
                <a:solidFill>
                  <a:schemeClr val="bg1">
                    <a:lumMod val="65000"/>
                  </a:schemeClr>
                </a:solidFill>
              </a:defRPr>
            </a:lvl4pPr>
            <a:lvl5pPr marL="2057400" indent="-228600">
              <a:spcBef>
                <a:spcPct val="20000"/>
              </a:spcBef>
              <a:buFont typeface="Arial" panose="020B0604020202020204" pitchFamily="34" charset="0"/>
              <a:buChar char="»"/>
              <a:defRPr sz="1050">
                <a:solidFill>
                  <a:schemeClr val="bg1">
                    <a:lumMod val="65000"/>
                  </a:schemeClr>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id-ID" sz="1015" dirty="0"/>
              <a:t>ARIANE GREN</a:t>
            </a:r>
            <a:endParaRPr lang="id-ID" sz="1015" dirty="0"/>
          </a:p>
        </p:txBody>
      </p:sp>
      <p:sp>
        <p:nvSpPr>
          <p:cNvPr id="34" name="Rounded Rectangle 33"/>
          <p:cNvSpPr/>
          <p:nvPr/>
        </p:nvSpPr>
        <p:spPr>
          <a:xfrm rot="16200000" flipV="1">
            <a:off x="6483444" y="1967139"/>
            <a:ext cx="465127" cy="10415"/>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5">
              <a:solidFill>
                <a:schemeClr val="accent4"/>
              </a:solidFill>
              <a:latin typeface="Neris Light" panose="00000400000000000000" pitchFamily="50" charset="0"/>
            </a:endParaRPr>
          </a:p>
        </p:txBody>
      </p:sp>
      <p:sp>
        <p:nvSpPr>
          <p:cNvPr id="36" name="Content Placeholder 2"/>
          <p:cNvSpPr txBox="1"/>
          <p:nvPr/>
        </p:nvSpPr>
        <p:spPr>
          <a:xfrm>
            <a:off x="6802072" y="1514263"/>
            <a:ext cx="1246479" cy="225520"/>
          </a:xfrm>
          <a:prstGeom prst="rect">
            <a:avLst/>
          </a:prstGeom>
        </p:spPr>
        <p:txBody>
          <a:bodyPr vert="horz" wrap="square" lIns="68562" tIns="34281" rIns="68562" bIns="34281" rtlCol="0" anchor="ctr">
            <a:noAutofit/>
          </a:bodyPr>
          <a:lstStyle>
            <a:defPPr>
              <a:defRPr lang="en-US"/>
            </a:defPPr>
            <a:lvl1pPr algn="ctr" defTabSz="914400">
              <a:lnSpc>
                <a:spcPct val="90000"/>
              </a:lnSpc>
              <a:spcBef>
                <a:spcPct val="0"/>
              </a:spcBef>
              <a:buNone/>
              <a:defRPr sz="3600" b="1" spc="-300">
                <a:solidFill>
                  <a:schemeClr val="tx1">
                    <a:lumMod val="95000"/>
                    <a:lumOff val="5000"/>
                  </a:schemeClr>
                </a:solidFill>
                <a:latin typeface="Caviar Dreams" panose="020B0402020204020504" pitchFamily="34" charset="0"/>
                <a:ea typeface="Roboto" panose="02000000000000000000" pitchFamily="2" charset="0"/>
                <a:cs typeface="Times New Roman" panose="02020603050405020304" pitchFamily="18" charset="0"/>
              </a:defRPr>
            </a:lvl1pPr>
          </a:lstStyle>
          <a:p>
            <a:pPr algn="l"/>
            <a:r>
              <a:rPr lang="en-US" sz="790" b="0" spc="0" dirty="0">
                <a:solidFill>
                  <a:schemeClr val="tx1">
                    <a:lumMod val="85000"/>
                    <a:lumOff val="15000"/>
                  </a:schemeClr>
                </a:solidFill>
                <a:latin typeface="Lato" panose="020F0502020204030203" pitchFamily="34" charset="0"/>
                <a:cs typeface="Lato" panose="020F0502020204030203" pitchFamily="34" charset="0"/>
              </a:rPr>
              <a:t>Graphic Design</a:t>
            </a:r>
            <a:endParaRPr lang="en-US" sz="790" b="0" spc="0" dirty="0">
              <a:solidFill>
                <a:schemeClr val="tx1">
                  <a:lumMod val="85000"/>
                  <a:lumOff val="15000"/>
                </a:schemeClr>
              </a:solidFill>
              <a:latin typeface="Lato" panose="020F0502020204030203" pitchFamily="34" charset="0"/>
              <a:cs typeface="Lato" panose="020F0502020204030203" pitchFamily="34" charset="0"/>
            </a:endParaRPr>
          </a:p>
        </p:txBody>
      </p:sp>
      <p:sp>
        <p:nvSpPr>
          <p:cNvPr id="37" name="Rectangle 36"/>
          <p:cNvSpPr/>
          <p:nvPr/>
        </p:nvSpPr>
        <p:spPr>
          <a:xfrm>
            <a:off x="3695003" y="2361777"/>
            <a:ext cx="1943953" cy="473206"/>
          </a:xfrm>
          <a:prstGeom prst="rect">
            <a:avLst/>
          </a:prstGeom>
        </p:spPr>
        <p:txBody>
          <a:bodyPr wrap="square">
            <a:spAutoFit/>
          </a:bodyPr>
          <a:lstStyle/>
          <a:p>
            <a:pPr>
              <a:spcBef>
                <a:spcPts val="450"/>
              </a:spcBef>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39" name="Rectangle 38"/>
          <p:cNvSpPr/>
          <p:nvPr/>
        </p:nvSpPr>
        <p:spPr>
          <a:xfrm>
            <a:off x="6031980" y="2361777"/>
            <a:ext cx="1935714" cy="473206"/>
          </a:xfrm>
          <a:prstGeom prst="rect">
            <a:avLst/>
          </a:prstGeom>
        </p:spPr>
        <p:txBody>
          <a:bodyPr wrap="square">
            <a:spAutoFit/>
          </a:bodyPr>
          <a:lstStyle/>
          <a:p>
            <a:pPr>
              <a:spcBef>
                <a:spcPts val="450"/>
              </a:spcBef>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40" name="Shape 2637"/>
          <p:cNvSpPr/>
          <p:nvPr/>
        </p:nvSpPr>
        <p:spPr>
          <a:xfrm>
            <a:off x="3992599" y="1772988"/>
            <a:ext cx="171752" cy="314876"/>
          </a:xfrm>
          <a:custGeom>
            <a:avLst/>
            <a:gdLst/>
            <a:ahLst/>
            <a:cxnLst>
              <a:cxn ang="0">
                <a:pos x="wd2" y="hd2"/>
              </a:cxn>
              <a:cxn ang="5400000">
                <a:pos x="wd2" y="hd2"/>
              </a:cxn>
              <a:cxn ang="10800000">
                <a:pos x="wd2" y="hd2"/>
              </a:cxn>
              <a:cxn ang="16200000">
                <a:pos x="wd2" y="hd2"/>
              </a:cxn>
            </a:cxnLst>
            <a:rect l="0" t="0" r="r" b="b"/>
            <a:pathLst>
              <a:path w="21600" h="21600" extrusionOk="0">
                <a:moveTo>
                  <a:pt x="5400" y="8836"/>
                </a:moveTo>
                <a:lnTo>
                  <a:pt x="16200" y="8836"/>
                </a:lnTo>
                <a:lnTo>
                  <a:pt x="16200" y="11782"/>
                </a:lnTo>
                <a:cubicBezTo>
                  <a:pt x="16200" y="13409"/>
                  <a:pt x="13783" y="14727"/>
                  <a:pt x="10800" y="14727"/>
                </a:cubicBezTo>
                <a:cubicBezTo>
                  <a:pt x="7817" y="14727"/>
                  <a:pt x="5400" y="13409"/>
                  <a:pt x="5400" y="11782"/>
                </a:cubicBezTo>
                <a:cubicBezTo>
                  <a:pt x="5400" y="11782"/>
                  <a:pt x="5400" y="8836"/>
                  <a:pt x="5400" y="8836"/>
                </a:cubicBezTo>
                <a:close/>
                <a:moveTo>
                  <a:pt x="5400" y="3927"/>
                </a:moveTo>
                <a:cubicBezTo>
                  <a:pt x="5400" y="2301"/>
                  <a:pt x="7817" y="982"/>
                  <a:pt x="10800" y="982"/>
                </a:cubicBezTo>
                <a:cubicBezTo>
                  <a:pt x="13783" y="982"/>
                  <a:pt x="16200" y="2301"/>
                  <a:pt x="16200" y="3927"/>
                </a:cubicBezTo>
                <a:lnTo>
                  <a:pt x="16200" y="7855"/>
                </a:lnTo>
                <a:lnTo>
                  <a:pt x="5400" y="7855"/>
                </a:lnTo>
                <a:cubicBezTo>
                  <a:pt x="5400" y="7855"/>
                  <a:pt x="5400" y="3927"/>
                  <a:pt x="5400" y="3927"/>
                </a:cubicBezTo>
                <a:close/>
                <a:moveTo>
                  <a:pt x="10800" y="15709"/>
                </a:moveTo>
                <a:cubicBezTo>
                  <a:pt x="14777" y="15709"/>
                  <a:pt x="18000" y="13951"/>
                  <a:pt x="18000" y="11782"/>
                </a:cubicBezTo>
                <a:lnTo>
                  <a:pt x="18000" y="3927"/>
                </a:lnTo>
                <a:cubicBezTo>
                  <a:pt x="18000" y="1758"/>
                  <a:pt x="14777" y="0"/>
                  <a:pt x="10800" y="0"/>
                </a:cubicBezTo>
                <a:cubicBezTo>
                  <a:pt x="6823" y="0"/>
                  <a:pt x="3600" y="1758"/>
                  <a:pt x="3600" y="3927"/>
                </a:cubicBezTo>
                <a:lnTo>
                  <a:pt x="3600" y="11782"/>
                </a:lnTo>
                <a:cubicBezTo>
                  <a:pt x="3600" y="13951"/>
                  <a:pt x="6823" y="15709"/>
                  <a:pt x="10800" y="15709"/>
                </a:cubicBezTo>
                <a:moveTo>
                  <a:pt x="21600" y="11782"/>
                </a:moveTo>
                <a:lnTo>
                  <a:pt x="21600" y="10309"/>
                </a:lnTo>
                <a:cubicBezTo>
                  <a:pt x="21600" y="10038"/>
                  <a:pt x="21197" y="9818"/>
                  <a:pt x="20700" y="9818"/>
                </a:cubicBezTo>
                <a:cubicBezTo>
                  <a:pt x="20203" y="9818"/>
                  <a:pt x="19800" y="10038"/>
                  <a:pt x="19800" y="10309"/>
                </a:cubicBezTo>
                <a:lnTo>
                  <a:pt x="19800" y="11782"/>
                </a:lnTo>
                <a:cubicBezTo>
                  <a:pt x="19800" y="14493"/>
                  <a:pt x="15771" y="16691"/>
                  <a:pt x="10800" y="16691"/>
                </a:cubicBezTo>
                <a:cubicBezTo>
                  <a:pt x="5829" y="16691"/>
                  <a:pt x="1800" y="14493"/>
                  <a:pt x="1800" y="11782"/>
                </a:cubicBezTo>
                <a:lnTo>
                  <a:pt x="1800" y="10309"/>
                </a:lnTo>
                <a:cubicBezTo>
                  <a:pt x="1800" y="10038"/>
                  <a:pt x="1397" y="9818"/>
                  <a:pt x="900" y="9818"/>
                </a:cubicBezTo>
                <a:cubicBezTo>
                  <a:pt x="403" y="9818"/>
                  <a:pt x="0" y="10038"/>
                  <a:pt x="0" y="10309"/>
                </a:cubicBezTo>
                <a:lnTo>
                  <a:pt x="0" y="11782"/>
                </a:lnTo>
                <a:cubicBezTo>
                  <a:pt x="0" y="14870"/>
                  <a:pt x="4358" y="17398"/>
                  <a:pt x="9900" y="17648"/>
                </a:cubicBezTo>
                <a:lnTo>
                  <a:pt x="9900" y="20618"/>
                </a:lnTo>
                <a:lnTo>
                  <a:pt x="3600" y="20618"/>
                </a:lnTo>
                <a:cubicBezTo>
                  <a:pt x="3103" y="20618"/>
                  <a:pt x="2700" y="20838"/>
                  <a:pt x="2700" y="21110"/>
                </a:cubicBezTo>
                <a:cubicBezTo>
                  <a:pt x="2700" y="21381"/>
                  <a:pt x="3103" y="21600"/>
                  <a:pt x="3600" y="21600"/>
                </a:cubicBezTo>
                <a:lnTo>
                  <a:pt x="18000" y="21600"/>
                </a:lnTo>
                <a:cubicBezTo>
                  <a:pt x="18497" y="21600"/>
                  <a:pt x="18900" y="21381"/>
                  <a:pt x="18900" y="21110"/>
                </a:cubicBezTo>
                <a:cubicBezTo>
                  <a:pt x="18900" y="20838"/>
                  <a:pt x="18497" y="20618"/>
                  <a:pt x="18000" y="20618"/>
                </a:cubicBezTo>
                <a:lnTo>
                  <a:pt x="11700" y="20618"/>
                </a:lnTo>
                <a:lnTo>
                  <a:pt x="11700" y="17648"/>
                </a:lnTo>
                <a:cubicBezTo>
                  <a:pt x="17243" y="17398"/>
                  <a:pt x="21600" y="14870"/>
                  <a:pt x="21600" y="11782"/>
                </a:cubicBezTo>
              </a:path>
            </a:pathLst>
          </a:custGeom>
          <a:solidFill>
            <a:srgbClr val="548235"/>
          </a:solidFill>
          <a:ln w="12700">
            <a:miter lim="400000"/>
          </a:ln>
        </p:spPr>
        <p:txBody>
          <a:bodyPr lIns="28575" tIns="28575" rIns="28575" bIns="28575" anchor="ctr"/>
          <a:lstStyle/>
          <a:p>
            <a:pPr defTabSz="3429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50"/>
          </a:p>
        </p:txBody>
      </p:sp>
      <p:sp>
        <p:nvSpPr>
          <p:cNvPr id="42" name="Shape 2772"/>
          <p:cNvSpPr/>
          <p:nvPr/>
        </p:nvSpPr>
        <p:spPr>
          <a:xfrm>
            <a:off x="6220435" y="1791895"/>
            <a:ext cx="314876" cy="314876"/>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2273" y="12764"/>
                </a:moveTo>
                <a:lnTo>
                  <a:pt x="17182" y="12764"/>
                </a:lnTo>
                <a:cubicBezTo>
                  <a:pt x="17453" y="12764"/>
                  <a:pt x="17673" y="12544"/>
                  <a:pt x="17673" y="12273"/>
                </a:cubicBezTo>
                <a:cubicBezTo>
                  <a:pt x="17673" y="12002"/>
                  <a:pt x="17453" y="11782"/>
                  <a:pt x="17182" y="11782"/>
                </a:cubicBezTo>
                <a:lnTo>
                  <a:pt x="12273" y="11782"/>
                </a:lnTo>
                <a:cubicBezTo>
                  <a:pt x="12002" y="11782"/>
                  <a:pt x="11782" y="12002"/>
                  <a:pt x="11782" y="12273"/>
                </a:cubicBezTo>
                <a:cubicBezTo>
                  <a:pt x="11782" y="12544"/>
                  <a:pt x="12002" y="12764"/>
                  <a:pt x="12273" y="12764"/>
                </a:cubicBezTo>
                <a:moveTo>
                  <a:pt x="4909" y="6873"/>
                </a:moveTo>
                <a:lnTo>
                  <a:pt x="8836" y="6873"/>
                </a:lnTo>
                <a:lnTo>
                  <a:pt x="8836" y="11782"/>
                </a:lnTo>
                <a:lnTo>
                  <a:pt x="4909" y="11782"/>
                </a:lnTo>
                <a:cubicBezTo>
                  <a:pt x="4909" y="11782"/>
                  <a:pt x="4909" y="6873"/>
                  <a:pt x="4909" y="6873"/>
                </a:cubicBezTo>
                <a:close/>
                <a:moveTo>
                  <a:pt x="4909" y="12764"/>
                </a:moveTo>
                <a:lnTo>
                  <a:pt x="8836" y="12764"/>
                </a:lnTo>
                <a:cubicBezTo>
                  <a:pt x="9378" y="12764"/>
                  <a:pt x="9818" y="12325"/>
                  <a:pt x="9818" y="11782"/>
                </a:cubicBezTo>
                <a:lnTo>
                  <a:pt x="9818" y="6873"/>
                </a:lnTo>
                <a:cubicBezTo>
                  <a:pt x="9818" y="6331"/>
                  <a:pt x="9378" y="5891"/>
                  <a:pt x="8836" y="5891"/>
                </a:cubicBezTo>
                <a:lnTo>
                  <a:pt x="4909" y="5891"/>
                </a:lnTo>
                <a:cubicBezTo>
                  <a:pt x="4367" y="5891"/>
                  <a:pt x="3927" y="6331"/>
                  <a:pt x="3927" y="6873"/>
                </a:cubicBezTo>
                <a:lnTo>
                  <a:pt x="3927" y="11782"/>
                </a:lnTo>
                <a:cubicBezTo>
                  <a:pt x="3927" y="12325"/>
                  <a:pt x="4367" y="12764"/>
                  <a:pt x="4909" y="12764"/>
                </a:cubicBezTo>
                <a:moveTo>
                  <a:pt x="12273" y="10800"/>
                </a:moveTo>
                <a:lnTo>
                  <a:pt x="14236" y="10800"/>
                </a:lnTo>
                <a:cubicBezTo>
                  <a:pt x="14507" y="10800"/>
                  <a:pt x="14727" y="10580"/>
                  <a:pt x="14727" y="10309"/>
                </a:cubicBezTo>
                <a:cubicBezTo>
                  <a:pt x="14727" y="10038"/>
                  <a:pt x="14507" y="9818"/>
                  <a:pt x="14236" y="9818"/>
                </a:cubicBezTo>
                <a:lnTo>
                  <a:pt x="12273" y="9818"/>
                </a:lnTo>
                <a:cubicBezTo>
                  <a:pt x="12002" y="9818"/>
                  <a:pt x="11782" y="10038"/>
                  <a:pt x="11782" y="10309"/>
                </a:cubicBezTo>
                <a:cubicBezTo>
                  <a:pt x="11782" y="10580"/>
                  <a:pt x="12002" y="10800"/>
                  <a:pt x="12273" y="10800"/>
                </a:cubicBezTo>
                <a:moveTo>
                  <a:pt x="12273" y="6873"/>
                </a:moveTo>
                <a:lnTo>
                  <a:pt x="15218" y="6873"/>
                </a:lnTo>
                <a:cubicBezTo>
                  <a:pt x="15489" y="6873"/>
                  <a:pt x="15709" y="6653"/>
                  <a:pt x="15709" y="6382"/>
                </a:cubicBezTo>
                <a:cubicBezTo>
                  <a:pt x="15709" y="6111"/>
                  <a:pt x="15489" y="5891"/>
                  <a:pt x="15218" y="5891"/>
                </a:cubicBezTo>
                <a:lnTo>
                  <a:pt x="12273" y="5891"/>
                </a:lnTo>
                <a:cubicBezTo>
                  <a:pt x="12002" y="5891"/>
                  <a:pt x="11782" y="6111"/>
                  <a:pt x="11782" y="6382"/>
                </a:cubicBezTo>
                <a:cubicBezTo>
                  <a:pt x="11782" y="6653"/>
                  <a:pt x="12002" y="6873"/>
                  <a:pt x="12273" y="6873"/>
                </a:cubicBezTo>
                <a:moveTo>
                  <a:pt x="12273" y="8836"/>
                </a:moveTo>
                <a:lnTo>
                  <a:pt x="17182" y="8836"/>
                </a:lnTo>
                <a:cubicBezTo>
                  <a:pt x="17453" y="8836"/>
                  <a:pt x="17673" y="8617"/>
                  <a:pt x="17673" y="8345"/>
                </a:cubicBezTo>
                <a:cubicBezTo>
                  <a:pt x="17673" y="8075"/>
                  <a:pt x="17453" y="7855"/>
                  <a:pt x="17182" y="7855"/>
                </a:cubicBezTo>
                <a:lnTo>
                  <a:pt x="12273" y="7855"/>
                </a:lnTo>
                <a:cubicBezTo>
                  <a:pt x="12002" y="7855"/>
                  <a:pt x="11782" y="8075"/>
                  <a:pt x="11782" y="8345"/>
                </a:cubicBezTo>
                <a:cubicBezTo>
                  <a:pt x="11782" y="8617"/>
                  <a:pt x="12002" y="8836"/>
                  <a:pt x="12273" y="8836"/>
                </a:cubicBezTo>
              </a:path>
            </a:pathLst>
          </a:custGeom>
          <a:solidFill>
            <a:srgbClr val="548235"/>
          </a:solidFill>
          <a:ln w="12700">
            <a:miter lim="400000"/>
          </a:ln>
        </p:spPr>
        <p:txBody>
          <a:bodyPr lIns="28575" tIns="28575" rIns="28575" bIns="28575" anchor="ctr"/>
          <a:lstStyle/>
          <a:p>
            <a:pPr defTabSz="3429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50"/>
          </a:p>
        </p:txBody>
      </p:sp>
      <p:sp>
        <p:nvSpPr>
          <p:cNvPr id="43" name="Shape 2646"/>
          <p:cNvSpPr/>
          <p:nvPr/>
        </p:nvSpPr>
        <p:spPr>
          <a:xfrm>
            <a:off x="1332517" y="1807256"/>
            <a:ext cx="314876" cy="314876"/>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1"/>
                  <a:pt x="7092" y="21600"/>
                  <a:pt x="7364" y="21600"/>
                </a:cubicBezTo>
                <a:lnTo>
                  <a:pt x="14236" y="21600"/>
                </a:lnTo>
                <a:cubicBezTo>
                  <a:pt x="14508" y="21600"/>
                  <a:pt x="14727" y="21381"/>
                  <a:pt x="14727" y="21109"/>
                </a:cubicBezTo>
                <a:cubicBezTo>
                  <a:pt x="14727" y="20838"/>
                  <a:pt x="14508"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rgbClr val="548235"/>
          </a:solidFill>
          <a:ln w="12700">
            <a:miter lim="400000"/>
          </a:ln>
        </p:spPr>
        <p:txBody>
          <a:bodyPr lIns="28575" tIns="28575" rIns="28575" bIns="28575" anchor="ctr"/>
          <a:lstStyle/>
          <a:p>
            <a:pPr defTabSz="3429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50"/>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占位符 2"/>
          <p:cNvPicPr>
            <a:picLocks noGrp="1" noChangeAspect="1"/>
          </p:cNvPicPr>
          <p:nvPr>
            <p:ph type="pic" sz="quarter" idx="23"/>
          </p:nvPr>
        </p:nvPicPr>
        <p:blipFill>
          <a:blip r:embed="rId1" cstate="print">
            <a:extLst>
              <a:ext uri="{28A0092B-C50C-407E-A947-70E740481C1C}">
                <a14:useLocalDpi xmlns:a14="http://schemas.microsoft.com/office/drawing/2010/main" val="0"/>
              </a:ext>
            </a:extLst>
          </a:blip>
          <a:srcRect l="16702" r="16702"/>
          <a:stretch>
            <a:fillRect/>
          </a:stretch>
        </p:blipFill>
        <p:spPr/>
      </p:pic>
      <p:sp>
        <p:nvSpPr>
          <p:cNvPr id="46" name="Rectangle 45"/>
          <p:cNvSpPr/>
          <p:nvPr/>
        </p:nvSpPr>
        <p:spPr>
          <a:xfrm>
            <a:off x="5884702" y="944212"/>
            <a:ext cx="2316323" cy="473206"/>
          </a:xfrm>
          <a:prstGeom prst="rect">
            <a:avLst/>
          </a:prstGeom>
        </p:spPr>
        <p:txBody>
          <a:bodyPr wrap="square">
            <a:spAutoFit/>
          </a:bodyPr>
          <a:lstStyle/>
          <a:p>
            <a:pPr algn="just">
              <a:buClr>
                <a:srgbClr val="E24848"/>
              </a:buClr>
              <a:defRPr/>
            </a:pPr>
            <a:r>
              <a:rPr lang="en-US" sz="825"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endParaRPr lang="en-US" sz="825"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47" name="Title 1"/>
          <p:cNvSpPr txBox="1"/>
          <p:nvPr/>
        </p:nvSpPr>
        <p:spPr>
          <a:xfrm>
            <a:off x="5868651" y="662502"/>
            <a:ext cx="842921" cy="276999"/>
          </a:xfrm>
          <a:prstGeom prst="rect">
            <a:avLst/>
          </a:prstGeom>
          <a:noFill/>
        </p:spPr>
        <p:txBody>
          <a:bodyPr wrap="square">
            <a:spAutoFit/>
          </a:bodyPr>
          <a:lstStyle>
            <a:defPPr>
              <a:defRPr lang="en-US"/>
            </a:defPPr>
            <a:lvl1pPr>
              <a:defRPr sz="1600" b="1">
                <a:solidFill>
                  <a:schemeClr val="tx1">
                    <a:lumMod val="85000"/>
                    <a:lumOff val="15000"/>
                  </a:schemeClr>
                </a:solidFill>
                <a:latin typeface="Raleway" panose="020B0503030101060003" pitchFamily="34" charset="0"/>
                <a:ea typeface="Roboto Light" panose="02000000000000000000" pitchFamily="2" charset="0"/>
                <a:cs typeface="Open Sans" panose="020B0606030504020204" pitchFamily="34" charset="0"/>
              </a:defRPr>
            </a:lvl1pPr>
          </a:lstStyle>
          <a:p>
            <a:r>
              <a:rPr lang="en-US" sz="1200" dirty="0"/>
              <a:t>VISION</a:t>
            </a:r>
            <a:endParaRPr lang="en-US" sz="1200" dirty="0"/>
          </a:p>
        </p:txBody>
      </p:sp>
      <p:sp>
        <p:nvSpPr>
          <p:cNvPr id="48" name="Rectangle 47"/>
          <p:cNvSpPr/>
          <p:nvPr/>
        </p:nvSpPr>
        <p:spPr>
          <a:xfrm>
            <a:off x="5144866" y="1776333"/>
            <a:ext cx="2316323" cy="473206"/>
          </a:xfrm>
          <a:prstGeom prst="rect">
            <a:avLst/>
          </a:prstGeom>
        </p:spPr>
        <p:txBody>
          <a:bodyPr wrap="square">
            <a:spAutoFit/>
          </a:bodyPr>
          <a:lstStyle/>
          <a:p>
            <a:pPr algn="just">
              <a:buClr>
                <a:srgbClr val="E24848"/>
              </a:buClr>
              <a:defRPr/>
            </a:pPr>
            <a:r>
              <a:rPr lang="en-US" sz="825"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endParaRPr lang="en-US" sz="825"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49" name="Title 1"/>
          <p:cNvSpPr txBox="1"/>
          <p:nvPr/>
        </p:nvSpPr>
        <p:spPr>
          <a:xfrm>
            <a:off x="5128815" y="1494623"/>
            <a:ext cx="842921" cy="276999"/>
          </a:xfrm>
          <a:prstGeom prst="rect">
            <a:avLst/>
          </a:prstGeom>
          <a:noFill/>
        </p:spPr>
        <p:txBody>
          <a:bodyPr wrap="square">
            <a:spAutoFit/>
          </a:bodyPr>
          <a:lstStyle>
            <a:defPPr>
              <a:defRPr lang="en-US"/>
            </a:defPPr>
            <a:lvl1pPr>
              <a:defRPr sz="1600" b="1">
                <a:solidFill>
                  <a:schemeClr val="tx1">
                    <a:lumMod val="85000"/>
                    <a:lumOff val="15000"/>
                  </a:schemeClr>
                </a:solidFill>
                <a:latin typeface="Raleway" panose="020B0503030101060003" pitchFamily="34" charset="0"/>
                <a:ea typeface="Roboto Light" panose="02000000000000000000" pitchFamily="2" charset="0"/>
                <a:cs typeface="Open Sans" panose="020B0606030504020204" pitchFamily="34" charset="0"/>
              </a:defRPr>
            </a:lvl1pPr>
          </a:lstStyle>
          <a:p>
            <a:r>
              <a:rPr lang="en-US" sz="1200" dirty="0"/>
              <a:t>VISION</a:t>
            </a:r>
            <a:endParaRPr lang="en-US" sz="1200" dirty="0"/>
          </a:p>
        </p:txBody>
      </p:sp>
      <p:sp>
        <p:nvSpPr>
          <p:cNvPr id="50" name="Rectangle 49"/>
          <p:cNvSpPr/>
          <p:nvPr/>
        </p:nvSpPr>
        <p:spPr>
          <a:xfrm>
            <a:off x="4404148" y="2777224"/>
            <a:ext cx="2316323" cy="473206"/>
          </a:xfrm>
          <a:prstGeom prst="rect">
            <a:avLst/>
          </a:prstGeom>
        </p:spPr>
        <p:txBody>
          <a:bodyPr wrap="square">
            <a:spAutoFit/>
          </a:bodyPr>
          <a:lstStyle/>
          <a:p>
            <a:pPr algn="just">
              <a:buClr>
                <a:srgbClr val="E24848"/>
              </a:buClr>
              <a:defRPr/>
            </a:pPr>
            <a:r>
              <a:rPr lang="en-US" sz="825"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endParaRPr lang="en-US" sz="825"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51" name="Title 1"/>
          <p:cNvSpPr txBox="1"/>
          <p:nvPr/>
        </p:nvSpPr>
        <p:spPr>
          <a:xfrm>
            <a:off x="4388096" y="2495514"/>
            <a:ext cx="842921" cy="276999"/>
          </a:xfrm>
          <a:prstGeom prst="rect">
            <a:avLst/>
          </a:prstGeom>
          <a:noFill/>
        </p:spPr>
        <p:txBody>
          <a:bodyPr wrap="square">
            <a:spAutoFit/>
          </a:bodyPr>
          <a:lstStyle>
            <a:defPPr>
              <a:defRPr lang="en-US"/>
            </a:defPPr>
            <a:lvl1pPr>
              <a:defRPr sz="1600" b="1">
                <a:solidFill>
                  <a:schemeClr val="tx1">
                    <a:lumMod val="85000"/>
                    <a:lumOff val="15000"/>
                  </a:schemeClr>
                </a:solidFill>
                <a:latin typeface="Raleway" panose="020B0503030101060003" pitchFamily="34" charset="0"/>
                <a:ea typeface="Roboto Light" panose="02000000000000000000" pitchFamily="2" charset="0"/>
                <a:cs typeface="Open Sans" panose="020B0606030504020204" pitchFamily="34" charset="0"/>
              </a:defRPr>
            </a:lvl1pPr>
          </a:lstStyle>
          <a:p>
            <a:r>
              <a:rPr lang="en-US" sz="1200" dirty="0"/>
              <a:t>VISION</a:t>
            </a:r>
            <a:endParaRPr lang="en-US" sz="1200" dirty="0"/>
          </a:p>
        </p:txBody>
      </p:sp>
      <p:cxnSp>
        <p:nvCxnSpPr>
          <p:cNvPr id="52" name="Straight Connector 51"/>
          <p:cNvCxnSpPr/>
          <p:nvPr/>
        </p:nvCxnSpPr>
        <p:spPr>
          <a:xfrm flipH="1">
            <a:off x="2605081" y="-21772"/>
            <a:ext cx="3543707" cy="4669972"/>
          </a:xfrm>
          <a:prstGeom prst="line">
            <a:avLst/>
          </a:prstGeom>
          <a:ln w="28575">
            <a:solidFill>
              <a:srgbClr val="548235"/>
            </a:solidFill>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3555781" y="3851415"/>
            <a:ext cx="2316323" cy="473206"/>
          </a:xfrm>
          <a:prstGeom prst="rect">
            <a:avLst/>
          </a:prstGeom>
        </p:spPr>
        <p:txBody>
          <a:bodyPr wrap="square">
            <a:spAutoFit/>
          </a:bodyPr>
          <a:lstStyle/>
          <a:p>
            <a:pPr algn="just">
              <a:buClr>
                <a:srgbClr val="E24848"/>
              </a:buClr>
              <a:defRPr/>
            </a:pPr>
            <a:r>
              <a:rPr lang="en-US" sz="825"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endParaRPr lang="en-US" sz="825"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54" name="Title 1"/>
          <p:cNvSpPr txBox="1"/>
          <p:nvPr/>
        </p:nvSpPr>
        <p:spPr>
          <a:xfrm>
            <a:off x="3539729" y="3569705"/>
            <a:ext cx="842921" cy="276999"/>
          </a:xfrm>
          <a:prstGeom prst="rect">
            <a:avLst/>
          </a:prstGeom>
          <a:noFill/>
        </p:spPr>
        <p:txBody>
          <a:bodyPr wrap="square">
            <a:spAutoFit/>
          </a:bodyPr>
          <a:lstStyle>
            <a:defPPr>
              <a:defRPr lang="en-US"/>
            </a:defPPr>
            <a:lvl1pPr>
              <a:defRPr sz="1600" b="1">
                <a:solidFill>
                  <a:schemeClr val="tx1">
                    <a:lumMod val="85000"/>
                    <a:lumOff val="15000"/>
                  </a:schemeClr>
                </a:solidFill>
                <a:latin typeface="Raleway" panose="020B0503030101060003" pitchFamily="34" charset="0"/>
                <a:ea typeface="Roboto Light" panose="02000000000000000000" pitchFamily="2" charset="0"/>
                <a:cs typeface="Open Sans" panose="020B0606030504020204" pitchFamily="34" charset="0"/>
              </a:defRPr>
            </a:lvl1pPr>
          </a:lstStyle>
          <a:p>
            <a:r>
              <a:rPr lang="en-US" sz="1200" dirty="0"/>
              <a:t>VISION</a:t>
            </a:r>
            <a:endParaRPr lang="en-US" sz="1200" dirty="0"/>
          </a:p>
        </p:txBody>
      </p:sp>
      <p:sp>
        <p:nvSpPr>
          <p:cNvPr id="55" name="Oval 54"/>
          <p:cNvSpPr/>
          <p:nvPr/>
        </p:nvSpPr>
        <p:spPr>
          <a:xfrm>
            <a:off x="5424846" y="694629"/>
            <a:ext cx="189660" cy="189660"/>
          </a:xfrm>
          <a:prstGeom prst="ellipse">
            <a:avLst/>
          </a:prstGeom>
          <a:solidFill>
            <a:srgbClr val="548235"/>
          </a:solidFill>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900" b="1" dirty="0">
                <a:solidFill>
                  <a:schemeClr val="bg1"/>
                </a:solidFill>
              </a:rPr>
              <a:t>1</a:t>
            </a:r>
            <a:endParaRPr lang="en-US" sz="900" b="1" dirty="0">
              <a:solidFill>
                <a:schemeClr val="bg1"/>
              </a:solidFill>
            </a:endParaRPr>
          </a:p>
        </p:txBody>
      </p:sp>
      <p:sp>
        <p:nvSpPr>
          <p:cNvPr id="56" name="Oval 55"/>
          <p:cNvSpPr/>
          <p:nvPr/>
        </p:nvSpPr>
        <p:spPr>
          <a:xfrm>
            <a:off x="4807494" y="1540283"/>
            <a:ext cx="189660" cy="189660"/>
          </a:xfrm>
          <a:prstGeom prst="ellipse">
            <a:avLst/>
          </a:prstGeom>
          <a:solidFill>
            <a:srgbClr val="548235"/>
          </a:solidFill>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900" b="1" dirty="0">
                <a:solidFill>
                  <a:schemeClr val="bg1"/>
                </a:solidFill>
              </a:rPr>
              <a:t>2</a:t>
            </a:r>
            <a:endParaRPr lang="en-US" sz="900" b="1" dirty="0">
              <a:solidFill>
                <a:schemeClr val="bg1"/>
              </a:solidFill>
            </a:endParaRPr>
          </a:p>
        </p:txBody>
      </p:sp>
      <p:sp>
        <p:nvSpPr>
          <p:cNvPr id="57" name="Oval 56"/>
          <p:cNvSpPr/>
          <p:nvPr/>
        </p:nvSpPr>
        <p:spPr>
          <a:xfrm>
            <a:off x="4121694" y="2400683"/>
            <a:ext cx="189660" cy="189660"/>
          </a:xfrm>
          <a:prstGeom prst="ellipse">
            <a:avLst/>
          </a:prstGeom>
          <a:solidFill>
            <a:srgbClr val="548235"/>
          </a:solidFill>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900" b="1" dirty="0">
                <a:solidFill>
                  <a:schemeClr val="bg1"/>
                </a:solidFill>
              </a:rPr>
              <a:t>3</a:t>
            </a:r>
            <a:endParaRPr lang="en-US" sz="900" b="1" dirty="0">
              <a:solidFill>
                <a:schemeClr val="bg1"/>
              </a:solidFill>
            </a:endParaRPr>
          </a:p>
        </p:txBody>
      </p:sp>
      <p:sp>
        <p:nvSpPr>
          <p:cNvPr id="58" name="Oval 57"/>
          <p:cNvSpPr/>
          <p:nvPr/>
        </p:nvSpPr>
        <p:spPr>
          <a:xfrm>
            <a:off x="3460951" y="3289235"/>
            <a:ext cx="189660" cy="189660"/>
          </a:xfrm>
          <a:prstGeom prst="ellipse">
            <a:avLst/>
          </a:prstGeom>
          <a:solidFill>
            <a:srgbClr val="548235"/>
          </a:solidFill>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900" b="1" dirty="0">
                <a:solidFill>
                  <a:schemeClr val="bg1"/>
                </a:solidFill>
              </a:rPr>
              <a:t>4</a:t>
            </a:r>
            <a:endParaRPr lang="en-US" sz="900" b="1" dirty="0">
              <a:solidFill>
                <a:schemeClr val="bg1"/>
              </a:solidFill>
            </a:endParaRPr>
          </a:p>
        </p:txBody>
      </p:sp>
      <p:sp>
        <p:nvSpPr>
          <p:cNvPr id="59" name="Title 1"/>
          <p:cNvSpPr txBox="1"/>
          <p:nvPr/>
        </p:nvSpPr>
        <p:spPr>
          <a:xfrm>
            <a:off x="678676" y="483253"/>
            <a:ext cx="3264674" cy="48474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2700" b="1" spc="-113" dirty="0">
                <a:solidFill>
                  <a:schemeClr val="bg1"/>
                </a:solidFill>
                <a:latin typeface="Lato" panose="020F0502020204030203" pitchFamily="34" charset="0"/>
                <a:ea typeface="Open Sans" panose="020B0606030504020204" pitchFamily="34" charset="0"/>
                <a:cs typeface="Lato" panose="020F0502020204030203" pitchFamily="34" charset="0"/>
              </a:rPr>
              <a:t>Our </a:t>
            </a:r>
            <a:r>
              <a:rPr lang="en-US" sz="2700" spc="-113" dirty="0">
                <a:solidFill>
                  <a:schemeClr val="bg1"/>
                </a:solidFill>
                <a:latin typeface="Lato" panose="020F0502020204030203" pitchFamily="34" charset="0"/>
                <a:ea typeface="Open Sans" panose="020B0606030504020204" pitchFamily="34" charset="0"/>
                <a:cs typeface="Lato" panose="020F0502020204030203" pitchFamily="34" charset="0"/>
              </a:rPr>
              <a:t>Portfolio</a:t>
            </a:r>
            <a:endParaRPr lang="en-US" sz="2700" spc="-113" dirty="0">
              <a:solidFill>
                <a:schemeClr val="bg1"/>
              </a:solidFill>
              <a:latin typeface="Lato" panose="020F0502020204030203" pitchFamily="34" charset="0"/>
              <a:ea typeface="Open Sans" panose="020B0606030504020204" pitchFamily="34" charset="0"/>
              <a:cs typeface="Lato" panose="020F0502020204030203" pitchFamily="34" charset="0"/>
            </a:endParaRPr>
          </a:p>
        </p:txBody>
      </p:sp>
      <p:sp>
        <p:nvSpPr>
          <p:cNvPr id="60" name="Rectangle 59"/>
          <p:cNvSpPr/>
          <p:nvPr/>
        </p:nvSpPr>
        <p:spPr>
          <a:xfrm>
            <a:off x="719019" y="968001"/>
            <a:ext cx="1617008" cy="219291"/>
          </a:xfrm>
          <a:prstGeom prst="rect">
            <a:avLst/>
          </a:prstGeom>
        </p:spPr>
        <p:txBody>
          <a:bodyPr wrap="square">
            <a:spAutoFit/>
          </a:bodyPr>
          <a:lstStyle/>
          <a:p>
            <a:pPr>
              <a:buClr>
                <a:srgbClr val="E24848"/>
              </a:buClr>
              <a:defRPr/>
            </a:pPr>
            <a:r>
              <a:rPr lang="en-US" sz="825" noProof="1">
                <a:solidFill>
                  <a:schemeClr val="bg1"/>
                </a:solidFill>
                <a:latin typeface="+mj-lt"/>
                <a:ea typeface="Open Sans Light" panose="020B0306030504020204" pitchFamily="34" charset="0"/>
                <a:cs typeface="Open Sans Light" panose="020B0306030504020204" pitchFamily="34" charset="0"/>
              </a:rPr>
              <a:t>Insert  Your Great Subtitle Here</a:t>
            </a:r>
            <a:endParaRPr lang="en-US" sz="825" noProof="1">
              <a:solidFill>
                <a:schemeClr val="bg1"/>
              </a:solidFill>
              <a:latin typeface="+mj-lt"/>
              <a:ea typeface="Open Sans Light" panose="020B0306030504020204" pitchFamily="34" charset="0"/>
              <a:cs typeface="Open Sans Light" panose="020B0306030504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5299950" y="886146"/>
            <a:ext cx="3263015" cy="3326626"/>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32" name="Rectangle 31"/>
          <p:cNvSpPr/>
          <p:nvPr/>
        </p:nvSpPr>
        <p:spPr>
          <a:xfrm>
            <a:off x="805196" y="1328740"/>
            <a:ext cx="3522452" cy="350212"/>
          </a:xfrm>
          <a:prstGeom prst="rect">
            <a:avLst/>
          </a:prstGeom>
        </p:spPr>
        <p:txBody>
          <a:bodyPr wrap="square" anchor="ctr">
            <a:noAutofit/>
          </a:bodyPr>
          <a:lstStyle/>
          <a:p>
            <a:pPr fontAlgn="base">
              <a:spcBef>
                <a:spcPct val="0"/>
              </a:spcBef>
              <a:spcAft>
                <a:spcPct val="0"/>
              </a:spcAft>
            </a:pPr>
            <a:r>
              <a:rPr lang="en-US" sz="2700" b="1" kern="0" spc="-113" noProof="1">
                <a:solidFill>
                  <a:srgbClr val="548235"/>
                </a:solidFill>
                <a:latin typeface="Lato" panose="020F0502020204030203" pitchFamily="34" charset="0"/>
                <a:ea typeface="Open Sans" panose="020B0606030504020204" pitchFamily="34" charset="0"/>
                <a:cs typeface="Lato" panose="020F0502020204030203" pitchFamily="34" charset="0"/>
              </a:rPr>
              <a:t>Future</a:t>
            </a:r>
            <a:r>
              <a:rPr lang="en-US" sz="2700" b="1" kern="0" spc="-113" noProof="1">
                <a:solidFill>
                  <a:schemeClr val="accent1"/>
                </a:solidFill>
                <a:latin typeface="Lato" panose="020F0502020204030203" pitchFamily="34" charset="0"/>
                <a:ea typeface="Open Sans" panose="020B0606030504020204" pitchFamily="34" charset="0"/>
                <a:cs typeface="Lato" panose="020F0502020204030203" pitchFamily="34" charset="0"/>
              </a:rPr>
              <a:t> </a:t>
            </a:r>
            <a:r>
              <a:rPr lang="en-US" sz="2700" kern="0" spc="-113" noProof="1">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rPr>
              <a:t>Project</a:t>
            </a:r>
            <a:endParaRPr lang="en-US" sz="2700" kern="0" spc="-113" noProof="1">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endParaRPr>
          </a:p>
        </p:txBody>
      </p:sp>
      <p:sp>
        <p:nvSpPr>
          <p:cNvPr id="33" name="Rectangle 32"/>
          <p:cNvSpPr/>
          <p:nvPr/>
        </p:nvSpPr>
        <p:spPr>
          <a:xfrm>
            <a:off x="805195" y="1700054"/>
            <a:ext cx="3522454" cy="473206"/>
          </a:xfrm>
          <a:prstGeom prst="rect">
            <a:avLst/>
          </a:prstGeom>
        </p:spPr>
        <p:txBody>
          <a:bodyPr wrap="square">
            <a:spAutoFit/>
          </a:bodyPr>
          <a:lstStyle/>
          <a:p>
            <a:pPr>
              <a:buClr>
                <a:srgbClr val="E24848"/>
              </a:buClr>
              <a:defRPr/>
            </a:pPr>
            <a:r>
              <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ermentuLorem ipsum dolor sit amet, consectetur adipiscing elit. Nulla imperdiet volutpat dui</a:t>
            </a:r>
            <a:endParaRPr lang="en-US" sz="825"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graphicFrame>
        <p:nvGraphicFramePr>
          <p:cNvPr id="34" name="Chart 33"/>
          <p:cNvGraphicFramePr/>
          <p:nvPr/>
        </p:nvGraphicFramePr>
        <p:xfrm>
          <a:off x="622855" y="2298171"/>
          <a:ext cx="4094024" cy="2090541"/>
        </p:xfrm>
        <a:graphic>
          <a:graphicData uri="http://schemas.openxmlformats.org/drawingml/2006/chart">
            <c:chart xmlns:c="http://schemas.openxmlformats.org/drawingml/2006/chart" xmlns:r="http://schemas.openxmlformats.org/officeDocument/2006/relationships" r:id="rId1"/>
          </a:graphicData>
        </a:graphic>
      </p:graphicFrame>
      <p:pic>
        <p:nvPicPr>
          <p:cNvPr id="3" name="图片占位符 2"/>
          <p:cNvPicPr>
            <a:picLocks noGrp="1" noChangeAspect="1"/>
          </p:cNvPicPr>
          <p:nvPr>
            <p:ph type="pic" sz="quarter" idx="23"/>
          </p:nvPr>
        </p:nvPicPr>
        <p:blipFill>
          <a:blip r:embed="rId2" cstate="print">
            <a:extLst>
              <a:ext uri="{28A0092B-C50C-407E-A947-70E740481C1C}">
                <a14:useLocalDpi xmlns:a14="http://schemas.microsoft.com/office/drawing/2010/main" val="0"/>
              </a:ext>
            </a:extLst>
          </a:blip>
          <a:srcRect l="21793" r="21793"/>
          <a:stretch>
            <a:fillRect/>
          </a:stretch>
        </p:blipFill>
        <p:spPr/>
      </p:pic>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278279" y="7566"/>
            <a:ext cx="3885248" cy="5141701"/>
          </a:xfrm>
          <a:prstGeom prst="rect">
            <a:avLst/>
          </a:prstGeom>
        </p:spPr>
      </p:pic>
      <p:sp>
        <p:nvSpPr>
          <p:cNvPr id="5" name="矩形 4"/>
          <p:cNvSpPr/>
          <p:nvPr/>
        </p:nvSpPr>
        <p:spPr>
          <a:xfrm>
            <a:off x="476" y="1245870"/>
            <a:ext cx="5964555" cy="247935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 name="文本框 5"/>
          <p:cNvSpPr txBox="1"/>
          <p:nvPr/>
        </p:nvSpPr>
        <p:spPr>
          <a:xfrm>
            <a:off x="357505" y="1648460"/>
            <a:ext cx="5607685" cy="922020"/>
          </a:xfrm>
          <a:prstGeom prst="rect">
            <a:avLst/>
          </a:prstGeom>
          <a:noFill/>
        </p:spPr>
        <p:txBody>
          <a:bodyPr wrap="square" rtlCol="0">
            <a:spAutoFit/>
          </a:bodyPr>
          <a:lstStyle/>
          <a:p>
            <a:pPr algn="dist"/>
            <a:r>
              <a:rPr lang="en-US" altLang="zh-CN" sz="5400" dirty="0">
                <a:solidFill>
                  <a:schemeClr val="bg1"/>
                </a:solidFill>
                <a:latin typeface="LeviBrush" panose="00000400000000000000" charset="0"/>
                <a:ea typeface="方正清刻本悦宋简体" panose="02000000000000000000" charset="-122"/>
                <a:cs typeface="LeviBrush" panose="00000400000000000000" charset="0"/>
                <a:sym typeface="+mn-ea"/>
              </a:rPr>
              <a:t>PART TWO</a:t>
            </a:r>
            <a:endParaRPr lang="en-US" altLang="zh-CN" sz="5400" dirty="0">
              <a:solidFill>
                <a:schemeClr val="bg1"/>
              </a:solidFill>
              <a:latin typeface="LeviBrush" panose="00000400000000000000" charset="0"/>
              <a:ea typeface="方正清刻本悦宋简体" panose="02000000000000000000" charset="-122"/>
              <a:cs typeface="LeviBrush" panose="00000400000000000000" charset="0"/>
              <a:sym typeface="+mn-ea"/>
            </a:endParaRPr>
          </a:p>
        </p:txBody>
      </p:sp>
      <p:sp>
        <p:nvSpPr>
          <p:cNvPr id="7" name="文本框 6"/>
          <p:cNvSpPr txBox="1"/>
          <p:nvPr/>
        </p:nvSpPr>
        <p:spPr>
          <a:xfrm>
            <a:off x="369094" y="2945130"/>
            <a:ext cx="5183029"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00000"/>
              </a:lnSpc>
            </a:pP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r>
              <a:rPr lang="en-US" altLang="zh-CN" sz="600" dirty="0">
                <a:solidFill>
                  <a:schemeClr val="bg1"/>
                </a:solidFill>
                <a:ea typeface="微软雅黑" panose="020B0503020204020204" charset="-122"/>
                <a:sym typeface="Arial" panose="020B0604020202020204" pitchFamily="34" charset="0"/>
              </a:rPr>
              <a:t>.</a:t>
            </a:r>
            <a:r>
              <a:rPr lang="zh-CN" altLang="en-US" sz="600" dirty="0">
                <a:solidFill>
                  <a:schemeClr val="bg1"/>
                </a:solidFill>
                <a:ea typeface="微软雅黑" panose="020B0503020204020204" charset="-122"/>
                <a:sym typeface="Arial" panose="020B0604020202020204" pitchFamily="34" charset="0"/>
              </a:rPr>
              <a:t>Click here to enter your text</a:t>
            </a:r>
            <a:endParaRPr lang="en-US" altLang="zh-CN" sz="600" kern="0" dirty="0">
              <a:solidFill>
                <a:schemeClr val="bg1"/>
              </a:solidFill>
              <a:ea typeface="微软雅黑" panose="020B0503020204020204" charset="-122"/>
              <a:sym typeface="Arial" panose="020B0604020202020204" pitchFamily="34" charset="0"/>
            </a:endParaRPr>
          </a:p>
        </p:txBody>
      </p:sp>
      <p:sp>
        <p:nvSpPr>
          <p:cNvPr id="8" name="文本框 7"/>
          <p:cNvSpPr txBox="1"/>
          <p:nvPr/>
        </p:nvSpPr>
        <p:spPr>
          <a:xfrm>
            <a:off x="417196" y="2461261"/>
            <a:ext cx="3566636" cy="507831"/>
          </a:xfrm>
          <a:prstGeom prst="rect">
            <a:avLst/>
          </a:prstGeom>
          <a:noFill/>
        </p:spPr>
        <p:txBody>
          <a:bodyPr wrap="square" rtlCol="0">
            <a:spAutoFit/>
          </a:bodyPr>
          <a:lstStyle/>
          <a:p>
            <a:pPr algn="l"/>
            <a:r>
              <a:rPr lang="en-US" altLang="zh-CN" sz="2700" dirty="0">
                <a:solidFill>
                  <a:schemeClr val="bg1"/>
                </a:solidFill>
                <a:ea typeface="方正清刻本悦宋简体" panose="02000000000000000000" charset="-122"/>
                <a:cs typeface="+mn-lt"/>
                <a:sym typeface="+mn-ea"/>
              </a:rPr>
              <a:t>ADD YOUR TEXT HERE</a:t>
            </a:r>
            <a:endParaRPr lang="en-US" altLang="zh-CN" sz="2700" dirty="0">
              <a:solidFill>
                <a:schemeClr val="bg1"/>
              </a:solidFill>
              <a:ea typeface="方正清刻本悦宋简体" panose="02000000000000000000" charset="-122"/>
              <a:cs typeface="+mn-lt"/>
              <a:sym typeface="+mn-ea"/>
            </a:endParaRPr>
          </a:p>
        </p:txBody>
      </p:sp>
      <p:grpSp>
        <p:nvGrpSpPr>
          <p:cNvPr id="9" name="组合 8"/>
          <p:cNvGrpSpPr/>
          <p:nvPr/>
        </p:nvGrpSpPr>
        <p:grpSpPr>
          <a:xfrm>
            <a:off x="5714048" y="1710214"/>
            <a:ext cx="509111" cy="145733"/>
            <a:chOff x="7833" y="2869"/>
            <a:chExt cx="1614" cy="426"/>
          </a:xfrm>
        </p:grpSpPr>
        <p:sp>
          <p:nvSpPr>
            <p:cNvPr id="10" name="任意多边形 9"/>
            <p:cNvSpPr/>
            <p:nvPr/>
          </p:nvSpPr>
          <p:spPr>
            <a:xfrm>
              <a:off x="7833" y="2869"/>
              <a:ext cx="1615" cy="142"/>
            </a:xfrm>
            <a:custGeom>
              <a:avLst/>
              <a:gdLst>
                <a:gd name="connisteX0" fmla="*/ 0 w 1025320"/>
                <a:gd name="connsiteY0" fmla="*/ 51640 h 90133"/>
                <a:gd name="connisteX1" fmla="*/ 95250 w 1025320"/>
                <a:gd name="connsiteY1" fmla="*/ 840 h 90133"/>
                <a:gd name="connisteX2" fmla="*/ 209550 w 1025320"/>
                <a:gd name="connsiteY2" fmla="*/ 89740 h 90133"/>
                <a:gd name="connisteX3" fmla="*/ 425450 w 1025320"/>
                <a:gd name="connsiteY3" fmla="*/ 840 h 90133"/>
                <a:gd name="connisteX4" fmla="*/ 565150 w 1025320"/>
                <a:gd name="connsiteY4" fmla="*/ 77040 h 90133"/>
                <a:gd name="connisteX5" fmla="*/ 781050 w 1025320"/>
                <a:gd name="connsiteY5" fmla="*/ 13540 h 90133"/>
                <a:gd name="connisteX6" fmla="*/ 914400 w 1025320"/>
                <a:gd name="connsiteY6" fmla="*/ 89740 h 90133"/>
                <a:gd name="connisteX7" fmla="*/ 1016000 w 1025320"/>
                <a:gd name="connsiteY7" fmla="*/ 38940 h 90133"/>
                <a:gd name="connisteX8" fmla="*/ 1016000 w 1025320"/>
                <a:gd name="connsiteY8" fmla="*/ 38940 h 90133"/>
                <a:gd name="connisteX9" fmla="*/ 1009650 w 1025320"/>
                <a:gd name="connsiteY9" fmla="*/ 38940 h 901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025320" h="90133">
                  <a:moveTo>
                    <a:pt x="0" y="51641"/>
                  </a:moveTo>
                  <a:cubicBezTo>
                    <a:pt x="16510" y="39576"/>
                    <a:pt x="53340" y="-6779"/>
                    <a:pt x="95250" y="841"/>
                  </a:cubicBezTo>
                  <a:cubicBezTo>
                    <a:pt x="137160" y="8461"/>
                    <a:pt x="143510" y="89741"/>
                    <a:pt x="209550" y="89741"/>
                  </a:cubicBezTo>
                  <a:cubicBezTo>
                    <a:pt x="275590" y="89741"/>
                    <a:pt x="354330" y="3381"/>
                    <a:pt x="425450" y="841"/>
                  </a:cubicBezTo>
                  <a:cubicBezTo>
                    <a:pt x="496570" y="-1699"/>
                    <a:pt x="494030" y="74501"/>
                    <a:pt x="565150" y="77041"/>
                  </a:cubicBezTo>
                  <a:cubicBezTo>
                    <a:pt x="636270" y="79581"/>
                    <a:pt x="711200" y="11001"/>
                    <a:pt x="781050" y="13541"/>
                  </a:cubicBezTo>
                  <a:cubicBezTo>
                    <a:pt x="850900" y="16081"/>
                    <a:pt x="867410" y="84661"/>
                    <a:pt x="914400" y="89741"/>
                  </a:cubicBezTo>
                  <a:cubicBezTo>
                    <a:pt x="961390" y="94821"/>
                    <a:pt x="995680" y="49101"/>
                    <a:pt x="1016000" y="38941"/>
                  </a:cubicBezTo>
                  <a:cubicBezTo>
                    <a:pt x="1036320" y="28781"/>
                    <a:pt x="1017270" y="38941"/>
                    <a:pt x="1016000" y="38941"/>
                  </a:cubicBezTo>
                  <a:cubicBezTo>
                    <a:pt x="1014730" y="38941"/>
                    <a:pt x="1010920" y="38941"/>
                    <a:pt x="1009650" y="38941"/>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任意多边形 10"/>
            <p:cNvSpPr/>
            <p:nvPr/>
          </p:nvSpPr>
          <p:spPr>
            <a:xfrm>
              <a:off x="7833" y="3011"/>
              <a:ext cx="1615" cy="142"/>
            </a:xfrm>
            <a:custGeom>
              <a:avLst/>
              <a:gdLst>
                <a:gd name="connisteX0" fmla="*/ 0 w 1025320"/>
                <a:gd name="connsiteY0" fmla="*/ 51640 h 90133"/>
                <a:gd name="connisteX1" fmla="*/ 95250 w 1025320"/>
                <a:gd name="connsiteY1" fmla="*/ 840 h 90133"/>
                <a:gd name="connisteX2" fmla="*/ 209550 w 1025320"/>
                <a:gd name="connsiteY2" fmla="*/ 89740 h 90133"/>
                <a:gd name="connisteX3" fmla="*/ 425450 w 1025320"/>
                <a:gd name="connsiteY3" fmla="*/ 840 h 90133"/>
                <a:gd name="connisteX4" fmla="*/ 565150 w 1025320"/>
                <a:gd name="connsiteY4" fmla="*/ 77040 h 90133"/>
                <a:gd name="connisteX5" fmla="*/ 781050 w 1025320"/>
                <a:gd name="connsiteY5" fmla="*/ 13540 h 90133"/>
                <a:gd name="connisteX6" fmla="*/ 914400 w 1025320"/>
                <a:gd name="connsiteY6" fmla="*/ 89740 h 90133"/>
                <a:gd name="connisteX7" fmla="*/ 1016000 w 1025320"/>
                <a:gd name="connsiteY7" fmla="*/ 38940 h 90133"/>
                <a:gd name="connisteX8" fmla="*/ 1016000 w 1025320"/>
                <a:gd name="connsiteY8" fmla="*/ 38940 h 90133"/>
                <a:gd name="connisteX9" fmla="*/ 1009650 w 1025320"/>
                <a:gd name="connsiteY9" fmla="*/ 38940 h 901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025320" h="90133">
                  <a:moveTo>
                    <a:pt x="0" y="51641"/>
                  </a:moveTo>
                  <a:cubicBezTo>
                    <a:pt x="16510" y="39576"/>
                    <a:pt x="53340" y="-6779"/>
                    <a:pt x="95250" y="841"/>
                  </a:cubicBezTo>
                  <a:cubicBezTo>
                    <a:pt x="137160" y="8461"/>
                    <a:pt x="143510" y="89741"/>
                    <a:pt x="209550" y="89741"/>
                  </a:cubicBezTo>
                  <a:cubicBezTo>
                    <a:pt x="275590" y="89741"/>
                    <a:pt x="354330" y="3381"/>
                    <a:pt x="425450" y="841"/>
                  </a:cubicBezTo>
                  <a:cubicBezTo>
                    <a:pt x="496570" y="-1699"/>
                    <a:pt x="494030" y="74501"/>
                    <a:pt x="565150" y="77041"/>
                  </a:cubicBezTo>
                  <a:cubicBezTo>
                    <a:pt x="636270" y="79581"/>
                    <a:pt x="711200" y="11001"/>
                    <a:pt x="781050" y="13541"/>
                  </a:cubicBezTo>
                  <a:cubicBezTo>
                    <a:pt x="850900" y="16081"/>
                    <a:pt x="867410" y="84661"/>
                    <a:pt x="914400" y="89741"/>
                  </a:cubicBezTo>
                  <a:cubicBezTo>
                    <a:pt x="961390" y="94821"/>
                    <a:pt x="995680" y="49101"/>
                    <a:pt x="1016000" y="38941"/>
                  </a:cubicBezTo>
                  <a:cubicBezTo>
                    <a:pt x="1036320" y="28781"/>
                    <a:pt x="1017270" y="38941"/>
                    <a:pt x="1016000" y="38941"/>
                  </a:cubicBezTo>
                  <a:cubicBezTo>
                    <a:pt x="1014730" y="38941"/>
                    <a:pt x="1010920" y="38941"/>
                    <a:pt x="1009650" y="38941"/>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 name="任意多边形 11"/>
            <p:cNvSpPr/>
            <p:nvPr/>
          </p:nvSpPr>
          <p:spPr>
            <a:xfrm>
              <a:off x="7833" y="3153"/>
              <a:ext cx="1615" cy="142"/>
            </a:xfrm>
            <a:custGeom>
              <a:avLst/>
              <a:gdLst>
                <a:gd name="connisteX0" fmla="*/ 0 w 1025320"/>
                <a:gd name="connsiteY0" fmla="*/ 51640 h 90133"/>
                <a:gd name="connisteX1" fmla="*/ 95250 w 1025320"/>
                <a:gd name="connsiteY1" fmla="*/ 840 h 90133"/>
                <a:gd name="connisteX2" fmla="*/ 209550 w 1025320"/>
                <a:gd name="connsiteY2" fmla="*/ 89740 h 90133"/>
                <a:gd name="connisteX3" fmla="*/ 425450 w 1025320"/>
                <a:gd name="connsiteY3" fmla="*/ 840 h 90133"/>
                <a:gd name="connisteX4" fmla="*/ 565150 w 1025320"/>
                <a:gd name="connsiteY4" fmla="*/ 77040 h 90133"/>
                <a:gd name="connisteX5" fmla="*/ 781050 w 1025320"/>
                <a:gd name="connsiteY5" fmla="*/ 13540 h 90133"/>
                <a:gd name="connisteX6" fmla="*/ 914400 w 1025320"/>
                <a:gd name="connsiteY6" fmla="*/ 89740 h 90133"/>
                <a:gd name="connisteX7" fmla="*/ 1016000 w 1025320"/>
                <a:gd name="connsiteY7" fmla="*/ 38940 h 90133"/>
                <a:gd name="connisteX8" fmla="*/ 1016000 w 1025320"/>
                <a:gd name="connsiteY8" fmla="*/ 38940 h 90133"/>
                <a:gd name="connisteX9" fmla="*/ 1009650 w 1025320"/>
                <a:gd name="connsiteY9" fmla="*/ 38940 h 901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025320" h="90133">
                  <a:moveTo>
                    <a:pt x="0" y="51641"/>
                  </a:moveTo>
                  <a:cubicBezTo>
                    <a:pt x="16510" y="39576"/>
                    <a:pt x="53340" y="-6779"/>
                    <a:pt x="95250" y="841"/>
                  </a:cubicBezTo>
                  <a:cubicBezTo>
                    <a:pt x="137160" y="8461"/>
                    <a:pt x="143510" y="89741"/>
                    <a:pt x="209550" y="89741"/>
                  </a:cubicBezTo>
                  <a:cubicBezTo>
                    <a:pt x="275590" y="89741"/>
                    <a:pt x="354330" y="3381"/>
                    <a:pt x="425450" y="841"/>
                  </a:cubicBezTo>
                  <a:cubicBezTo>
                    <a:pt x="496570" y="-1699"/>
                    <a:pt x="494030" y="74501"/>
                    <a:pt x="565150" y="77041"/>
                  </a:cubicBezTo>
                  <a:cubicBezTo>
                    <a:pt x="636270" y="79581"/>
                    <a:pt x="711200" y="11001"/>
                    <a:pt x="781050" y="13541"/>
                  </a:cubicBezTo>
                  <a:cubicBezTo>
                    <a:pt x="850900" y="16081"/>
                    <a:pt x="867410" y="84661"/>
                    <a:pt x="914400" y="89741"/>
                  </a:cubicBezTo>
                  <a:cubicBezTo>
                    <a:pt x="961390" y="94821"/>
                    <a:pt x="995680" y="49101"/>
                    <a:pt x="1016000" y="38941"/>
                  </a:cubicBezTo>
                  <a:cubicBezTo>
                    <a:pt x="1036320" y="28781"/>
                    <a:pt x="1017270" y="38941"/>
                    <a:pt x="1016000" y="38941"/>
                  </a:cubicBezTo>
                  <a:cubicBezTo>
                    <a:pt x="1014730" y="38941"/>
                    <a:pt x="1010920" y="38941"/>
                    <a:pt x="1009650" y="38941"/>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mc:AlternateContent xmlns:mc="http://schemas.openxmlformats.org/markup-compatibility/2006">
    <mc:Choice xmlns:p14="http://schemas.microsoft.com/office/powerpoint/2010/main" Requires="p14">
      <p:transition spd="med" p14:dur="700" advTm="3000">
        <p:fade/>
      </p:transition>
    </mc:Choice>
    <mc:Fallback>
      <p:transition spd="med" advTm="3000">
        <p:fade/>
      </p:transition>
    </mc:Fallback>
  </mc:AlternateContent>
  <p:timing>
    <p:tnLst>
      <p:par>
        <p:cTn id="1" dur="indefinite" restart="never" nodeType="tmRoot"/>
      </p:par>
    </p:tnLst>
  </p:timing>
</p:sld>
</file>

<file path=ppt/tags/tag1.xml><?xml version="1.0" encoding="utf-8"?>
<p:tagLst xmlns:p="http://schemas.openxmlformats.org/presentationml/2006/main">
  <p:tag name="THINKCELLSHAPEDONOTDELETE" val="p6mntKQXTz0WUq6ElMvQaWw"/>
</p:tagLst>
</file>

<file path=ppt/theme/theme1.xml><?xml version="1.0" encoding="utf-8"?>
<a:theme xmlns:a="http://schemas.openxmlformats.org/drawingml/2006/main" name="好客模板www.haoke.com">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3843</Words>
  <Application>WPS 演示</Application>
  <PresentationFormat>全屏显示(16:9)</PresentationFormat>
  <Paragraphs>484</Paragraphs>
  <Slides>27</Slides>
  <Notes>0</Notes>
  <HiddenSlides>0</HiddenSlides>
  <MMClips>1</MMClips>
  <ScaleCrop>false</ScaleCrop>
  <HeadingPairs>
    <vt:vector size="6" baseType="variant">
      <vt:variant>
        <vt:lpstr>已用的字体</vt:lpstr>
      </vt:variant>
      <vt:variant>
        <vt:i4>37</vt:i4>
      </vt:variant>
      <vt:variant>
        <vt:lpstr>主题</vt:lpstr>
      </vt:variant>
      <vt:variant>
        <vt:i4>1</vt:i4>
      </vt:variant>
      <vt:variant>
        <vt:lpstr>幻灯片标题</vt:lpstr>
      </vt:variant>
      <vt:variant>
        <vt:i4>27</vt:i4>
      </vt:variant>
    </vt:vector>
  </HeadingPairs>
  <TitlesOfParts>
    <vt:vector size="65" baseType="lpstr">
      <vt:lpstr>Arial</vt:lpstr>
      <vt:lpstr>宋体</vt:lpstr>
      <vt:lpstr>Wingdings</vt:lpstr>
      <vt:lpstr>Calibri</vt:lpstr>
      <vt:lpstr>Calibri Light</vt:lpstr>
      <vt:lpstr>Roboto</vt:lpstr>
      <vt:lpstr>Zebrra</vt:lpstr>
      <vt:lpstr>Open Sans Light</vt:lpstr>
      <vt:lpstr>ヒラギノ角ゴ ProN W3</vt:lpstr>
      <vt:lpstr>Hilda Sonnenschein</vt:lpstr>
      <vt:lpstr>TypeLand 康熙字典體</vt:lpstr>
      <vt:lpstr>Adobe 明體 Std L</vt:lpstr>
      <vt:lpstr>Lato</vt:lpstr>
      <vt:lpstr>华文细黑</vt:lpstr>
      <vt:lpstr>微软雅黑</vt:lpstr>
      <vt:lpstr>LeviBrush</vt:lpstr>
      <vt:lpstr>方正清刻本悦宋简体</vt:lpstr>
      <vt:lpstr>Roboto Light</vt:lpstr>
      <vt:lpstr>Open Sans</vt:lpstr>
      <vt:lpstr>Helvetica</vt:lpstr>
      <vt:lpstr>Gill Sans</vt:lpstr>
      <vt:lpstr>Caviar Dreams</vt:lpstr>
      <vt:lpstr>RoyalGothic</vt:lpstr>
      <vt:lpstr>Times New Roman</vt:lpstr>
      <vt:lpstr>Neris Light</vt:lpstr>
      <vt:lpstr>Raleway</vt:lpstr>
      <vt:lpstr>Top Secret</vt:lpstr>
      <vt:lpstr>Open Sans</vt:lpstr>
      <vt:lpstr>Arial Unicode MS</vt:lpstr>
      <vt:lpstr>Raleway Light</vt:lpstr>
      <vt:lpstr>BentonSansF Book</vt:lpstr>
      <vt:lpstr>MS PGothic</vt:lpstr>
      <vt:lpstr>Bebas Neue</vt:lpstr>
      <vt:lpstr>Bebas</vt:lpstr>
      <vt:lpstr>Playfair Display</vt:lpstr>
      <vt:lpstr>MStream HKS Bold</vt:lpstr>
      <vt:lpstr>方正舒体</vt:lpstr>
      <vt:lpstr>好客模板www.haoke.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kk</dc:creator>
  <cp:lastModifiedBy>一颗苹果</cp:lastModifiedBy>
  <cp:revision>61</cp:revision>
  <dcterms:created xsi:type="dcterms:W3CDTF">2017-10-10T13:10:00Z</dcterms:created>
  <dcterms:modified xsi:type="dcterms:W3CDTF">2021-09-09T00:1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0463</vt:lpwstr>
  </property>
  <property fmtid="{D5CDD505-2E9C-101B-9397-08002B2CF9AE}" pid="3" name="ICV">
    <vt:lpwstr>15F5EE46D8564151A884F5BEB1116DAF</vt:lpwstr>
  </property>
</Properties>
</file>